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3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4.xml" ContentType="application/vnd.openxmlformats-officedocument.presentationml.notesSlid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5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6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notesSlides/notesSlide7.xml" ContentType="application/vnd.openxmlformats-officedocument.presentationml.notesSlide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8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notesSlides/notesSlide9.xml" ContentType="application/vnd.openxmlformats-officedocument.presentationml.notesSlide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notesSlides/notesSlide10.xml" ContentType="application/vnd.openxmlformats-officedocument.presentationml.notesSlide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notesSlides/notesSlide11.xml" ContentType="application/vnd.openxmlformats-officedocument.presentationml.notesSlide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notesSlides/notesSlide12.xml" ContentType="application/vnd.openxmlformats-officedocument.presentationml.notesSlide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notesSlides/notesSlide13.xml" ContentType="application/vnd.openxmlformats-officedocument.presentationml.notesSlide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notesSlides/notesSlide14.xml" ContentType="application/vnd.openxmlformats-officedocument.presentationml.notesSlide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notesSlides/notesSlide15.xml" ContentType="application/vnd.openxmlformats-officedocument.presentationml.notesSlide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notesSlides/notesSlide16.xml" ContentType="application/vnd.openxmlformats-officedocument.presentationml.notesSlide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6" r:id="rId4"/>
    <p:sldMasterId id="2147483839" r:id="rId5"/>
  </p:sldMasterIdLst>
  <p:notesMasterIdLst>
    <p:notesMasterId r:id="rId35"/>
  </p:notesMasterIdLst>
  <p:sldIdLst>
    <p:sldId id="2147477366" r:id="rId6"/>
    <p:sldId id="2147478041" r:id="rId7"/>
    <p:sldId id="2147477744" r:id="rId8"/>
    <p:sldId id="2147478034" r:id="rId9"/>
    <p:sldId id="2147478033" r:id="rId10"/>
    <p:sldId id="2147477373" r:id="rId11"/>
    <p:sldId id="2147478065" r:id="rId12"/>
    <p:sldId id="2147478057" r:id="rId13"/>
    <p:sldId id="2147478097" r:id="rId14"/>
    <p:sldId id="2147478084" r:id="rId15"/>
    <p:sldId id="2147478083" r:id="rId16"/>
    <p:sldId id="2147477755" r:id="rId17"/>
    <p:sldId id="2147477738" r:id="rId18"/>
    <p:sldId id="2147478076" r:id="rId19"/>
    <p:sldId id="2147478098" r:id="rId20"/>
    <p:sldId id="2147478093" r:id="rId21"/>
    <p:sldId id="2147478077" r:id="rId22"/>
    <p:sldId id="2147478080" r:id="rId23"/>
    <p:sldId id="2147478099" r:id="rId24"/>
    <p:sldId id="2147478092" r:id="rId25"/>
    <p:sldId id="2147478101" r:id="rId26"/>
    <p:sldId id="2147478054" r:id="rId27"/>
    <p:sldId id="2147478100" r:id="rId28"/>
    <p:sldId id="2147478094" r:id="rId29"/>
    <p:sldId id="2147478090" r:id="rId30"/>
    <p:sldId id="2147478088" r:id="rId31"/>
    <p:sldId id="2147478089" r:id="rId32"/>
    <p:sldId id="2147478036" r:id="rId33"/>
    <p:sldId id="2147477750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77DF0E-9704-3CB5-D3D5-3F3E73610DDD}" name="Bachrodt, Andrew K." initials="BAK" userId="S::akbachrodt@ecgmc.com::65803425-e225-4d41-8c22-1df2cc887829" providerId="AD"/>
  <p188:author id="{8174F43B-8E7A-476D-C45A-58F319637818}" name="Willis, David" initials="WD" userId="S::dhwillis@ecgmc.com::dac632ff-348d-4b39-9a9a-e1d8840ca8cb" providerId="AD"/>
  <p188:author id="{D9A16B41-D024-3E9F-0AB0-95D085F5E88C}" name="Dinwiddie, Rene" initials="RD" userId="S::erdinwiddie@ecgmc.com::df9788a2-8434-43cc-ba80-349a9cb07d83" providerId="AD"/>
  <p188:author id="{05628155-03A4-DC3C-98B7-8DB28E8DEF56}" name="Danelz, Garrett" initials="DG" userId="S::gadanelz@ecgmc.com::27eded41-398c-4e24-8bba-8f8c14f77d12" providerId="AD"/>
  <p188:author id="{7303836C-B132-2A68-303B-785FF3821433}" name="Jituboh, Preye" initials="PJ" userId="S::PAJituboh@ecgmc.com::b5e8a1bf-56a7-418e-937f-a387d1fb4ad8" providerId="AD"/>
  <p188:author id="{46DBD16E-1C59-2543-C520-CAC6C32A1C60}" name="Wassink, Katherine B." initials="KW" userId="S::KWassink@ecgmc.com::5d461c15-985c-4790-9238-59c83882a08e" providerId="AD"/>
  <p188:author id="{D522CB96-92A7-6706-9B83-46937B96C819}" name="Libby, Darin E" initials="LDE" userId="S::dlibby@ecgmc.com::815256db-eece-417a-ac0e-418c3e7ddb82" providerId="AD"/>
  <p188:author id="{99520AB5-49B9-69E6-E01F-6DAB3A2641F1}" name="Johnson, Debbie" initials="JD" userId="S::dkhigginsjohnson@ecgmc.com::6f9dec27-020b-4850-b2c2-01ad5add0594" providerId="AD"/>
  <p188:author id="{8112E0B5-DBD1-7D51-8402-6FF3A4E87EAD}" name="Kirby, Kristin B." initials="KKB" userId="S::kbkirby@ecgmc.com::254bca6a-5c22-486c-bd44-533fbb07258b" providerId="AD"/>
  <p188:author id="{6BD156DF-2E4A-EF2D-47EB-214A02DA0DB7}" name="Furgeson, Richard" initials="FR" userId="S::refurgeson@ecgmc.com::65d4211e-7461-4575-aa47-079e459255b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20C4A"/>
    <a:srgbClr val="3D7CBA"/>
    <a:srgbClr val="FF00FF"/>
    <a:srgbClr val="0AB1C4"/>
    <a:srgbClr val="8E0000"/>
    <a:srgbClr val="FF9999"/>
    <a:srgbClr val="677D90"/>
    <a:srgbClr val="64B2D9"/>
    <a:srgbClr val="FFFFFF"/>
    <a:srgbClr val="2F84B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2DE63D5-997A-4646-A377-4702673A728D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2730" autoAdjust="0"/>
  </p:normalViewPr>
  <p:slideViewPr>
    <p:cSldViewPr snapToGrid="0">
      <p:cViewPr varScale="1">
        <p:scale>
          <a:sx n="58" d="100"/>
          <a:sy n="58" d="100"/>
        </p:scale>
        <p:origin x="102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5310654399280756E-2"/>
          <c:y val="6.5221731487478146E-2"/>
          <c:w val="0.85510795507854298"/>
          <c:h val="0.77493014044257946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5">
                  <c:v>2029</c:v>
                </c:pt>
                <c:pt idx="10">
                  <c:v>2034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5</c:v>
                </c:pt>
                <c:pt idx="1">
                  <c:v>5.08</c:v>
                </c:pt>
                <c:pt idx="2">
                  <c:v>5.16</c:v>
                </c:pt>
                <c:pt idx="3">
                  <c:v>5.24</c:v>
                </c:pt>
                <c:pt idx="4">
                  <c:v>5.36</c:v>
                </c:pt>
                <c:pt idx="5">
                  <c:v>5.42</c:v>
                </c:pt>
                <c:pt idx="6">
                  <c:v>5.48</c:v>
                </c:pt>
                <c:pt idx="7">
                  <c:v>5.56</c:v>
                </c:pt>
                <c:pt idx="8">
                  <c:v>5.66</c:v>
                </c:pt>
                <c:pt idx="9">
                  <c:v>5.75</c:v>
                </c:pt>
                <c:pt idx="10">
                  <c:v>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7E-4A87-834E-3B8BB7985FD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12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5">
                  <c:v>2029</c:v>
                </c:pt>
                <c:pt idx="10">
                  <c:v>2034</c:v>
                </c:pt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5</c:v>
                </c:pt>
                <c:pt idx="1">
                  <c:v>5.04</c:v>
                </c:pt>
                <c:pt idx="2">
                  <c:v>5.12</c:v>
                </c:pt>
                <c:pt idx="3">
                  <c:v>5.18</c:v>
                </c:pt>
                <c:pt idx="4">
                  <c:v>5.24</c:v>
                </c:pt>
                <c:pt idx="5">
                  <c:v>5.3</c:v>
                </c:pt>
                <c:pt idx="6">
                  <c:v>5.38</c:v>
                </c:pt>
                <c:pt idx="7">
                  <c:v>5.42</c:v>
                </c:pt>
                <c:pt idx="8">
                  <c:v>5.48</c:v>
                </c:pt>
                <c:pt idx="9">
                  <c:v>5.55</c:v>
                </c:pt>
                <c:pt idx="10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7E-4A87-834E-3B8BB7985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66437760"/>
        <c:axId val="1017974560"/>
      </c:area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eries 4</c:v>
                </c:pt>
              </c:strCache>
            </c:strRef>
          </c:tx>
          <c:spPr>
            <a:ln w="57150" cap="rnd">
              <a:solidFill>
                <a:schemeClr val="accent1">
                  <a:lumMod val="50000"/>
                  <a:lumOff val="50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5">
                  <c:v>2029</c:v>
                </c:pt>
                <c:pt idx="10">
                  <c:v>2034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5</c:v>
                </c:pt>
                <c:pt idx="1">
                  <c:v>5.08</c:v>
                </c:pt>
                <c:pt idx="2">
                  <c:v>5.16</c:v>
                </c:pt>
                <c:pt idx="3">
                  <c:v>5.24</c:v>
                </c:pt>
                <c:pt idx="4">
                  <c:v>5.36</c:v>
                </c:pt>
                <c:pt idx="5">
                  <c:v>5.42</c:v>
                </c:pt>
                <c:pt idx="6">
                  <c:v>5.48</c:v>
                </c:pt>
                <c:pt idx="7">
                  <c:v>5.56</c:v>
                </c:pt>
                <c:pt idx="8">
                  <c:v>5.66</c:v>
                </c:pt>
                <c:pt idx="9">
                  <c:v>5.75</c:v>
                </c:pt>
                <c:pt idx="10">
                  <c:v>5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37E-4A87-834E-3B8BB7985FD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23</c:v>
                </c:pt>
              </c:strCache>
            </c:strRef>
          </c:tx>
          <c:spPr>
            <a:ln w="57150" cap="rnd">
              <a:solidFill>
                <a:schemeClr val="accent4"/>
              </a:solidFill>
              <a:prstDash val="dash"/>
              <a:round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2024</c:v>
                </c:pt>
                <c:pt idx="5">
                  <c:v>2029</c:v>
                </c:pt>
                <c:pt idx="10">
                  <c:v>2034</c:v>
                </c:pt>
              </c:numCache>
            </c:numRef>
          </c:cat>
          <c:val>
            <c:numRef>
              <c:f>Sheet1!$E$2:$E$12</c:f>
              <c:numCache>
                <c:formatCode>General</c:formatCode>
                <c:ptCount val="11"/>
                <c:pt idx="0">
                  <c:v>5</c:v>
                </c:pt>
                <c:pt idx="1">
                  <c:v>5.04</c:v>
                </c:pt>
                <c:pt idx="2">
                  <c:v>5.12</c:v>
                </c:pt>
                <c:pt idx="3">
                  <c:v>5.18</c:v>
                </c:pt>
                <c:pt idx="4">
                  <c:v>5.24</c:v>
                </c:pt>
                <c:pt idx="5">
                  <c:v>5.3</c:v>
                </c:pt>
                <c:pt idx="6">
                  <c:v>5.38</c:v>
                </c:pt>
                <c:pt idx="7">
                  <c:v>5.42</c:v>
                </c:pt>
                <c:pt idx="8">
                  <c:v>5.48</c:v>
                </c:pt>
                <c:pt idx="9">
                  <c:v>5.55</c:v>
                </c:pt>
                <c:pt idx="10">
                  <c:v>5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37E-4A87-834E-3B8BB7985F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6437760"/>
        <c:axId val="1017974560"/>
      </c:lineChart>
      <c:catAx>
        <c:axId val="966437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85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7974560"/>
        <c:crosses val="autoZero"/>
        <c:auto val="1"/>
        <c:lblAlgn val="ctr"/>
        <c:lblOffset val="100"/>
        <c:noMultiLvlLbl val="0"/>
      </c:catAx>
      <c:valAx>
        <c:axId val="1017974560"/>
        <c:scaling>
          <c:orientation val="minMax"/>
          <c:min val="4.4000000000000004"/>
        </c:scaling>
        <c:delete val="0"/>
        <c:axPos val="l"/>
        <c:numFmt formatCode="#,##0.0" sourceLinked="0"/>
        <c:majorTickMark val="none"/>
        <c:minorTickMark val="none"/>
        <c:tickLblPos val="nextTo"/>
        <c:spPr>
          <a:noFill/>
          <a:ln w="285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64377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65716D-39C9-48C4-A3EB-B88E4515427D}" type="datetimeFigureOut">
              <a:rPr lang="en-US" smtClean="0"/>
              <a:t>2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0C6D3C-9EB0-4F2C-9026-3887D1CDB4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7631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64254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0C6D3C-9EB0-4F2C-9026-3887D1CDB44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1702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90944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1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CAB473-FB65-437F-8013-BD8F0770FBF0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1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5962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91175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43674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27462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0584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8676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41077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0C6D3C-9EB0-4F2C-9026-3887D1CDB44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2097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0C6D3C-9EB0-4F2C-9026-3887D1CDB44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5547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480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66751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0C6D3C-9EB0-4F2C-9026-3887D1CDB44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634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0C6D3C-9EB0-4F2C-9026-3887D1CDB4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3673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735E8DD-3234-35C6-F410-DC6560DE93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230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35E8DD-3234-35C6-F410-DC6560DE9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8B0AE2-DA19-49E2-AC81-5272385D30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B48BF9-81C1-4C3D-B2D5-A5C08D5030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2845">
                <a:schemeClr val="accent1"/>
              </a:gs>
              <a:gs pos="36000">
                <a:schemeClr val="accent1"/>
              </a:gs>
              <a:gs pos="24000">
                <a:schemeClr val="accent1"/>
              </a:gs>
              <a:gs pos="48000">
                <a:schemeClr val="accent1"/>
              </a:gs>
              <a:gs pos="1000">
                <a:schemeClr val="accent1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 descr="Medium shot of women wearing scrubs&#10;&#10;Description automatically generated">
            <a:extLst>
              <a:ext uri="{FF2B5EF4-FFF2-40B4-BE49-F238E27FC236}">
                <a16:creationId xmlns:a16="http://schemas.microsoft.com/office/drawing/2014/main" id="{DF1EE2EA-56EB-8C44-4F79-583E9400CB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A black and red sign with white text&#10;&#10;Description automatically generated">
            <a:extLst>
              <a:ext uri="{FF2B5EF4-FFF2-40B4-BE49-F238E27FC236}">
                <a16:creationId xmlns:a16="http://schemas.microsoft.com/office/drawing/2014/main" id="{D92EDB26-2EDE-509D-EFB3-0350558EA8B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177" y="310325"/>
            <a:ext cx="2919646" cy="950880"/>
          </a:xfrm>
          <a:prstGeom prst="rect">
            <a:avLst/>
          </a:prstGeom>
        </p:spPr>
      </p:pic>
      <p:sp>
        <p:nvSpPr>
          <p:cNvPr id="11" name="Subtitle 3">
            <a:extLst>
              <a:ext uri="{FF2B5EF4-FFF2-40B4-BE49-F238E27FC236}">
                <a16:creationId xmlns:a16="http://schemas.microsoft.com/office/drawing/2014/main" id="{6F5FAF3E-FFA1-9E0C-C0CA-081345E66584}"/>
              </a:ext>
            </a:extLst>
          </p:cNvPr>
          <p:cNvSpPr txBox="1">
            <a:spLocks/>
          </p:cNvSpPr>
          <p:nvPr userDrawn="1"/>
        </p:nvSpPr>
        <p:spPr>
          <a:xfrm>
            <a:off x="266700" y="4545081"/>
            <a:ext cx="11658600" cy="393201"/>
          </a:xfrm>
          <a:prstGeom prst="rect">
            <a:avLst/>
          </a:prstGeom>
          <a:noFill/>
        </p:spPr>
        <p:txBody>
          <a:bodyPr vert="horz" lIns="91440" tIns="0" rIns="18288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400" b="1" i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i="0">
              <a:solidFill>
                <a:schemeClr val="bg1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69F8B2D-5B8A-551B-30B1-A434165EA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12919"/>
            <a:ext cx="12192000" cy="1600200"/>
          </a:xfrm>
          <a:solidFill>
            <a:srgbClr val="020C4A">
              <a:alpha val="69804"/>
            </a:srgbClr>
          </a:solidFill>
        </p:spPr>
        <p:txBody>
          <a:bodyPr vert="horz"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8698B57-D2CB-91CA-2F97-9CE1E7578A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699" y="4400392"/>
            <a:ext cx="11658600" cy="62463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ent Nam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3CCE147F-15B4-2425-38C1-0D0307DCD9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0742" y="5512299"/>
            <a:ext cx="2170517" cy="39320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lIns="0" anchor="ctr" anchorCtr="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0A751D-148F-6E9E-3653-E3AB311924D9}"/>
              </a:ext>
            </a:extLst>
          </p:cNvPr>
          <p:cNvSpPr txBox="1"/>
          <p:nvPr userDrawn="1"/>
        </p:nvSpPr>
        <p:spPr>
          <a:xfrm>
            <a:off x="4636178" y="6141205"/>
            <a:ext cx="2919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>
                <a:solidFill>
                  <a:schemeClr val="accent3"/>
                </a:solidFill>
              </a:rPr>
              <a:t>The Courage to Change Healthcare.™</a:t>
            </a:r>
          </a:p>
        </p:txBody>
      </p:sp>
    </p:spTree>
    <p:extLst>
      <p:ext uri="{BB962C8B-B14F-4D97-AF65-F5344CB8AC3E}">
        <p14:creationId xmlns:p14="http://schemas.microsoft.com/office/powerpoint/2010/main" val="4117120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hank You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223AC7-5AAC-40E3-B5EB-8F3684AAC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71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223AC7-5AAC-40E3-B5EB-8F3684AAC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055DABE-ABA0-4389-9A60-49AD1ABE8F4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1D1C59BE-41F4-FFB1-68DC-9611F9071C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88000" y="6928874"/>
            <a:ext cx="4144041" cy="125069"/>
          </a:xfrm>
        </p:spPr>
        <p:txBody>
          <a:bodyPr/>
          <a:lstStyle/>
          <a:p>
            <a:r>
              <a:rPr lang="en-US"/>
              <a:t>0100.109\690048(pptx)-E1 11-5-24</a:t>
            </a:r>
          </a:p>
        </p:txBody>
      </p:sp>
      <p:pic>
        <p:nvPicPr>
          <p:cNvPr id="18" name="Picture 17" descr="Low view of tall buildings&#10;&#10;Description automatically generated">
            <a:extLst>
              <a:ext uri="{FF2B5EF4-FFF2-40B4-BE49-F238E27FC236}">
                <a16:creationId xmlns:a16="http://schemas.microsoft.com/office/drawing/2014/main" id="{A172C069-9053-4BBB-6E17-FD5EF4FB50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9FD1A9-E34B-4888-90DE-493861AD75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7700" y="4508500"/>
            <a:ext cx="3314700" cy="33020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ull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452AC72-D893-4C1A-83BD-9930164D89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17700" y="5180023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2EEC149-F1BE-4C36-A789-5BF73B40A2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17700" y="5683561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ho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321E48-76CD-780A-7BD7-1E454E298F5C}"/>
              </a:ext>
            </a:extLst>
          </p:cNvPr>
          <p:cNvSpPr txBox="1"/>
          <p:nvPr userDrawn="1"/>
        </p:nvSpPr>
        <p:spPr>
          <a:xfrm>
            <a:off x="258147" y="6313128"/>
            <a:ext cx="25398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2"/>
                </a:solidFill>
              </a:rPr>
              <a:t>The Courage to Change Healthcare.™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05C155C-1F2B-C5E7-8C8A-3C21046218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6701" y="1526397"/>
            <a:ext cx="11658600" cy="1663182"/>
          </a:xfrm>
        </p:spPr>
        <p:txBody>
          <a:bodyPr anchor="b"/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71619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quare">
            <a:extLst>
              <a:ext uri="{FF2B5EF4-FFF2-40B4-BE49-F238E27FC236}">
                <a16:creationId xmlns:a16="http://schemas.microsoft.com/office/drawing/2014/main" id="{C4497488-61DF-90F0-CE24-D2471C20D407}"/>
              </a:ext>
            </a:extLst>
          </p:cNvPr>
          <p:cNvSpPr/>
          <p:nvPr/>
        </p:nvSpPr>
        <p:spPr>
          <a:xfrm>
            <a:off x="11490578" y="6302628"/>
            <a:ext cx="345824" cy="345824"/>
          </a:xfrm>
          <a:prstGeom prst="rect">
            <a:avLst/>
          </a:prstGeom>
          <a:solidFill>
            <a:srgbClr val="CB2B24"/>
          </a:solidFill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defTabSz="412750">
              <a:defRPr sz="32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600">
              <a:latin typeface="Adelle-SemiBold" pitchFamily="2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31CA489-C814-2973-5AA2-183DA7744DC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/>
              </a:gs>
              <a:gs pos="100000">
                <a:schemeClr val="accent3"/>
              </a:gs>
            </a:gsLst>
            <a:lin ang="2700000" scaled="1"/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delle Rg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8852F7A-A6BC-25D9-95C7-E9AB0492E3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3111" y="2681873"/>
            <a:ext cx="4565780" cy="149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15129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13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9716B1-D060-73C2-3EA7-4E33702AD7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2472731-03E4-0692-83A4-48167ABB60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9424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735E8DD-3234-35C6-F410-DC6560DE93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230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35E8DD-3234-35C6-F410-DC6560DE9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E8B0AE2-DA19-49E2-AC81-5272385D30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FB48BF9-81C1-4C3D-B2D5-A5C08D5030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2845">
                <a:schemeClr val="accent1"/>
              </a:gs>
              <a:gs pos="36000">
                <a:schemeClr val="accent1"/>
              </a:gs>
              <a:gs pos="24000">
                <a:schemeClr val="accent1"/>
              </a:gs>
              <a:gs pos="48000">
                <a:schemeClr val="accent1"/>
              </a:gs>
              <a:gs pos="1000">
                <a:schemeClr val="accent1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 descr="Medium shot of women wearing scrubs&#10;&#10;Description automatically generated">
            <a:extLst>
              <a:ext uri="{FF2B5EF4-FFF2-40B4-BE49-F238E27FC236}">
                <a16:creationId xmlns:a16="http://schemas.microsoft.com/office/drawing/2014/main" id="{DF1EE2EA-56EB-8C44-4F79-583E9400CB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A black and red sign with white text&#10;&#10;Description automatically generated">
            <a:extLst>
              <a:ext uri="{FF2B5EF4-FFF2-40B4-BE49-F238E27FC236}">
                <a16:creationId xmlns:a16="http://schemas.microsoft.com/office/drawing/2014/main" id="{D92EDB26-2EDE-509D-EFB3-0350558EA8B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6177" y="310325"/>
            <a:ext cx="2919646" cy="950880"/>
          </a:xfrm>
          <a:prstGeom prst="rect">
            <a:avLst/>
          </a:prstGeom>
        </p:spPr>
      </p:pic>
      <p:sp>
        <p:nvSpPr>
          <p:cNvPr id="11" name="Subtitle 3">
            <a:extLst>
              <a:ext uri="{FF2B5EF4-FFF2-40B4-BE49-F238E27FC236}">
                <a16:creationId xmlns:a16="http://schemas.microsoft.com/office/drawing/2014/main" id="{6F5FAF3E-FFA1-9E0C-C0CA-081345E66584}"/>
              </a:ext>
            </a:extLst>
          </p:cNvPr>
          <p:cNvSpPr txBox="1">
            <a:spLocks/>
          </p:cNvSpPr>
          <p:nvPr userDrawn="1"/>
        </p:nvSpPr>
        <p:spPr>
          <a:xfrm>
            <a:off x="266700" y="4545081"/>
            <a:ext cx="11658600" cy="393201"/>
          </a:xfrm>
          <a:prstGeom prst="rect">
            <a:avLst/>
          </a:prstGeom>
          <a:noFill/>
        </p:spPr>
        <p:txBody>
          <a:bodyPr vert="horz" lIns="91440" tIns="0" rIns="18288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2400" b="1" i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800" i="0">
              <a:solidFill>
                <a:schemeClr val="bg1"/>
              </a:solidFill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69F8B2D-5B8A-551B-30B1-A434165EA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312919"/>
            <a:ext cx="12192000" cy="1600200"/>
          </a:xfrm>
          <a:solidFill>
            <a:srgbClr val="020C4A">
              <a:alpha val="69804"/>
            </a:srgbClr>
          </a:solidFill>
        </p:spPr>
        <p:txBody>
          <a:bodyPr vert="horz"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C8698B57-D2CB-91CA-2F97-9CE1E7578A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699" y="4400392"/>
            <a:ext cx="11658600" cy="62463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ent Name</a:t>
            </a:r>
          </a:p>
        </p:txBody>
      </p:sp>
      <p:sp>
        <p:nvSpPr>
          <p:cNvPr id="25" name="Text Placeholder 15">
            <a:extLst>
              <a:ext uri="{FF2B5EF4-FFF2-40B4-BE49-F238E27FC236}">
                <a16:creationId xmlns:a16="http://schemas.microsoft.com/office/drawing/2014/main" id="{3CCE147F-15B4-2425-38C1-0D0307DCD9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0742" y="5512299"/>
            <a:ext cx="2170517" cy="393201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lIns="0" anchor="ctr" anchorCtr="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E0A751D-148F-6E9E-3653-E3AB311924D9}"/>
              </a:ext>
            </a:extLst>
          </p:cNvPr>
          <p:cNvSpPr txBox="1"/>
          <p:nvPr userDrawn="1"/>
        </p:nvSpPr>
        <p:spPr>
          <a:xfrm>
            <a:off x="4636178" y="6141205"/>
            <a:ext cx="2919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>
                <a:solidFill>
                  <a:schemeClr val="accent5"/>
                </a:solidFill>
              </a:rPr>
              <a:t>The Courage to Change Healthcare.™</a:t>
            </a:r>
          </a:p>
        </p:txBody>
      </p:sp>
    </p:spTree>
    <p:extLst>
      <p:ext uri="{BB962C8B-B14F-4D97-AF65-F5344CB8AC3E}">
        <p14:creationId xmlns:p14="http://schemas.microsoft.com/office/powerpoint/2010/main" val="6568804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603F06-248A-70E0-E2FB-DD8FAF6741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8908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603F06-248A-70E0-E2FB-DD8FAF674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797B74-E645-46F4-8F77-49AF7F0D4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EAA7C-AE70-48A8-B582-013424EB9C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57D1A2-E2DD-4CD8-B7DB-2864D4A97E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B08B7A-4219-4973-8C9B-BF5BCC644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8752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35FEBF-DB25-9CCD-E5FA-B01193BB0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402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35FEBF-DB25-9CCD-E5FA-B01193BB0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B9BF353E-E113-B20B-4FC6-565CE8D3DC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9F303CE-7AE6-4A2A-1099-9FFBAD712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6314959-7B49-9D58-5C0C-CE76B7FF87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</p:spTree>
    <p:extLst>
      <p:ext uri="{BB962C8B-B14F-4D97-AF65-F5344CB8AC3E}">
        <p14:creationId xmlns:p14="http://schemas.microsoft.com/office/powerpoint/2010/main" val="4289690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Da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64D8246-4387-7686-D7DE-22DF85C6D0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5176" y="1444752"/>
            <a:ext cx="11658600" cy="276999"/>
          </a:xfrm>
          <a:noFill/>
        </p:spPr>
        <p:txBody>
          <a:bodyPr>
            <a:spAutoFit/>
          </a:bodyPr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Dan Box: Lead-in sentence goes here. If not needed, change to Title Only on Home&gt;Layout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ECE317C-2DC6-BCE3-9959-14B2A1520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1633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CE317C-2DC6-BCE3-9959-14B2A1520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5D58EF21-B174-CCC9-8177-0FD0531761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2BEDB1A-71AA-167B-8AF3-E1D4AA6D6A5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3BA29D9-D1B6-94D2-41FC-AAEFE1265B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370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31CA489-C814-2973-5AA2-183DA7744DC9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/>
              </a:gs>
              <a:gs pos="100000">
                <a:schemeClr val="accent5"/>
              </a:gs>
            </a:gsLst>
            <a:lin ang="2700000" scaled="1"/>
            <a:tileRect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delle Rg" pitchFamily="2" charset="77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8852F7A-A6BC-25D9-95C7-E9AB0492E3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3111" y="2681873"/>
            <a:ext cx="4565780" cy="149425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5BD9D3-03C3-21F3-868B-D30F31A431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</p:spTree>
    <p:extLst>
      <p:ext uri="{BB962C8B-B14F-4D97-AF65-F5344CB8AC3E}">
        <p14:creationId xmlns:p14="http://schemas.microsoft.com/office/powerpoint/2010/main" val="35439272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pos="139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223AC7-5AAC-40E3-B5EB-8F3684AAC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305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223AC7-5AAC-40E3-B5EB-8F3684AAC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11B88B4-8090-2535-DAF4-8971395DD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6874298-0084-41CA-9900-8206C47280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3FCE37-C321-6580-9DFE-2B47023DC3B6}"/>
              </a:ext>
            </a:extLst>
          </p:cNvPr>
          <p:cNvSpPr txBox="1"/>
          <p:nvPr userDrawn="1"/>
        </p:nvSpPr>
        <p:spPr>
          <a:xfrm>
            <a:off x="258147" y="6313128"/>
            <a:ext cx="25398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2"/>
                </a:solidFill>
              </a:rPr>
              <a:t>The Courage to Change Healthcare.™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DCE90E-9309-4C46-4D8B-61F536209BD2}"/>
              </a:ext>
            </a:extLst>
          </p:cNvPr>
          <p:cNvSpPr/>
          <p:nvPr userDrawn="1"/>
        </p:nvSpPr>
        <p:spPr>
          <a:xfrm>
            <a:off x="1136779" y="3260453"/>
            <a:ext cx="11055221" cy="125962"/>
          </a:xfrm>
          <a:prstGeom prst="rect">
            <a:avLst/>
          </a:prstGeom>
          <a:gradFill flip="none" rotWithShape="1">
            <a:gsLst>
              <a:gs pos="54100">
                <a:srgbClr val="2084CF"/>
              </a:gs>
              <a:gs pos="0">
                <a:schemeClr val="accent5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FA5710E-A07E-83D0-FA5C-0FBCFECD0B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35697" y="2249905"/>
            <a:ext cx="11055221" cy="906936"/>
          </a:xfrm>
        </p:spPr>
        <p:txBody>
          <a:bodyPr anchor="b">
            <a:normAutofit/>
          </a:bodyPr>
          <a:lstStyle>
            <a:lvl1pPr marL="0" indent="0">
              <a:buNone/>
              <a:defRPr sz="4800" b="1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164A9C-AAC8-F6BC-2EAB-0AFA39C1DCC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</p:spTree>
    <p:extLst>
      <p:ext uri="{BB962C8B-B14F-4D97-AF65-F5344CB8AC3E}">
        <p14:creationId xmlns:p14="http://schemas.microsoft.com/office/powerpoint/2010/main" val="11228111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223AC7-5AAC-40E3-B5EB-8F3684AAC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68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223AC7-5AAC-40E3-B5EB-8F3684AAC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8D39141-3E8E-4545-90DB-291A0E5F13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5000"/>
              <a:lumOff val="35000"/>
            </a:schemeClr>
          </a:solidFill>
        </p:spPr>
        <p:txBody>
          <a:bodyPr lIns="0" tIns="0" rIns="612000" anchor="ctr"/>
          <a:lstStyle>
            <a:lvl1pPr marL="0" indent="0" algn="r">
              <a:lnSpc>
                <a:spcPct val="100000"/>
              </a:lnSpc>
              <a:buNone/>
              <a:defRPr sz="12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Background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A062-54B3-47F2-9D6A-5BC957520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672000" cy="6857999"/>
          </a:xfrm>
          <a:solidFill>
            <a:srgbClr val="36589C">
              <a:alpha val="69804"/>
            </a:srgbClr>
          </a:solidFill>
        </p:spPr>
        <p:txBody>
          <a:bodyPr vert="horz" lIns="1116000" rIns="180000" bIns="756000" anchor="ctr"/>
          <a:lstStyle>
            <a:lvl1pPr algn="l">
              <a:lnSpc>
                <a:spcPct val="65000"/>
              </a:lnSpc>
              <a:defRPr sz="88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br>
              <a:rPr lang="en-US"/>
            </a:br>
            <a:r>
              <a:rPr lang="en-US"/>
              <a:t>you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9FD1A9-E34B-4888-90DE-493861AD75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7700" y="4508500"/>
            <a:ext cx="3314700" cy="33020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ull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452AC72-D893-4C1A-83BD-9930164D89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17700" y="5180023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2EEC149-F1BE-4C36-A789-5BF73B40A2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17700" y="5683561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hon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9149B0-53A2-2FDF-99C7-AAB2E1F6DF9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</p:spTree>
    <p:extLst>
      <p:ext uri="{BB962C8B-B14F-4D97-AF65-F5344CB8AC3E}">
        <p14:creationId xmlns:p14="http://schemas.microsoft.com/office/powerpoint/2010/main" val="3978468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223AC7-5AAC-40E3-B5EB-8F3684AAC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5305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223AC7-5AAC-40E3-B5EB-8F3684AAC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11B88B4-8090-2535-DAF4-8971395DD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7">
            <a:extLst>
              <a:ext uri="{FF2B5EF4-FFF2-40B4-BE49-F238E27FC236}">
                <a16:creationId xmlns:a16="http://schemas.microsoft.com/office/drawing/2014/main" id="{66874298-0084-41CA-9900-8206C47280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43FCE37-C321-6580-9DFE-2B47023DC3B6}"/>
              </a:ext>
            </a:extLst>
          </p:cNvPr>
          <p:cNvSpPr txBox="1"/>
          <p:nvPr userDrawn="1"/>
        </p:nvSpPr>
        <p:spPr>
          <a:xfrm>
            <a:off x="258147" y="6313128"/>
            <a:ext cx="25398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2"/>
                </a:solidFill>
              </a:rPr>
              <a:t>The Courage to Change Healthcare.™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DCE90E-9309-4C46-4D8B-61F536209BD2}"/>
              </a:ext>
            </a:extLst>
          </p:cNvPr>
          <p:cNvSpPr/>
          <p:nvPr userDrawn="1"/>
        </p:nvSpPr>
        <p:spPr>
          <a:xfrm>
            <a:off x="1136779" y="3260453"/>
            <a:ext cx="11055221" cy="125962"/>
          </a:xfrm>
          <a:prstGeom prst="rect">
            <a:avLst/>
          </a:prstGeom>
          <a:gradFill flip="none" rotWithShape="1">
            <a:gsLst>
              <a:gs pos="54100">
                <a:srgbClr val="2084CF"/>
              </a:gs>
              <a:gs pos="0">
                <a:schemeClr val="accent3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FA5710E-A07E-83D0-FA5C-0FBCFECD0B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35698" y="1257300"/>
            <a:ext cx="10889602" cy="1899541"/>
          </a:xfrm>
        </p:spPr>
        <p:txBody>
          <a:bodyPr anchor="b"/>
          <a:lstStyle>
            <a:lvl1pPr marL="0" indent="0">
              <a:buNone/>
              <a:defRPr sz="4800" b="1">
                <a:solidFill>
                  <a:schemeClr val="bg1"/>
                </a:solidFill>
                <a:latin typeface="+mj-lt"/>
              </a:defRPr>
            </a:lvl1pPr>
            <a:lvl2pPr marL="26670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08559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35FEBF-DB25-9CCD-E5FA-B01193BB0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94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35FEBF-DB25-9CCD-E5FA-B01193BB0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B9BF353E-E113-B20B-4FC6-565CE8D3DC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19A118-BD97-C5C1-EE3D-723F391750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</p:spTree>
    <p:extLst>
      <p:ext uri="{BB962C8B-B14F-4D97-AF65-F5344CB8AC3E}">
        <p14:creationId xmlns:p14="http://schemas.microsoft.com/office/powerpoint/2010/main" val="16943597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ank You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223AC7-5AAC-40E3-B5EB-8F3684AAC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71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223AC7-5AAC-40E3-B5EB-8F3684AAC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055DABE-ABA0-4389-9A60-49AD1ABE8F4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6">
            <a:extLst>
              <a:ext uri="{FF2B5EF4-FFF2-40B4-BE49-F238E27FC236}">
                <a16:creationId xmlns:a16="http://schemas.microsoft.com/office/drawing/2014/main" id="{1D1C59BE-41F4-FFB1-68DC-9611F9071C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88000" y="6928874"/>
            <a:ext cx="4144041" cy="125069"/>
          </a:xfrm>
        </p:spPr>
        <p:txBody>
          <a:bodyPr/>
          <a:lstStyle/>
          <a:p>
            <a:r>
              <a:rPr lang="en-US"/>
              <a:t>0100.109\693646(pptx)-E1 1-7-25</a:t>
            </a:r>
          </a:p>
        </p:txBody>
      </p:sp>
      <p:pic>
        <p:nvPicPr>
          <p:cNvPr id="18" name="Picture 17" descr="Low view of tall buildings&#10;&#10;Description automatically generated">
            <a:extLst>
              <a:ext uri="{FF2B5EF4-FFF2-40B4-BE49-F238E27FC236}">
                <a16:creationId xmlns:a16="http://schemas.microsoft.com/office/drawing/2014/main" id="{A172C069-9053-4BBB-6E17-FD5EF4FB50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9FD1A9-E34B-4888-90DE-493861AD75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7700" y="4508500"/>
            <a:ext cx="3314700" cy="33020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ull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452AC72-D893-4C1A-83BD-9930164D89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17700" y="5180023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2EEC149-F1BE-4C36-A789-5BF73B40A2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17700" y="5683561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ho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321E48-76CD-780A-7BD7-1E454E298F5C}"/>
              </a:ext>
            </a:extLst>
          </p:cNvPr>
          <p:cNvSpPr txBox="1"/>
          <p:nvPr userDrawn="1"/>
        </p:nvSpPr>
        <p:spPr>
          <a:xfrm>
            <a:off x="258147" y="6313128"/>
            <a:ext cx="25398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1">
                    <a:lumMod val="50000"/>
                    <a:lumOff val="50000"/>
                  </a:schemeClr>
                </a:solidFill>
              </a:rPr>
              <a:t>The Courage to Change Healthcare.™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05C155C-1F2B-C5E7-8C8A-3C210462187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6701" y="1526397"/>
            <a:ext cx="11658600" cy="1663182"/>
          </a:xfrm>
        </p:spPr>
        <p:txBody>
          <a:bodyPr anchor="b"/>
          <a:lstStyle>
            <a:lvl1pPr marL="0" indent="0" algn="ctr">
              <a:buNone/>
              <a:defRPr sz="6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51825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35FEBF-DB25-9CCD-E5FA-B01193BB0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519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35FEBF-DB25-9CCD-E5FA-B01193BB0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B7FD26C1-A3B3-625E-3B19-E5A04B4DC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03A91D4-7A7D-D303-9D01-45D2AA382068}"/>
              </a:ext>
            </a:extLst>
          </p:cNvPr>
          <p:cNvSpPr/>
          <p:nvPr userDrawn="1"/>
        </p:nvSpPr>
        <p:spPr>
          <a:xfrm>
            <a:off x="0" y="1085850"/>
            <a:ext cx="12192000" cy="5768108"/>
          </a:xfrm>
          <a:prstGeom prst="rect">
            <a:avLst/>
          </a:prstGeom>
          <a:solidFill>
            <a:srgbClr val="020C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B9BF353E-E113-B20B-4FC6-565CE8D3DC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8CE30D3-F0C1-8EA3-DDF4-6684B23DD54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00.109\693646(pptx)-E1 1-7-25</a:t>
            </a:r>
          </a:p>
        </p:txBody>
      </p:sp>
    </p:spTree>
    <p:extLst>
      <p:ext uri="{BB962C8B-B14F-4D97-AF65-F5344CB8AC3E}">
        <p14:creationId xmlns:p14="http://schemas.microsoft.com/office/powerpoint/2010/main" val="4005909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223AC7-5AAC-40E3-B5EB-8F3684AACE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680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223AC7-5AAC-40E3-B5EB-8F3684AAC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8D39141-3E8E-4545-90DB-291A0E5F139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5000"/>
              <a:lumOff val="35000"/>
            </a:schemeClr>
          </a:solidFill>
        </p:spPr>
        <p:txBody>
          <a:bodyPr lIns="0" tIns="0" rIns="612000" anchor="ctr"/>
          <a:lstStyle>
            <a:lvl1pPr marL="0" indent="0" algn="r">
              <a:lnSpc>
                <a:spcPct val="100000"/>
              </a:lnSpc>
              <a:buNone/>
              <a:defRPr sz="12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Background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90A062-54B3-47F2-9D6A-5BC9575208D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9672000" cy="6857999"/>
          </a:xfrm>
          <a:solidFill>
            <a:srgbClr val="36589C">
              <a:alpha val="69804"/>
            </a:srgbClr>
          </a:solidFill>
        </p:spPr>
        <p:txBody>
          <a:bodyPr vert="horz" lIns="1116000" rIns="180000" bIns="756000" anchor="ctr"/>
          <a:lstStyle>
            <a:lvl1pPr algn="l">
              <a:lnSpc>
                <a:spcPct val="65000"/>
              </a:lnSpc>
              <a:defRPr sz="88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</a:t>
            </a:r>
            <a:br>
              <a:rPr lang="en-US"/>
            </a:br>
            <a:r>
              <a:rPr lang="en-US"/>
              <a:t>you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49FD1A9-E34B-4888-90DE-493861AD75C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17700" y="4508500"/>
            <a:ext cx="3314700" cy="330200"/>
          </a:xfrm>
        </p:spPr>
        <p:txBody>
          <a:bodyPr anchor="t"/>
          <a:lstStyle>
            <a:lvl1pPr marL="0" indent="0">
              <a:buNone/>
              <a:defRPr sz="200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ull Nam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3452AC72-D893-4C1A-83BD-9930164D89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17700" y="5180023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2EEC149-F1BE-4C36-A789-5BF73B40A2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17700" y="5683561"/>
            <a:ext cx="3314700" cy="205029"/>
          </a:xfrm>
          <a:ln>
            <a:noFill/>
          </a:ln>
        </p:spPr>
        <p:txBody>
          <a:bodyPr anchor="t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266700" indent="0">
              <a:buNone/>
              <a:defRPr>
                <a:solidFill>
                  <a:schemeClr val="accent1"/>
                </a:solidFill>
              </a:defRPr>
            </a:lvl2pPr>
            <a:lvl3pPr marL="447675" indent="0">
              <a:buNone/>
              <a:defRPr>
                <a:solidFill>
                  <a:schemeClr val="accent1"/>
                </a:solidFill>
              </a:defRPr>
            </a:lvl3pPr>
            <a:lvl4pPr marL="628650" indent="0">
              <a:buNone/>
              <a:defRPr>
                <a:solidFill>
                  <a:schemeClr val="accent1"/>
                </a:solidFill>
              </a:defRPr>
            </a:lvl4pPr>
            <a:lvl5pPr marL="809625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hone</a:t>
            </a:r>
          </a:p>
        </p:txBody>
      </p:sp>
    </p:spTree>
    <p:extLst>
      <p:ext uri="{BB962C8B-B14F-4D97-AF65-F5344CB8AC3E}">
        <p14:creationId xmlns:p14="http://schemas.microsoft.com/office/powerpoint/2010/main" val="3421751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603F06-248A-70E0-E2FB-DD8FAF6741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938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603F06-248A-70E0-E2FB-DD8FAF674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EAA7C-AE70-48A8-B582-013424EB9C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57D1A2-E2DD-4CD8-B7DB-2864D4A97E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B08B7A-4219-4973-8C9B-BF5BCC644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AD90A51-6A92-6332-2947-ABDDDB033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7587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35FEBF-DB25-9CCD-E5FA-B01193BB0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8699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35FEBF-DB25-9CCD-E5FA-B01193BB0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5B4A51E-6172-8FA9-3780-F5BFF2D4F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000" y="6928874"/>
            <a:ext cx="4144041" cy="12506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0100.109\690048(pptx)-E1 11-5-24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B9BF353E-E113-B20B-4FC6-565CE8D3DC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FD26C1-A3B3-625E-3B19-E5A04B4DC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8537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35FEBF-DB25-9CCD-E5FA-B01193BB0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94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35FEBF-DB25-9CCD-E5FA-B01193BB0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5B4A51E-6172-8FA9-3780-F5BFF2D4F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000" y="6928874"/>
            <a:ext cx="4144041" cy="12506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0100.109\690048(pptx)-E1 11-5-24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B9BF353E-E113-B20B-4FC6-565CE8D3DC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59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E35FEBF-DB25-9CCD-E5FA-B01193BB07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443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E35FEBF-DB25-9CCD-E5FA-B01193BB0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65B4A51E-6172-8FA9-3780-F5BFF2D4F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000" y="6928874"/>
            <a:ext cx="4144041" cy="12506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0100.109\690048(pptx)-E1 11-5-24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7FD26C1-A3B3-625E-3B19-E5A04B4DC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03A91D4-7A7D-D303-9D01-45D2AA382068}"/>
              </a:ext>
            </a:extLst>
          </p:cNvPr>
          <p:cNvSpPr/>
          <p:nvPr userDrawn="1"/>
        </p:nvSpPr>
        <p:spPr>
          <a:xfrm>
            <a:off x="0" y="1085850"/>
            <a:ext cx="12192000" cy="5768108"/>
          </a:xfrm>
          <a:prstGeom prst="rect">
            <a:avLst/>
          </a:prstGeom>
          <a:solidFill>
            <a:srgbClr val="020C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B9BF353E-E113-B20B-4FC6-565CE8D3DC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488149" y="6228775"/>
            <a:ext cx="445704" cy="4457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39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603F06-248A-70E0-E2FB-DD8FAF6741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4220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603F06-248A-70E0-E2FB-DD8FAF6741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5EAA7C-AE70-48A8-B582-013424EB9C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9144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57D1A2-E2DD-4CD8-B7DB-2864D4A97E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6B08B7A-4219-4973-8C9B-BF5BCC644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D2AC1A-2522-C778-47FC-697BBF9C8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71864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w/Da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D71774-7BF9-A1D6-B820-1A320DD94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203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D71774-7BF9-A1D6-B820-1A320DD94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49FD8A5-FE36-4293-96FB-99FEF9A86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8E8E4F2-B07C-424D-B977-A5A215DC60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349" y="1326944"/>
            <a:ext cx="11658600" cy="62774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Dan Box: Lead-in sentence goes here. If not needed, change to Title Only on Home&gt;Layout</a:t>
            </a:r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6CBE9EA5-AB38-D410-0B39-3D68B6D221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1161" y="6192967"/>
            <a:ext cx="598439" cy="436433"/>
          </a:xfrm>
        </p:spPr>
        <p:txBody>
          <a:bodyPr/>
          <a:lstStyle/>
          <a:p>
            <a:r>
              <a:rPr lang="en-US"/>
              <a:t>|  </a:t>
            </a:r>
            <a:fld id="{020DA90B-5D47-4F77-AA3C-54E76B4D78A2}" type="slidenum">
              <a:rPr lang="en-US" smtClean="0"/>
              <a:pPr/>
              <a:t>‹#›</a:t>
            </a:fld>
            <a:r>
              <a:rPr lang="en-US"/>
              <a:t>  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A7B4F2-E2C2-F3CE-A510-79AEFD8FED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extLst>
      <p:ext uri="{BB962C8B-B14F-4D97-AF65-F5344CB8AC3E}">
        <p14:creationId xmlns:p14="http://schemas.microsoft.com/office/powerpoint/2010/main" val="2796681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8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598604-C6D2-F0B6-BF30-903F17C6C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41630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98604-C6D2-F0B6-BF30-903F17C6C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BA08A0D4-DC07-A6CC-06B4-151838DBCCDF}"/>
              </a:ext>
            </a:extLst>
          </p:cNvPr>
          <p:cNvSpPr/>
          <p:nvPr userDrawn="1"/>
        </p:nvSpPr>
        <p:spPr>
          <a:xfrm>
            <a:off x="278668" y="6227599"/>
            <a:ext cx="11328614" cy="4480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3A4203-9E6A-942B-F288-C2C1C86DE110}"/>
              </a:ext>
            </a:extLst>
          </p:cNvPr>
          <p:cNvSpPr/>
          <p:nvPr userDrawn="1"/>
        </p:nvSpPr>
        <p:spPr>
          <a:xfrm>
            <a:off x="0" y="0"/>
            <a:ext cx="12192000" cy="1257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A5246D-ECE9-473C-953D-D56C3F7B3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000" y="4042"/>
            <a:ext cx="11637299" cy="1159140"/>
          </a:xfrm>
          <a:prstGeom prst="rect">
            <a:avLst/>
          </a:prstGeom>
        </p:spPr>
        <p:txBody>
          <a:bodyPr vert="horz" lIns="9144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D946F0-677D-45B4-83B9-FD3BD3FFCA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68" y="1554480"/>
            <a:ext cx="11655185" cy="4503420"/>
          </a:xfrm>
          <a:prstGeom prst="rect">
            <a:avLst/>
          </a:prstGeom>
        </p:spPr>
        <p:txBody>
          <a:bodyPr vert="horz" lIns="91440" tIns="0" rIns="9144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45BE21-FA72-48F5-9A53-134902BF63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000" y="6928874"/>
            <a:ext cx="4144041" cy="12506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0100.109\690048(pptx)-E1 11-5-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79B29-5421-49A7-A511-D916B66A88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8149" y="6228775"/>
            <a:ext cx="445704" cy="445704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155D45-AB04-82F9-C26A-07B5ADBA7EDB}"/>
              </a:ext>
            </a:extLst>
          </p:cNvPr>
          <p:cNvSpPr/>
          <p:nvPr userDrawn="1"/>
        </p:nvSpPr>
        <p:spPr>
          <a:xfrm>
            <a:off x="1524" y="1164357"/>
            <a:ext cx="12188952" cy="169556"/>
          </a:xfrm>
          <a:prstGeom prst="rect">
            <a:avLst/>
          </a:prstGeom>
          <a:gradFill flip="none" rotWithShape="1">
            <a:gsLst>
              <a:gs pos="0">
                <a:srgbClr val="1B5CD3">
                  <a:alpha val="77647"/>
                </a:srgbClr>
              </a:gs>
              <a:gs pos="100000">
                <a:schemeClr val="accent3">
                  <a:alpha val="7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17A795-B164-D4A6-E923-3C9D129FA6C3}"/>
              </a:ext>
            </a:extLst>
          </p:cNvPr>
          <p:cNvSpPr txBox="1"/>
          <p:nvPr userDrawn="1"/>
        </p:nvSpPr>
        <p:spPr>
          <a:xfrm>
            <a:off x="258147" y="6313128"/>
            <a:ext cx="25398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2"/>
                </a:solidFill>
              </a:rPr>
              <a:t>The Courage to Change Healthcare.™</a:t>
            </a:r>
          </a:p>
        </p:txBody>
      </p:sp>
    </p:spTree>
    <p:extLst>
      <p:ext uri="{BB962C8B-B14F-4D97-AF65-F5344CB8AC3E}">
        <p14:creationId xmlns:p14="http://schemas.microsoft.com/office/powerpoint/2010/main" val="982036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30" r:id="rId2"/>
    <p:sldLayoutId id="2147483831" r:id="rId3"/>
    <p:sldLayoutId id="2147483828" r:id="rId4"/>
    <p:sldLayoutId id="2147483832" r:id="rId5"/>
    <p:sldLayoutId id="2147483837" r:id="rId6"/>
    <p:sldLayoutId id="2147483836" r:id="rId7"/>
    <p:sldLayoutId id="2147483741" r:id="rId8"/>
    <p:sldLayoutId id="2147483835" r:id="rId9"/>
    <p:sldLayoutId id="2147483747" r:id="rId10"/>
    <p:sldLayoutId id="2147483761" r:id="rId11"/>
    <p:sldLayoutId id="2147483838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spc="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3425" indent="-2857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>
            <a:lumMod val="75000"/>
            <a:lumOff val="25000"/>
          </a:schemeClr>
        </a:buClr>
        <a:buSzPct val="80000"/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168">
          <p15:clr>
            <a:srgbClr val="F26B43"/>
          </p15:clr>
        </p15:guide>
        <p15:guide id="3" orient="horz" pos="3816">
          <p15:clr>
            <a:srgbClr val="F26B43"/>
          </p15:clr>
        </p15:guide>
        <p15:guide id="4" pos="7512">
          <p15:clr>
            <a:srgbClr val="F26B43"/>
          </p15:clr>
        </p15:guide>
        <p15:guide id="5" orient="horz" pos="792">
          <p15:clr>
            <a:srgbClr val="F26B43"/>
          </p15:clr>
        </p15:guide>
        <p15:guide id="6" orient="horz" pos="4200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5598604-C6D2-F0B6-BF30-903F17C6C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19802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598604-C6D2-F0B6-BF30-903F17C6C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BA08A0D4-DC07-A6CC-06B4-151838DBCCDF}"/>
              </a:ext>
            </a:extLst>
          </p:cNvPr>
          <p:cNvSpPr/>
          <p:nvPr userDrawn="1"/>
        </p:nvSpPr>
        <p:spPr>
          <a:xfrm>
            <a:off x="278668" y="6227599"/>
            <a:ext cx="11328614" cy="448056"/>
          </a:xfrm>
          <a:prstGeom prst="rect">
            <a:avLst/>
          </a:prstGeom>
          <a:solidFill>
            <a:srgbClr val="EFF7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C3A4203-9E6A-942B-F288-C2C1C86DE110}"/>
              </a:ext>
            </a:extLst>
          </p:cNvPr>
          <p:cNvSpPr/>
          <p:nvPr userDrawn="1"/>
        </p:nvSpPr>
        <p:spPr>
          <a:xfrm>
            <a:off x="0" y="0"/>
            <a:ext cx="12192000" cy="1257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9A5246D-ECE9-473C-953D-D56C3F7B32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554" y="114693"/>
            <a:ext cx="11637299" cy="934971"/>
          </a:xfrm>
          <a:prstGeom prst="rect">
            <a:avLst/>
          </a:prstGeom>
        </p:spPr>
        <p:txBody>
          <a:bodyPr vert="horz" lIns="9144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D946F0-677D-45B4-83B9-FD3BD3FFCA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68" y="1554480"/>
            <a:ext cx="11655185" cy="4503420"/>
          </a:xfrm>
          <a:prstGeom prst="rect">
            <a:avLst/>
          </a:prstGeom>
        </p:spPr>
        <p:txBody>
          <a:bodyPr vert="horz" lIns="91440" tIns="0" rIns="9144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45BE21-FA72-48F5-9A53-134902BF63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8000" y="6928874"/>
            <a:ext cx="4144041" cy="125069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r>
              <a:rPr lang="en-US"/>
              <a:t>0100.109\693646(pptx)-E1 1-7-25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F79B29-5421-49A7-A511-D916B66A88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8149" y="6228775"/>
            <a:ext cx="445704" cy="445704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/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fld id="{EECC7194-A4D0-457B-9D3E-53681723AFF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155D45-AB04-82F9-C26A-07B5ADBA7EDB}"/>
              </a:ext>
            </a:extLst>
          </p:cNvPr>
          <p:cNvSpPr/>
          <p:nvPr userDrawn="1"/>
        </p:nvSpPr>
        <p:spPr>
          <a:xfrm>
            <a:off x="1524" y="1164357"/>
            <a:ext cx="12188952" cy="169556"/>
          </a:xfrm>
          <a:prstGeom prst="rect">
            <a:avLst/>
          </a:prstGeom>
          <a:gradFill flip="none" rotWithShape="1">
            <a:gsLst>
              <a:gs pos="0">
                <a:srgbClr val="1B5CD3">
                  <a:alpha val="77647"/>
                </a:srgbClr>
              </a:gs>
              <a:gs pos="100000">
                <a:schemeClr val="accent5">
                  <a:alpha val="78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317A795-B164-D4A6-E923-3C9D129FA6C3}"/>
              </a:ext>
            </a:extLst>
          </p:cNvPr>
          <p:cNvSpPr txBox="1"/>
          <p:nvPr userDrawn="1"/>
        </p:nvSpPr>
        <p:spPr>
          <a:xfrm>
            <a:off x="258147" y="6313128"/>
            <a:ext cx="25398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>
                <a:solidFill>
                  <a:schemeClr val="accent2"/>
                </a:solidFill>
              </a:rPr>
              <a:t>The Courage to Change Healthcare.™</a:t>
            </a:r>
          </a:p>
        </p:txBody>
      </p:sp>
    </p:spTree>
    <p:extLst>
      <p:ext uri="{BB962C8B-B14F-4D97-AF65-F5344CB8AC3E}">
        <p14:creationId xmlns:p14="http://schemas.microsoft.com/office/powerpoint/2010/main" val="1662281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none" spc="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3425" indent="-28575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>
            <a:lumMod val="75000"/>
            <a:lumOff val="25000"/>
          </a:schemeClr>
        </a:buClr>
        <a:buSzPct val="80000"/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90600" indent="-180975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168">
          <p15:clr>
            <a:srgbClr val="F26B43"/>
          </p15:clr>
        </p15:guide>
        <p15:guide id="3" orient="horz" pos="3816">
          <p15:clr>
            <a:srgbClr val="F26B43"/>
          </p15:clr>
        </p15:guide>
        <p15:guide id="4" pos="7512">
          <p15:clr>
            <a:srgbClr val="F26B43"/>
          </p15:clr>
        </p15:guide>
        <p15:guide id="5" orient="horz" pos="792">
          <p15:clr>
            <a:srgbClr val="F26B43"/>
          </p15:clr>
        </p15:guide>
        <p15:guide id="6" orient="horz" pos="4200">
          <p15:clr>
            <a:srgbClr val="F26B43"/>
          </p15:clr>
        </p15:guide>
        <p15:guide id="7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2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63.xml"/><Relationship Id="rId18" Type="http://schemas.openxmlformats.org/officeDocument/2006/relationships/tags" Target="../tags/tag168.xml"/><Relationship Id="rId26" Type="http://schemas.openxmlformats.org/officeDocument/2006/relationships/tags" Target="../tags/tag176.xml"/><Relationship Id="rId39" Type="http://schemas.openxmlformats.org/officeDocument/2006/relationships/tags" Target="../tags/tag189.xml"/><Relationship Id="rId21" Type="http://schemas.openxmlformats.org/officeDocument/2006/relationships/tags" Target="../tags/tag171.xml"/><Relationship Id="rId34" Type="http://schemas.openxmlformats.org/officeDocument/2006/relationships/tags" Target="../tags/tag184.xml"/><Relationship Id="rId42" Type="http://schemas.openxmlformats.org/officeDocument/2006/relationships/tags" Target="../tags/tag192.xml"/><Relationship Id="rId47" Type="http://schemas.openxmlformats.org/officeDocument/2006/relationships/tags" Target="../tags/tag197.xml"/><Relationship Id="rId50" Type="http://schemas.openxmlformats.org/officeDocument/2006/relationships/tags" Target="../tags/tag200.xml"/><Relationship Id="rId55" Type="http://schemas.openxmlformats.org/officeDocument/2006/relationships/image" Target="../media/image14.jpeg"/><Relationship Id="rId7" Type="http://schemas.openxmlformats.org/officeDocument/2006/relationships/tags" Target="../tags/tag157.xml"/><Relationship Id="rId2" Type="http://schemas.openxmlformats.org/officeDocument/2006/relationships/tags" Target="../tags/tag152.xml"/><Relationship Id="rId16" Type="http://schemas.openxmlformats.org/officeDocument/2006/relationships/tags" Target="../tags/tag166.xml"/><Relationship Id="rId29" Type="http://schemas.openxmlformats.org/officeDocument/2006/relationships/tags" Target="../tags/tag179.xml"/><Relationship Id="rId11" Type="http://schemas.openxmlformats.org/officeDocument/2006/relationships/tags" Target="../tags/tag161.xml"/><Relationship Id="rId24" Type="http://schemas.openxmlformats.org/officeDocument/2006/relationships/tags" Target="../tags/tag174.xml"/><Relationship Id="rId32" Type="http://schemas.openxmlformats.org/officeDocument/2006/relationships/tags" Target="../tags/tag182.xml"/><Relationship Id="rId37" Type="http://schemas.openxmlformats.org/officeDocument/2006/relationships/tags" Target="../tags/tag187.xml"/><Relationship Id="rId40" Type="http://schemas.openxmlformats.org/officeDocument/2006/relationships/tags" Target="../tags/tag190.xml"/><Relationship Id="rId45" Type="http://schemas.openxmlformats.org/officeDocument/2006/relationships/tags" Target="../tags/tag195.xml"/><Relationship Id="rId53" Type="http://schemas.openxmlformats.org/officeDocument/2006/relationships/oleObject" Target="../embeddings/oleObject25.bin"/><Relationship Id="rId5" Type="http://schemas.openxmlformats.org/officeDocument/2006/relationships/tags" Target="../tags/tag155.xml"/><Relationship Id="rId19" Type="http://schemas.openxmlformats.org/officeDocument/2006/relationships/tags" Target="../tags/tag169.xml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Relationship Id="rId22" Type="http://schemas.openxmlformats.org/officeDocument/2006/relationships/tags" Target="../tags/tag172.xml"/><Relationship Id="rId27" Type="http://schemas.openxmlformats.org/officeDocument/2006/relationships/tags" Target="../tags/tag177.xml"/><Relationship Id="rId30" Type="http://schemas.openxmlformats.org/officeDocument/2006/relationships/tags" Target="../tags/tag180.xml"/><Relationship Id="rId35" Type="http://schemas.openxmlformats.org/officeDocument/2006/relationships/tags" Target="../tags/tag185.xml"/><Relationship Id="rId43" Type="http://schemas.openxmlformats.org/officeDocument/2006/relationships/tags" Target="../tags/tag193.xml"/><Relationship Id="rId48" Type="http://schemas.openxmlformats.org/officeDocument/2006/relationships/tags" Target="../tags/tag198.xml"/><Relationship Id="rId56" Type="http://schemas.openxmlformats.org/officeDocument/2006/relationships/image" Target="../media/image15.png"/><Relationship Id="rId8" Type="http://schemas.openxmlformats.org/officeDocument/2006/relationships/tags" Target="../tags/tag158.xml"/><Relationship Id="rId51" Type="http://schemas.openxmlformats.org/officeDocument/2006/relationships/slideLayout" Target="../slideLayouts/slideLayout7.xml"/><Relationship Id="rId3" Type="http://schemas.openxmlformats.org/officeDocument/2006/relationships/tags" Target="../tags/tag153.xml"/><Relationship Id="rId12" Type="http://schemas.openxmlformats.org/officeDocument/2006/relationships/tags" Target="../tags/tag162.xml"/><Relationship Id="rId17" Type="http://schemas.openxmlformats.org/officeDocument/2006/relationships/tags" Target="../tags/tag167.xml"/><Relationship Id="rId25" Type="http://schemas.openxmlformats.org/officeDocument/2006/relationships/tags" Target="../tags/tag175.xml"/><Relationship Id="rId33" Type="http://schemas.openxmlformats.org/officeDocument/2006/relationships/tags" Target="../tags/tag183.xml"/><Relationship Id="rId38" Type="http://schemas.openxmlformats.org/officeDocument/2006/relationships/tags" Target="../tags/tag188.xml"/><Relationship Id="rId46" Type="http://schemas.openxmlformats.org/officeDocument/2006/relationships/tags" Target="../tags/tag196.xml"/><Relationship Id="rId20" Type="http://schemas.openxmlformats.org/officeDocument/2006/relationships/tags" Target="../tags/tag170.xml"/><Relationship Id="rId41" Type="http://schemas.openxmlformats.org/officeDocument/2006/relationships/tags" Target="../tags/tag191.xml"/><Relationship Id="rId54" Type="http://schemas.openxmlformats.org/officeDocument/2006/relationships/image" Target="../media/image13.emf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15" Type="http://schemas.openxmlformats.org/officeDocument/2006/relationships/tags" Target="../tags/tag165.xml"/><Relationship Id="rId23" Type="http://schemas.openxmlformats.org/officeDocument/2006/relationships/tags" Target="../tags/tag173.xml"/><Relationship Id="rId28" Type="http://schemas.openxmlformats.org/officeDocument/2006/relationships/tags" Target="../tags/tag178.xml"/><Relationship Id="rId36" Type="http://schemas.openxmlformats.org/officeDocument/2006/relationships/tags" Target="../tags/tag186.xml"/><Relationship Id="rId49" Type="http://schemas.openxmlformats.org/officeDocument/2006/relationships/tags" Target="../tags/tag199.xml"/><Relationship Id="rId57" Type="http://schemas.openxmlformats.org/officeDocument/2006/relationships/image" Target="../media/image16.svg"/><Relationship Id="rId10" Type="http://schemas.openxmlformats.org/officeDocument/2006/relationships/tags" Target="../tags/tag160.xml"/><Relationship Id="rId31" Type="http://schemas.openxmlformats.org/officeDocument/2006/relationships/tags" Target="../tags/tag181.xml"/><Relationship Id="rId44" Type="http://schemas.openxmlformats.org/officeDocument/2006/relationships/tags" Target="../tags/tag194.xml"/><Relationship Id="rId52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213.xml"/><Relationship Id="rId18" Type="http://schemas.openxmlformats.org/officeDocument/2006/relationships/tags" Target="../tags/tag218.xml"/><Relationship Id="rId26" Type="http://schemas.openxmlformats.org/officeDocument/2006/relationships/tags" Target="../tags/tag226.xml"/><Relationship Id="rId39" Type="http://schemas.openxmlformats.org/officeDocument/2006/relationships/tags" Target="../tags/tag239.xml"/><Relationship Id="rId21" Type="http://schemas.openxmlformats.org/officeDocument/2006/relationships/tags" Target="../tags/tag221.xml"/><Relationship Id="rId34" Type="http://schemas.openxmlformats.org/officeDocument/2006/relationships/tags" Target="../tags/tag234.xml"/><Relationship Id="rId42" Type="http://schemas.openxmlformats.org/officeDocument/2006/relationships/image" Target="../media/image1.emf"/><Relationship Id="rId47" Type="http://schemas.openxmlformats.org/officeDocument/2006/relationships/image" Target="../media/image21.png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6" Type="http://schemas.openxmlformats.org/officeDocument/2006/relationships/tags" Target="../tags/tag216.xml"/><Relationship Id="rId29" Type="http://schemas.openxmlformats.org/officeDocument/2006/relationships/tags" Target="../tags/tag229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tags" Target="../tags/tag211.xml"/><Relationship Id="rId24" Type="http://schemas.openxmlformats.org/officeDocument/2006/relationships/tags" Target="../tags/tag224.xml"/><Relationship Id="rId32" Type="http://schemas.openxmlformats.org/officeDocument/2006/relationships/tags" Target="../tags/tag232.xml"/><Relationship Id="rId37" Type="http://schemas.openxmlformats.org/officeDocument/2006/relationships/tags" Target="../tags/tag237.xml"/><Relationship Id="rId40" Type="http://schemas.openxmlformats.org/officeDocument/2006/relationships/slideLayout" Target="../slideLayouts/slideLayout5.xml"/><Relationship Id="rId45" Type="http://schemas.openxmlformats.org/officeDocument/2006/relationships/image" Target="../media/image19.jpeg"/><Relationship Id="rId5" Type="http://schemas.openxmlformats.org/officeDocument/2006/relationships/tags" Target="../tags/tag205.xml"/><Relationship Id="rId15" Type="http://schemas.openxmlformats.org/officeDocument/2006/relationships/tags" Target="../tags/tag215.xml"/><Relationship Id="rId23" Type="http://schemas.openxmlformats.org/officeDocument/2006/relationships/tags" Target="../tags/tag223.xml"/><Relationship Id="rId28" Type="http://schemas.openxmlformats.org/officeDocument/2006/relationships/tags" Target="../tags/tag228.xml"/><Relationship Id="rId36" Type="http://schemas.openxmlformats.org/officeDocument/2006/relationships/tags" Target="../tags/tag236.xml"/><Relationship Id="rId10" Type="http://schemas.openxmlformats.org/officeDocument/2006/relationships/tags" Target="../tags/tag210.xml"/><Relationship Id="rId19" Type="http://schemas.openxmlformats.org/officeDocument/2006/relationships/tags" Target="../tags/tag219.xml"/><Relationship Id="rId31" Type="http://schemas.openxmlformats.org/officeDocument/2006/relationships/tags" Target="../tags/tag231.xml"/><Relationship Id="rId44" Type="http://schemas.openxmlformats.org/officeDocument/2006/relationships/image" Target="../media/image18.png"/><Relationship Id="rId4" Type="http://schemas.openxmlformats.org/officeDocument/2006/relationships/tags" Target="../tags/tag204.xml"/><Relationship Id="rId9" Type="http://schemas.openxmlformats.org/officeDocument/2006/relationships/tags" Target="../tags/tag209.xml"/><Relationship Id="rId14" Type="http://schemas.openxmlformats.org/officeDocument/2006/relationships/tags" Target="../tags/tag214.xml"/><Relationship Id="rId22" Type="http://schemas.openxmlformats.org/officeDocument/2006/relationships/tags" Target="../tags/tag222.xml"/><Relationship Id="rId27" Type="http://schemas.openxmlformats.org/officeDocument/2006/relationships/tags" Target="../tags/tag227.xml"/><Relationship Id="rId30" Type="http://schemas.openxmlformats.org/officeDocument/2006/relationships/tags" Target="../tags/tag230.xml"/><Relationship Id="rId35" Type="http://schemas.openxmlformats.org/officeDocument/2006/relationships/tags" Target="../tags/tag235.xml"/><Relationship Id="rId43" Type="http://schemas.openxmlformats.org/officeDocument/2006/relationships/image" Target="../media/image17.jpeg"/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12" Type="http://schemas.openxmlformats.org/officeDocument/2006/relationships/tags" Target="../tags/tag212.xml"/><Relationship Id="rId17" Type="http://schemas.openxmlformats.org/officeDocument/2006/relationships/tags" Target="../tags/tag217.xml"/><Relationship Id="rId25" Type="http://schemas.openxmlformats.org/officeDocument/2006/relationships/tags" Target="../tags/tag225.xml"/><Relationship Id="rId33" Type="http://schemas.openxmlformats.org/officeDocument/2006/relationships/tags" Target="../tags/tag233.xml"/><Relationship Id="rId38" Type="http://schemas.openxmlformats.org/officeDocument/2006/relationships/tags" Target="../tags/tag238.xml"/><Relationship Id="rId46" Type="http://schemas.openxmlformats.org/officeDocument/2006/relationships/image" Target="../media/image20.png"/><Relationship Id="rId20" Type="http://schemas.openxmlformats.org/officeDocument/2006/relationships/tags" Target="../tags/tag220.xml"/><Relationship Id="rId41" Type="http://schemas.openxmlformats.org/officeDocument/2006/relationships/oleObject" Target="../embeddings/oleObject26.bin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52.xml"/><Relationship Id="rId18" Type="http://schemas.openxmlformats.org/officeDocument/2006/relationships/tags" Target="../tags/tag257.xml"/><Relationship Id="rId26" Type="http://schemas.openxmlformats.org/officeDocument/2006/relationships/tags" Target="../tags/tag265.xml"/><Relationship Id="rId21" Type="http://schemas.openxmlformats.org/officeDocument/2006/relationships/tags" Target="../tags/tag260.xml"/><Relationship Id="rId34" Type="http://schemas.openxmlformats.org/officeDocument/2006/relationships/tags" Target="../tags/tag273.xml"/><Relationship Id="rId7" Type="http://schemas.openxmlformats.org/officeDocument/2006/relationships/tags" Target="../tags/tag246.xml"/><Relationship Id="rId12" Type="http://schemas.openxmlformats.org/officeDocument/2006/relationships/tags" Target="../tags/tag251.xml"/><Relationship Id="rId17" Type="http://schemas.openxmlformats.org/officeDocument/2006/relationships/tags" Target="../tags/tag256.xml"/><Relationship Id="rId25" Type="http://schemas.openxmlformats.org/officeDocument/2006/relationships/tags" Target="../tags/tag264.xml"/><Relationship Id="rId33" Type="http://schemas.openxmlformats.org/officeDocument/2006/relationships/tags" Target="../tags/tag272.xml"/><Relationship Id="rId38" Type="http://schemas.openxmlformats.org/officeDocument/2006/relationships/chart" Target="../charts/chart1.xml"/><Relationship Id="rId2" Type="http://schemas.openxmlformats.org/officeDocument/2006/relationships/tags" Target="../tags/tag241.xml"/><Relationship Id="rId16" Type="http://schemas.openxmlformats.org/officeDocument/2006/relationships/tags" Target="../tags/tag255.xml"/><Relationship Id="rId20" Type="http://schemas.openxmlformats.org/officeDocument/2006/relationships/tags" Target="../tags/tag259.xml"/><Relationship Id="rId29" Type="http://schemas.openxmlformats.org/officeDocument/2006/relationships/tags" Target="../tags/tag268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tags" Target="../tags/tag250.xml"/><Relationship Id="rId24" Type="http://schemas.openxmlformats.org/officeDocument/2006/relationships/tags" Target="../tags/tag263.xml"/><Relationship Id="rId32" Type="http://schemas.openxmlformats.org/officeDocument/2006/relationships/tags" Target="../tags/tag271.xml"/><Relationship Id="rId37" Type="http://schemas.openxmlformats.org/officeDocument/2006/relationships/image" Target="../media/image13.emf"/><Relationship Id="rId5" Type="http://schemas.openxmlformats.org/officeDocument/2006/relationships/tags" Target="../tags/tag244.xml"/><Relationship Id="rId15" Type="http://schemas.openxmlformats.org/officeDocument/2006/relationships/tags" Target="../tags/tag254.xml"/><Relationship Id="rId23" Type="http://schemas.openxmlformats.org/officeDocument/2006/relationships/tags" Target="../tags/tag262.xml"/><Relationship Id="rId28" Type="http://schemas.openxmlformats.org/officeDocument/2006/relationships/tags" Target="../tags/tag267.xml"/><Relationship Id="rId36" Type="http://schemas.openxmlformats.org/officeDocument/2006/relationships/oleObject" Target="../embeddings/oleObject27.bin"/><Relationship Id="rId10" Type="http://schemas.openxmlformats.org/officeDocument/2006/relationships/tags" Target="../tags/tag249.xml"/><Relationship Id="rId19" Type="http://schemas.openxmlformats.org/officeDocument/2006/relationships/tags" Target="../tags/tag258.xml"/><Relationship Id="rId31" Type="http://schemas.openxmlformats.org/officeDocument/2006/relationships/tags" Target="../tags/tag270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tags" Target="../tags/tag253.xml"/><Relationship Id="rId22" Type="http://schemas.openxmlformats.org/officeDocument/2006/relationships/tags" Target="../tags/tag261.xml"/><Relationship Id="rId27" Type="http://schemas.openxmlformats.org/officeDocument/2006/relationships/tags" Target="../tags/tag266.xml"/><Relationship Id="rId30" Type="http://schemas.openxmlformats.org/officeDocument/2006/relationships/tags" Target="../tags/tag269.xml"/><Relationship Id="rId35" Type="http://schemas.openxmlformats.org/officeDocument/2006/relationships/slideLayout" Target="../slideLayouts/slideLayout5.xml"/><Relationship Id="rId8" Type="http://schemas.openxmlformats.org/officeDocument/2006/relationships/tags" Target="../tags/tag247.xml"/><Relationship Id="rId3" Type="http://schemas.openxmlformats.org/officeDocument/2006/relationships/tags" Target="../tags/tag24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286.xml"/><Relationship Id="rId18" Type="http://schemas.openxmlformats.org/officeDocument/2006/relationships/tags" Target="../tags/tag291.xml"/><Relationship Id="rId26" Type="http://schemas.openxmlformats.org/officeDocument/2006/relationships/tags" Target="../tags/tag299.xml"/><Relationship Id="rId21" Type="http://schemas.openxmlformats.org/officeDocument/2006/relationships/tags" Target="../tags/tag294.xml"/><Relationship Id="rId34" Type="http://schemas.openxmlformats.org/officeDocument/2006/relationships/slideLayout" Target="../slideLayouts/slideLayout7.xml"/><Relationship Id="rId7" Type="http://schemas.openxmlformats.org/officeDocument/2006/relationships/tags" Target="../tags/tag280.xml"/><Relationship Id="rId12" Type="http://schemas.openxmlformats.org/officeDocument/2006/relationships/tags" Target="../tags/tag285.xml"/><Relationship Id="rId17" Type="http://schemas.openxmlformats.org/officeDocument/2006/relationships/tags" Target="../tags/tag290.xml"/><Relationship Id="rId25" Type="http://schemas.openxmlformats.org/officeDocument/2006/relationships/tags" Target="../tags/tag298.xml"/><Relationship Id="rId33" Type="http://schemas.openxmlformats.org/officeDocument/2006/relationships/tags" Target="../tags/tag306.xml"/><Relationship Id="rId2" Type="http://schemas.openxmlformats.org/officeDocument/2006/relationships/tags" Target="../tags/tag275.xml"/><Relationship Id="rId16" Type="http://schemas.openxmlformats.org/officeDocument/2006/relationships/tags" Target="../tags/tag289.xml"/><Relationship Id="rId20" Type="http://schemas.openxmlformats.org/officeDocument/2006/relationships/tags" Target="../tags/tag293.xml"/><Relationship Id="rId29" Type="http://schemas.openxmlformats.org/officeDocument/2006/relationships/tags" Target="../tags/tag302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11" Type="http://schemas.openxmlformats.org/officeDocument/2006/relationships/tags" Target="../tags/tag284.xml"/><Relationship Id="rId24" Type="http://schemas.openxmlformats.org/officeDocument/2006/relationships/tags" Target="../tags/tag297.xml"/><Relationship Id="rId32" Type="http://schemas.openxmlformats.org/officeDocument/2006/relationships/tags" Target="../tags/tag305.xml"/><Relationship Id="rId37" Type="http://schemas.openxmlformats.org/officeDocument/2006/relationships/image" Target="../media/image1.emf"/><Relationship Id="rId5" Type="http://schemas.openxmlformats.org/officeDocument/2006/relationships/tags" Target="../tags/tag278.xml"/><Relationship Id="rId15" Type="http://schemas.openxmlformats.org/officeDocument/2006/relationships/tags" Target="../tags/tag288.xml"/><Relationship Id="rId23" Type="http://schemas.openxmlformats.org/officeDocument/2006/relationships/tags" Target="../tags/tag296.xml"/><Relationship Id="rId28" Type="http://schemas.openxmlformats.org/officeDocument/2006/relationships/tags" Target="../tags/tag301.xml"/><Relationship Id="rId36" Type="http://schemas.openxmlformats.org/officeDocument/2006/relationships/oleObject" Target="../embeddings/oleObject28.bin"/><Relationship Id="rId10" Type="http://schemas.openxmlformats.org/officeDocument/2006/relationships/tags" Target="../tags/tag283.xml"/><Relationship Id="rId19" Type="http://schemas.openxmlformats.org/officeDocument/2006/relationships/tags" Target="../tags/tag292.xml"/><Relationship Id="rId31" Type="http://schemas.openxmlformats.org/officeDocument/2006/relationships/tags" Target="../tags/tag304.xml"/><Relationship Id="rId4" Type="http://schemas.openxmlformats.org/officeDocument/2006/relationships/tags" Target="../tags/tag277.xml"/><Relationship Id="rId9" Type="http://schemas.openxmlformats.org/officeDocument/2006/relationships/tags" Target="../tags/tag282.xml"/><Relationship Id="rId14" Type="http://schemas.openxmlformats.org/officeDocument/2006/relationships/tags" Target="../tags/tag287.xml"/><Relationship Id="rId22" Type="http://schemas.openxmlformats.org/officeDocument/2006/relationships/tags" Target="../tags/tag295.xml"/><Relationship Id="rId27" Type="http://schemas.openxmlformats.org/officeDocument/2006/relationships/tags" Target="../tags/tag300.xml"/><Relationship Id="rId30" Type="http://schemas.openxmlformats.org/officeDocument/2006/relationships/tags" Target="../tags/tag303.xml"/><Relationship Id="rId35" Type="http://schemas.openxmlformats.org/officeDocument/2006/relationships/notesSlide" Target="../notesSlides/notesSlide7.xml"/><Relationship Id="rId8" Type="http://schemas.openxmlformats.org/officeDocument/2006/relationships/tags" Target="../tags/tag281.xml"/><Relationship Id="rId3" Type="http://schemas.openxmlformats.org/officeDocument/2006/relationships/tags" Target="../tags/tag27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14.xml"/><Relationship Id="rId13" Type="http://schemas.openxmlformats.org/officeDocument/2006/relationships/slideLayout" Target="../slideLayouts/slideLayout5.xml"/><Relationship Id="rId3" Type="http://schemas.openxmlformats.org/officeDocument/2006/relationships/tags" Target="../tags/tag309.xml"/><Relationship Id="rId7" Type="http://schemas.openxmlformats.org/officeDocument/2006/relationships/tags" Target="../tags/tag313.xml"/><Relationship Id="rId12" Type="http://schemas.openxmlformats.org/officeDocument/2006/relationships/tags" Target="../tags/tag318.xml"/><Relationship Id="rId17" Type="http://schemas.openxmlformats.org/officeDocument/2006/relationships/image" Target="../media/image22.jpeg"/><Relationship Id="rId2" Type="http://schemas.openxmlformats.org/officeDocument/2006/relationships/tags" Target="../tags/tag308.xml"/><Relationship Id="rId16" Type="http://schemas.openxmlformats.org/officeDocument/2006/relationships/image" Target="../media/image4.emf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11" Type="http://schemas.openxmlformats.org/officeDocument/2006/relationships/tags" Target="../tags/tag317.xml"/><Relationship Id="rId5" Type="http://schemas.openxmlformats.org/officeDocument/2006/relationships/tags" Target="../tags/tag311.xml"/><Relationship Id="rId15" Type="http://schemas.openxmlformats.org/officeDocument/2006/relationships/oleObject" Target="../embeddings/oleObject29.bin"/><Relationship Id="rId10" Type="http://schemas.openxmlformats.org/officeDocument/2006/relationships/tags" Target="../tags/tag316.xml"/><Relationship Id="rId4" Type="http://schemas.openxmlformats.org/officeDocument/2006/relationships/tags" Target="../tags/tag310.xml"/><Relationship Id="rId9" Type="http://schemas.openxmlformats.org/officeDocument/2006/relationships/tags" Target="../tags/tag315.xml"/><Relationship Id="rId14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7" Type="http://schemas.openxmlformats.org/officeDocument/2006/relationships/image" Target="../media/image10.emf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22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335.xml"/><Relationship Id="rId18" Type="http://schemas.openxmlformats.org/officeDocument/2006/relationships/tags" Target="../tags/tag340.xml"/><Relationship Id="rId26" Type="http://schemas.openxmlformats.org/officeDocument/2006/relationships/tags" Target="../tags/tag348.xml"/><Relationship Id="rId39" Type="http://schemas.openxmlformats.org/officeDocument/2006/relationships/hyperlink" Target="https://info.pressganey.com/press-ganey-blog-healthcare-experience-insights/employee-engagement-in-2024-trends" TargetMode="External"/><Relationship Id="rId21" Type="http://schemas.openxmlformats.org/officeDocument/2006/relationships/tags" Target="../tags/tag343.xml"/><Relationship Id="rId34" Type="http://schemas.openxmlformats.org/officeDocument/2006/relationships/tags" Target="../tags/tag356.xml"/><Relationship Id="rId7" Type="http://schemas.openxmlformats.org/officeDocument/2006/relationships/tags" Target="../tags/tag329.xml"/><Relationship Id="rId12" Type="http://schemas.openxmlformats.org/officeDocument/2006/relationships/tags" Target="../tags/tag334.xml"/><Relationship Id="rId17" Type="http://schemas.openxmlformats.org/officeDocument/2006/relationships/tags" Target="../tags/tag339.xml"/><Relationship Id="rId25" Type="http://schemas.openxmlformats.org/officeDocument/2006/relationships/tags" Target="../tags/tag347.xml"/><Relationship Id="rId33" Type="http://schemas.openxmlformats.org/officeDocument/2006/relationships/tags" Target="../tags/tag355.xml"/><Relationship Id="rId38" Type="http://schemas.openxmlformats.org/officeDocument/2006/relationships/image" Target="../media/image13.emf"/><Relationship Id="rId2" Type="http://schemas.openxmlformats.org/officeDocument/2006/relationships/tags" Target="../tags/tag324.xml"/><Relationship Id="rId16" Type="http://schemas.openxmlformats.org/officeDocument/2006/relationships/tags" Target="../tags/tag338.xml"/><Relationship Id="rId20" Type="http://schemas.openxmlformats.org/officeDocument/2006/relationships/tags" Target="../tags/tag342.xml"/><Relationship Id="rId29" Type="http://schemas.openxmlformats.org/officeDocument/2006/relationships/tags" Target="../tags/tag351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tags" Target="../tags/tag333.xml"/><Relationship Id="rId24" Type="http://schemas.openxmlformats.org/officeDocument/2006/relationships/tags" Target="../tags/tag346.xml"/><Relationship Id="rId32" Type="http://schemas.openxmlformats.org/officeDocument/2006/relationships/tags" Target="../tags/tag354.xml"/><Relationship Id="rId37" Type="http://schemas.openxmlformats.org/officeDocument/2006/relationships/oleObject" Target="../embeddings/oleObject30.bin"/><Relationship Id="rId5" Type="http://schemas.openxmlformats.org/officeDocument/2006/relationships/tags" Target="../tags/tag327.xml"/><Relationship Id="rId15" Type="http://schemas.openxmlformats.org/officeDocument/2006/relationships/tags" Target="../tags/tag337.xml"/><Relationship Id="rId23" Type="http://schemas.openxmlformats.org/officeDocument/2006/relationships/tags" Target="../tags/tag345.xml"/><Relationship Id="rId28" Type="http://schemas.openxmlformats.org/officeDocument/2006/relationships/tags" Target="../tags/tag350.xml"/><Relationship Id="rId36" Type="http://schemas.openxmlformats.org/officeDocument/2006/relationships/notesSlide" Target="../notesSlides/notesSlide9.xml"/><Relationship Id="rId10" Type="http://schemas.openxmlformats.org/officeDocument/2006/relationships/tags" Target="../tags/tag332.xml"/><Relationship Id="rId19" Type="http://schemas.openxmlformats.org/officeDocument/2006/relationships/tags" Target="../tags/tag341.xml"/><Relationship Id="rId31" Type="http://schemas.openxmlformats.org/officeDocument/2006/relationships/tags" Target="../tags/tag353.xml"/><Relationship Id="rId4" Type="http://schemas.openxmlformats.org/officeDocument/2006/relationships/tags" Target="../tags/tag326.xml"/><Relationship Id="rId9" Type="http://schemas.openxmlformats.org/officeDocument/2006/relationships/tags" Target="../tags/tag331.xml"/><Relationship Id="rId14" Type="http://schemas.openxmlformats.org/officeDocument/2006/relationships/tags" Target="../tags/tag336.xml"/><Relationship Id="rId22" Type="http://schemas.openxmlformats.org/officeDocument/2006/relationships/tags" Target="../tags/tag344.xml"/><Relationship Id="rId27" Type="http://schemas.openxmlformats.org/officeDocument/2006/relationships/tags" Target="../tags/tag349.xml"/><Relationship Id="rId30" Type="http://schemas.openxmlformats.org/officeDocument/2006/relationships/tags" Target="../tags/tag352.xml"/><Relationship Id="rId35" Type="http://schemas.openxmlformats.org/officeDocument/2006/relationships/slideLayout" Target="../slideLayouts/slideLayout5.xml"/><Relationship Id="rId8" Type="http://schemas.openxmlformats.org/officeDocument/2006/relationships/tags" Target="../tags/tag330.xml"/><Relationship Id="rId3" Type="http://schemas.openxmlformats.org/officeDocument/2006/relationships/tags" Target="../tags/tag325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369.xml"/><Relationship Id="rId18" Type="http://schemas.openxmlformats.org/officeDocument/2006/relationships/tags" Target="../tags/tag374.xml"/><Relationship Id="rId26" Type="http://schemas.openxmlformats.org/officeDocument/2006/relationships/tags" Target="../tags/tag382.xml"/><Relationship Id="rId3" Type="http://schemas.openxmlformats.org/officeDocument/2006/relationships/tags" Target="../tags/tag359.xml"/><Relationship Id="rId21" Type="http://schemas.openxmlformats.org/officeDocument/2006/relationships/tags" Target="../tags/tag377.xml"/><Relationship Id="rId34" Type="http://schemas.openxmlformats.org/officeDocument/2006/relationships/notesSlide" Target="../notesSlides/notesSlide10.xml"/><Relationship Id="rId7" Type="http://schemas.openxmlformats.org/officeDocument/2006/relationships/tags" Target="../tags/tag363.xml"/><Relationship Id="rId12" Type="http://schemas.openxmlformats.org/officeDocument/2006/relationships/tags" Target="../tags/tag368.xml"/><Relationship Id="rId17" Type="http://schemas.openxmlformats.org/officeDocument/2006/relationships/tags" Target="../tags/tag373.xml"/><Relationship Id="rId25" Type="http://schemas.openxmlformats.org/officeDocument/2006/relationships/tags" Target="../tags/tag381.xml"/><Relationship Id="rId33" Type="http://schemas.openxmlformats.org/officeDocument/2006/relationships/slideLayout" Target="../slideLayouts/slideLayout5.xml"/><Relationship Id="rId2" Type="http://schemas.openxmlformats.org/officeDocument/2006/relationships/tags" Target="../tags/tag358.xml"/><Relationship Id="rId16" Type="http://schemas.openxmlformats.org/officeDocument/2006/relationships/tags" Target="../tags/tag372.xml"/><Relationship Id="rId20" Type="http://schemas.openxmlformats.org/officeDocument/2006/relationships/tags" Target="../tags/tag376.xml"/><Relationship Id="rId29" Type="http://schemas.openxmlformats.org/officeDocument/2006/relationships/tags" Target="../tags/tag385.xml"/><Relationship Id="rId1" Type="http://schemas.openxmlformats.org/officeDocument/2006/relationships/tags" Target="../tags/tag357.xml"/><Relationship Id="rId6" Type="http://schemas.openxmlformats.org/officeDocument/2006/relationships/tags" Target="../tags/tag362.xml"/><Relationship Id="rId11" Type="http://schemas.openxmlformats.org/officeDocument/2006/relationships/tags" Target="../tags/tag367.xml"/><Relationship Id="rId24" Type="http://schemas.openxmlformats.org/officeDocument/2006/relationships/tags" Target="../tags/tag380.xml"/><Relationship Id="rId32" Type="http://schemas.openxmlformats.org/officeDocument/2006/relationships/tags" Target="../tags/tag388.xml"/><Relationship Id="rId5" Type="http://schemas.openxmlformats.org/officeDocument/2006/relationships/tags" Target="../tags/tag361.xml"/><Relationship Id="rId15" Type="http://schemas.openxmlformats.org/officeDocument/2006/relationships/tags" Target="../tags/tag371.xml"/><Relationship Id="rId23" Type="http://schemas.openxmlformats.org/officeDocument/2006/relationships/tags" Target="../tags/tag379.xml"/><Relationship Id="rId28" Type="http://schemas.openxmlformats.org/officeDocument/2006/relationships/tags" Target="../tags/tag384.xml"/><Relationship Id="rId36" Type="http://schemas.openxmlformats.org/officeDocument/2006/relationships/image" Target="../media/image1.emf"/><Relationship Id="rId10" Type="http://schemas.openxmlformats.org/officeDocument/2006/relationships/tags" Target="../tags/tag366.xml"/><Relationship Id="rId19" Type="http://schemas.openxmlformats.org/officeDocument/2006/relationships/tags" Target="../tags/tag375.xml"/><Relationship Id="rId31" Type="http://schemas.openxmlformats.org/officeDocument/2006/relationships/tags" Target="../tags/tag387.xml"/><Relationship Id="rId4" Type="http://schemas.openxmlformats.org/officeDocument/2006/relationships/tags" Target="../tags/tag360.xml"/><Relationship Id="rId9" Type="http://schemas.openxmlformats.org/officeDocument/2006/relationships/tags" Target="../tags/tag365.xml"/><Relationship Id="rId14" Type="http://schemas.openxmlformats.org/officeDocument/2006/relationships/tags" Target="../tags/tag370.xml"/><Relationship Id="rId22" Type="http://schemas.openxmlformats.org/officeDocument/2006/relationships/tags" Target="../tags/tag378.xml"/><Relationship Id="rId27" Type="http://schemas.openxmlformats.org/officeDocument/2006/relationships/tags" Target="../tags/tag383.xml"/><Relationship Id="rId30" Type="http://schemas.openxmlformats.org/officeDocument/2006/relationships/tags" Target="../tags/tag386.xml"/><Relationship Id="rId35" Type="http://schemas.openxmlformats.org/officeDocument/2006/relationships/oleObject" Target="../embeddings/oleObject31.bin"/><Relationship Id="rId8" Type="http://schemas.openxmlformats.org/officeDocument/2006/relationships/tags" Target="../tags/tag36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96.xml"/><Relationship Id="rId13" Type="http://schemas.openxmlformats.org/officeDocument/2006/relationships/tags" Target="../tags/tag401.xml"/><Relationship Id="rId18" Type="http://schemas.openxmlformats.org/officeDocument/2006/relationships/tags" Target="../tags/tag406.xml"/><Relationship Id="rId26" Type="http://schemas.openxmlformats.org/officeDocument/2006/relationships/tags" Target="../tags/tag414.xml"/><Relationship Id="rId3" Type="http://schemas.openxmlformats.org/officeDocument/2006/relationships/tags" Target="../tags/tag391.xml"/><Relationship Id="rId21" Type="http://schemas.openxmlformats.org/officeDocument/2006/relationships/tags" Target="../tags/tag409.xml"/><Relationship Id="rId7" Type="http://schemas.openxmlformats.org/officeDocument/2006/relationships/tags" Target="../tags/tag395.xml"/><Relationship Id="rId12" Type="http://schemas.openxmlformats.org/officeDocument/2006/relationships/tags" Target="../tags/tag400.xml"/><Relationship Id="rId17" Type="http://schemas.openxmlformats.org/officeDocument/2006/relationships/tags" Target="../tags/tag405.xml"/><Relationship Id="rId25" Type="http://schemas.openxmlformats.org/officeDocument/2006/relationships/tags" Target="../tags/tag413.xml"/><Relationship Id="rId2" Type="http://schemas.openxmlformats.org/officeDocument/2006/relationships/tags" Target="../tags/tag390.xml"/><Relationship Id="rId16" Type="http://schemas.openxmlformats.org/officeDocument/2006/relationships/tags" Target="../tags/tag404.xml"/><Relationship Id="rId20" Type="http://schemas.openxmlformats.org/officeDocument/2006/relationships/tags" Target="../tags/tag408.xml"/><Relationship Id="rId29" Type="http://schemas.openxmlformats.org/officeDocument/2006/relationships/slideLayout" Target="../slideLayouts/slideLayout5.xml"/><Relationship Id="rId1" Type="http://schemas.openxmlformats.org/officeDocument/2006/relationships/tags" Target="../tags/tag389.xml"/><Relationship Id="rId6" Type="http://schemas.openxmlformats.org/officeDocument/2006/relationships/tags" Target="../tags/tag394.xml"/><Relationship Id="rId11" Type="http://schemas.openxmlformats.org/officeDocument/2006/relationships/tags" Target="../tags/tag399.xml"/><Relationship Id="rId24" Type="http://schemas.openxmlformats.org/officeDocument/2006/relationships/tags" Target="../tags/tag412.xml"/><Relationship Id="rId5" Type="http://schemas.openxmlformats.org/officeDocument/2006/relationships/tags" Target="../tags/tag393.xml"/><Relationship Id="rId15" Type="http://schemas.openxmlformats.org/officeDocument/2006/relationships/tags" Target="../tags/tag403.xml"/><Relationship Id="rId23" Type="http://schemas.openxmlformats.org/officeDocument/2006/relationships/tags" Target="../tags/tag411.xml"/><Relationship Id="rId28" Type="http://schemas.openxmlformats.org/officeDocument/2006/relationships/tags" Target="../tags/tag416.xml"/><Relationship Id="rId10" Type="http://schemas.openxmlformats.org/officeDocument/2006/relationships/tags" Target="../tags/tag398.xml"/><Relationship Id="rId19" Type="http://schemas.openxmlformats.org/officeDocument/2006/relationships/tags" Target="../tags/tag407.xml"/><Relationship Id="rId31" Type="http://schemas.openxmlformats.org/officeDocument/2006/relationships/image" Target="../media/image1.emf"/><Relationship Id="rId4" Type="http://schemas.openxmlformats.org/officeDocument/2006/relationships/tags" Target="../tags/tag392.xml"/><Relationship Id="rId9" Type="http://schemas.openxmlformats.org/officeDocument/2006/relationships/tags" Target="../tags/tag397.xml"/><Relationship Id="rId14" Type="http://schemas.openxmlformats.org/officeDocument/2006/relationships/tags" Target="../tags/tag402.xml"/><Relationship Id="rId22" Type="http://schemas.openxmlformats.org/officeDocument/2006/relationships/tags" Target="../tags/tag410.xml"/><Relationship Id="rId27" Type="http://schemas.openxmlformats.org/officeDocument/2006/relationships/tags" Target="../tags/tag415.xml"/><Relationship Id="rId30" Type="http://schemas.openxmlformats.org/officeDocument/2006/relationships/oleObject" Target="../embeddings/oleObject2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19.xml"/><Relationship Id="rId7" Type="http://schemas.openxmlformats.org/officeDocument/2006/relationships/image" Target="../media/image10.emf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29.xml"/><Relationship Id="rId16" Type="http://schemas.openxmlformats.org/officeDocument/2006/relationships/image" Target="../media/image9.jpe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image" Target="../media/image1.emf"/><Relationship Id="rId10" Type="http://schemas.openxmlformats.org/officeDocument/2006/relationships/tags" Target="../tags/tag37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19.bin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433.xml"/><Relationship Id="rId18" Type="http://schemas.openxmlformats.org/officeDocument/2006/relationships/tags" Target="../tags/tag438.xml"/><Relationship Id="rId26" Type="http://schemas.openxmlformats.org/officeDocument/2006/relationships/tags" Target="../tags/tag446.xml"/><Relationship Id="rId39" Type="http://schemas.openxmlformats.org/officeDocument/2006/relationships/tags" Target="../tags/tag459.xml"/><Relationship Id="rId21" Type="http://schemas.openxmlformats.org/officeDocument/2006/relationships/tags" Target="../tags/tag441.xml"/><Relationship Id="rId34" Type="http://schemas.openxmlformats.org/officeDocument/2006/relationships/tags" Target="../tags/tag454.xml"/><Relationship Id="rId42" Type="http://schemas.openxmlformats.org/officeDocument/2006/relationships/tags" Target="../tags/tag462.xml"/><Relationship Id="rId47" Type="http://schemas.openxmlformats.org/officeDocument/2006/relationships/slideLayout" Target="../slideLayouts/slideLayout4.xml"/><Relationship Id="rId50" Type="http://schemas.openxmlformats.org/officeDocument/2006/relationships/image" Target="../media/image1.emf"/><Relationship Id="rId55" Type="http://schemas.openxmlformats.org/officeDocument/2006/relationships/image" Target="../media/image27.jpeg"/><Relationship Id="rId7" Type="http://schemas.openxmlformats.org/officeDocument/2006/relationships/tags" Target="../tags/tag427.xml"/><Relationship Id="rId2" Type="http://schemas.openxmlformats.org/officeDocument/2006/relationships/tags" Target="../tags/tag422.xml"/><Relationship Id="rId16" Type="http://schemas.openxmlformats.org/officeDocument/2006/relationships/tags" Target="../tags/tag436.xml"/><Relationship Id="rId29" Type="http://schemas.openxmlformats.org/officeDocument/2006/relationships/tags" Target="../tags/tag449.xml"/><Relationship Id="rId11" Type="http://schemas.openxmlformats.org/officeDocument/2006/relationships/tags" Target="../tags/tag431.xml"/><Relationship Id="rId24" Type="http://schemas.openxmlformats.org/officeDocument/2006/relationships/tags" Target="../tags/tag444.xml"/><Relationship Id="rId32" Type="http://schemas.openxmlformats.org/officeDocument/2006/relationships/tags" Target="../tags/tag452.xml"/><Relationship Id="rId37" Type="http://schemas.openxmlformats.org/officeDocument/2006/relationships/tags" Target="../tags/tag457.xml"/><Relationship Id="rId40" Type="http://schemas.openxmlformats.org/officeDocument/2006/relationships/tags" Target="../tags/tag460.xml"/><Relationship Id="rId45" Type="http://schemas.openxmlformats.org/officeDocument/2006/relationships/tags" Target="../tags/tag465.xml"/><Relationship Id="rId53" Type="http://schemas.openxmlformats.org/officeDocument/2006/relationships/image" Target="../media/image25.png"/><Relationship Id="rId5" Type="http://schemas.openxmlformats.org/officeDocument/2006/relationships/tags" Target="../tags/tag425.xml"/><Relationship Id="rId10" Type="http://schemas.openxmlformats.org/officeDocument/2006/relationships/tags" Target="../tags/tag430.xml"/><Relationship Id="rId19" Type="http://schemas.openxmlformats.org/officeDocument/2006/relationships/tags" Target="../tags/tag439.xml"/><Relationship Id="rId31" Type="http://schemas.openxmlformats.org/officeDocument/2006/relationships/tags" Target="../tags/tag451.xml"/><Relationship Id="rId44" Type="http://schemas.openxmlformats.org/officeDocument/2006/relationships/tags" Target="../tags/tag464.xml"/><Relationship Id="rId52" Type="http://schemas.openxmlformats.org/officeDocument/2006/relationships/image" Target="../media/image24.jpeg"/><Relationship Id="rId4" Type="http://schemas.openxmlformats.org/officeDocument/2006/relationships/tags" Target="../tags/tag424.xml"/><Relationship Id="rId9" Type="http://schemas.openxmlformats.org/officeDocument/2006/relationships/tags" Target="../tags/tag429.xml"/><Relationship Id="rId14" Type="http://schemas.openxmlformats.org/officeDocument/2006/relationships/tags" Target="../tags/tag434.xml"/><Relationship Id="rId22" Type="http://schemas.openxmlformats.org/officeDocument/2006/relationships/tags" Target="../tags/tag442.xml"/><Relationship Id="rId27" Type="http://schemas.openxmlformats.org/officeDocument/2006/relationships/tags" Target="../tags/tag447.xml"/><Relationship Id="rId30" Type="http://schemas.openxmlformats.org/officeDocument/2006/relationships/tags" Target="../tags/tag450.xml"/><Relationship Id="rId35" Type="http://schemas.openxmlformats.org/officeDocument/2006/relationships/tags" Target="../tags/tag455.xml"/><Relationship Id="rId43" Type="http://schemas.openxmlformats.org/officeDocument/2006/relationships/tags" Target="../tags/tag463.xml"/><Relationship Id="rId48" Type="http://schemas.openxmlformats.org/officeDocument/2006/relationships/notesSlide" Target="../notesSlides/notesSlide11.xml"/><Relationship Id="rId8" Type="http://schemas.openxmlformats.org/officeDocument/2006/relationships/tags" Target="../tags/tag428.xml"/><Relationship Id="rId51" Type="http://schemas.openxmlformats.org/officeDocument/2006/relationships/image" Target="../media/image23.jpeg"/><Relationship Id="rId3" Type="http://schemas.openxmlformats.org/officeDocument/2006/relationships/tags" Target="../tags/tag423.xml"/><Relationship Id="rId12" Type="http://schemas.openxmlformats.org/officeDocument/2006/relationships/tags" Target="../tags/tag432.xml"/><Relationship Id="rId17" Type="http://schemas.openxmlformats.org/officeDocument/2006/relationships/tags" Target="../tags/tag437.xml"/><Relationship Id="rId25" Type="http://schemas.openxmlformats.org/officeDocument/2006/relationships/tags" Target="../tags/tag445.xml"/><Relationship Id="rId33" Type="http://schemas.openxmlformats.org/officeDocument/2006/relationships/tags" Target="../tags/tag453.xml"/><Relationship Id="rId38" Type="http://schemas.openxmlformats.org/officeDocument/2006/relationships/tags" Target="../tags/tag458.xml"/><Relationship Id="rId46" Type="http://schemas.openxmlformats.org/officeDocument/2006/relationships/tags" Target="../tags/tag466.xml"/><Relationship Id="rId20" Type="http://schemas.openxmlformats.org/officeDocument/2006/relationships/tags" Target="../tags/tag440.xml"/><Relationship Id="rId41" Type="http://schemas.openxmlformats.org/officeDocument/2006/relationships/tags" Target="../tags/tag461.xml"/><Relationship Id="rId54" Type="http://schemas.openxmlformats.org/officeDocument/2006/relationships/image" Target="../media/image26.svg"/><Relationship Id="rId1" Type="http://schemas.openxmlformats.org/officeDocument/2006/relationships/tags" Target="../tags/tag421.xml"/><Relationship Id="rId6" Type="http://schemas.openxmlformats.org/officeDocument/2006/relationships/tags" Target="../tags/tag426.xml"/><Relationship Id="rId15" Type="http://schemas.openxmlformats.org/officeDocument/2006/relationships/tags" Target="../tags/tag435.xml"/><Relationship Id="rId23" Type="http://schemas.openxmlformats.org/officeDocument/2006/relationships/tags" Target="../tags/tag443.xml"/><Relationship Id="rId28" Type="http://schemas.openxmlformats.org/officeDocument/2006/relationships/tags" Target="../tags/tag448.xml"/><Relationship Id="rId36" Type="http://schemas.openxmlformats.org/officeDocument/2006/relationships/tags" Target="../tags/tag456.xml"/><Relationship Id="rId49" Type="http://schemas.openxmlformats.org/officeDocument/2006/relationships/oleObject" Target="../embeddings/oleObject32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13" Type="http://schemas.openxmlformats.org/officeDocument/2006/relationships/tags" Target="../tags/tag479.xml"/><Relationship Id="rId18" Type="http://schemas.openxmlformats.org/officeDocument/2006/relationships/notesSlide" Target="../notesSlides/notesSlide12.xml"/><Relationship Id="rId3" Type="http://schemas.openxmlformats.org/officeDocument/2006/relationships/tags" Target="../tags/tag469.xml"/><Relationship Id="rId7" Type="http://schemas.openxmlformats.org/officeDocument/2006/relationships/tags" Target="../tags/tag473.xml"/><Relationship Id="rId12" Type="http://schemas.openxmlformats.org/officeDocument/2006/relationships/tags" Target="../tags/tag478.xml"/><Relationship Id="rId17" Type="http://schemas.openxmlformats.org/officeDocument/2006/relationships/slideLayout" Target="../slideLayouts/slideLayout15.xml"/><Relationship Id="rId2" Type="http://schemas.openxmlformats.org/officeDocument/2006/relationships/tags" Target="../tags/tag468.xml"/><Relationship Id="rId16" Type="http://schemas.openxmlformats.org/officeDocument/2006/relationships/tags" Target="../tags/tag482.xml"/><Relationship Id="rId20" Type="http://schemas.openxmlformats.org/officeDocument/2006/relationships/image" Target="../media/image11.emf"/><Relationship Id="rId1" Type="http://schemas.openxmlformats.org/officeDocument/2006/relationships/tags" Target="../tags/tag467.xml"/><Relationship Id="rId6" Type="http://schemas.openxmlformats.org/officeDocument/2006/relationships/tags" Target="../tags/tag472.xml"/><Relationship Id="rId11" Type="http://schemas.openxmlformats.org/officeDocument/2006/relationships/tags" Target="../tags/tag477.xml"/><Relationship Id="rId5" Type="http://schemas.openxmlformats.org/officeDocument/2006/relationships/tags" Target="../tags/tag471.xml"/><Relationship Id="rId15" Type="http://schemas.openxmlformats.org/officeDocument/2006/relationships/tags" Target="../tags/tag481.xml"/><Relationship Id="rId10" Type="http://schemas.openxmlformats.org/officeDocument/2006/relationships/tags" Target="../tags/tag476.xml"/><Relationship Id="rId19" Type="http://schemas.openxmlformats.org/officeDocument/2006/relationships/oleObject" Target="../embeddings/oleObject33.bin"/><Relationship Id="rId4" Type="http://schemas.openxmlformats.org/officeDocument/2006/relationships/tags" Target="../tags/tag470.xml"/><Relationship Id="rId9" Type="http://schemas.openxmlformats.org/officeDocument/2006/relationships/tags" Target="../tags/tag475.xml"/><Relationship Id="rId14" Type="http://schemas.openxmlformats.org/officeDocument/2006/relationships/tags" Target="../tags/tag480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495.xml"/><Relationship Id="rId18" Type="http://schemas.openxmlformats.org/officeDocument/2006/relationships/tags" Target="../tags/tag500.xml"/><Relationship Id="rId26" Type="http://schemas.openxmlformats.org/officeDocument/2006/relationships/tags" Target="../tags/tag508.xml"/><Relationship Id="rId3" Type="http://schemas.openxmlformats.org/officeDocument/2006/relationships/tags" Target="../tags/tag485.xml"/><Relationship Id="rId21" Type="http://schemas.openxmlformats.org/officeDocument/2006/relationships/tags" Target="../tags/tag503.xml"/><Relationship Id="rId34" Type="http://schemas.openxmlformats.org/officeDocument/2006/relationships/image" Target="../media/image31.jpeg"/><Relationship Id="rId7" Type="http://schemas.openxmlformats.org/officeDocument/2006/relationships/tags" Target="../tags/tag489.xml"/><Relationship Id="rId12" Type="http://schemas.openxmlformats.org/officeDocument/2006/relationships/tags" Target="../tags/tag494.xml"/><Relationship Id="rId17" Type="http://schemas.openxmlformats.org/officeDocument/2006/relationships/tags" Target="../tags/tag499.xml"/><Relationship Id="rId25" Type="http://schemas.openxmlformats.org/officeDocument/2006/relationships/tags" Target="../tags/tag507.xml"/><Relationship Id="rId33" Type="http://schemas.openxmlformats.org/officeDocument/2006/relationships/image" Target="../media/image30.jpeg"/><Relationship Id="rId2" Type="http://schemas.openxmlformats.org/officeDocument/2006/relationships/tags" Target="../tags/tag484.xml"/><Relationship Id="rId16" Type="http://schemas.openxmlformats.org/officeDocument/2006/relationships/tags" Target="../tags/tag498.xml"/><Relationship Id="rId20" Type="http://schemas.openxmlformats.org/officeDocument/2006/relationships/tags" Target="../tags/tag502.xml"/><Relationship Id="rId29" Type="http://schemas.openxmlformats.org/officeDocument/2006/relationships/image" Target="../media/image28.jpeg"/><Relationship Id="rId1" Type="http://schemas.openxmlformats.org/officeDocument/2006/relationships/tags" Target="../tags/tag483.xml"/><Relationship Id="rId6" Type="http://schemas.openxmlformats.org/officeDocument/2006/relationships/tags" Target="../tags/tag488.xml"/><Relationship Id="rId11" Type="http://schemas.openxmlformats.org/officeDocument/2006/relationships/tags" Target="../tags/tag493.xml"/><Relationship Id="rId24" Type="http://schemas.openxmlformats.org/officeDocument/2006/relationships/tags" Target="../tags/tag506.xml"/><Relationship Id="rId32" Type="http://schemas.openxmlformats.org/officeDocument/2006/relationships/image" Target="../media/image29.jpeg"/><Relationship Id="rId5" Type="http://schemas.openxmlformats.org/officeDocument/2006/relationships/tags" Target="../tags/tag487.xml"/><Relationship Id="rId15" Type="http://schemas.openxmlformats.org/officeDocument/2006/relationships/tags" Target="../tags/tag497.xml"/><Relationship Id="rId23" Type="http://schemas.openxmlformats.org/officeDocument/2006/relationships/tags" Target="../tags/tag505.xml"/><Relationship Id="rId28" Type="http://schemas.openxmlformats.org/officeDocument/2006/relationships/notesSlide" Target="../notesSlides/notesSlide13.xml"/><Relationship Id="rId10" Type="http://schemas.openxmlformats.org/officeDocument/2006/relationships/tags" Target="../tags/tag492.xml"/><Relationship Id="rId19" Type="http://schemas.openxmlformats.org/officeDocument/2006/relationships/tags" Target="../tags/tag501.xml"/><Relationship Id="rId31" Type="http://schemas.openxmlformats.org/officeDocument/2006/relationships/image" Target="../media/image13.emf"/><Relationship Id="rId4" Type="http://schemas.openxmlformats.org/officeDocument/2006/relationships/tags" Target="../tags/tag486.xml"/><Relationship Id="rId9" Type="http://schemas.openxmlformats.org/officeDocument/2006/relationships/tags" Target="../tags/tag491.xml"/><Relationship Id="rId14" Type="http://schemas.openxmlformats.org/officeDocument/2006/relationships/tags" Target="../tags/tag496.xml"/><Relationship Id="rId22" Type="http://schemas.openxmlformats.org/officeDocument/2006/relationships/tags" Target="../tags/tag504.xml"/><Relationship Id="rId27" Type="http://schemas.openxmlformats.org/officeDocument/2006/relationships/slideLayout" Target="../slideLayouts/slideLayout5.xml"/><Relationship Id="rId30" Type="http://schemas.openxmlformats.org/officeDocument/2006/relationships/oleObject" Target="../embeddings/oleObject34.bin"/><Relationship Id="rId8" Type="http://schemas.openxmlformats.org/officeDocument/2006/relationships/tags" Target="../tags/tag49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511.xml"/><Relationship Id="rId7" Type="http://schemas.openxmlformats.org/officeDocument/2006/relationships/image" Target="../media/image10.emf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520.xml"/><Relationship Id="rId13" Type="http://schemas.openxmlformats.org/officeDocument/2006/relationships/tags" Target="../tags/tag525.xml"/><Relationship Id="rId18" Type="http://schemas.openxmlformats.org/officeDocument/2006/relationships/tags" Target="../tags/tag530.xml"/><Relationship Id="rId3" Type="http://schemas.openxmlformats.org/officeDocument/2006/relationships/tags" Target="../tags/tag515.xml"/><Relationship Id="rId21" Type="http://schemas.openxmlformats.org/officeDocument/2006/relationships/notesSlide" Target="../notesSlides/notesSlide14.xml"/><Relationship Id="rId7" Type="http://schemas.openxmlformats.org/officeDocument/2006/relationships/tags" Target="../tags/tag519.xml"/><Relationship Id="rId12" Type="http://schemas.openxmlformats.org/officeDocument/2006/relationships/tags" Target="../tags/tag524.xml"/><Relationship Id="rId17" Type="http://schemas.openxmlformats.org/officeDocument/2006/relationships/tags" Target="../tags/tag529.xml"/><Relationship Id="rId2" Type="http://schemas.openxmlformats.org/officeDocument/2006/relationships/tags" Target="../tags/tag514.xml"/><Relationship Id="rId16" Type="http://schemas.openxmlformats.org/officeDocument/2006/relationships/tags" Target="../tags/tag528.xml"/><Relationship Id="rId20" Type="http://schemas.openxmlformats.org/officeDocument/2006/relationships/slideLayout" Target="../slideLayouts/slideLayout7.xml"/><Relationship Id="rId1" Type="http://schemas.openxmlformats.org/officeDocument/2006/relationships/tags" Target="../tags/tag513.xml"/><Relationship Id="rId6" Type="http://schemas.openxmlformats.org/officeDocument/2006/relationships/tags" Target="../tags/tag518.xml"/><Relationship Id="rId11" Type="http://schemas.openxmlformats.org/officeDocument/2006/relationships/tags" Target="../tags/tag523.xml"/><Relationship Id="rId24" Type="http://schemas.openxmlformats.org/officeDocument/2006/relationships/image" Target="../media/image32.jpeg"/><Relationship Id="rId5" Type="http://schemas.openxmlformats.org/officeDocument/2006/relationships/tags" Target="../tags/tag517.xml"/><Relationship Id="rId15" Type="http://schemas.openxmlformats.org/officeDocument/2006/relationships/tags" Target="../tags/tag527.xml"/><Relationship Id="rId23" Type="http://schemas.openxmlformats.org/officeDocument/2006/relationships/image" Target="../media/image13.emf"/><Relationship Id="rId10" Type="http://schemas.openxmlformats.org/officeDocument/2006/relationships/tags" Target="../tags/tag522.xml"/><Relationship Id="rId19" Type="http://schemas.openxmlformats.org/officeDocument/2006/relationships/tags" Target="../tags/tag531.xml"/><Relationship Id="rId4" Type="http://schemas.openxmlformats.org/officeDocument/2006/relationships/tags" Target="../tags/tag516.xml"/><Relationship Id="rId9" Type="http://schemas.openxmlformats.org/officeDocument/2006/relationships/tags" Target="../tags/tag521.xml"/><Relationship Id="rId14" Type="http://schemas.openxmlformats.org/officeDocument/2006/relationships/tags" Target="../tags/tag526.xml"/><Relationship Id="rId22" Type="http://schemas.openxmlformats.org/officeDocument/2006/relationships/oleObject" Target="../embeddings/oleObject23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539.xml"/><Relationship Id="rId13" Type="http://schemas.openxmlformats.org/officeDocument/2006/relationships/slideLayout" Target="../slideLayouts/slideLayout6.xml"/><Relationship Id="rId18" Type="http://schemas.openxmlformats.org/officeDocument/2006/relationships/image" Target="../media/image35.jpeg"/><Relationship Id="rId3" Type="http://schemas.openxmlformats.org/officeDocument/2006/relationships/tags" Target="../tags/tag534.xml"/><Relationship Id="rId21" Type="http://schemas.openxmlformats.org/officeDocument/2006/relationships/image" Target="../media/image38.jpeg"/><Relationship Id="rId7" Type="http://schemas.openxmlformats.org/officeDocument/2006/relationships/tags" Target="../tags/tag538.xml"/><Relationship Id="rId12" Type="http://schemas.openxmlformats.org/officeDocument/2006/relationships/tags" Target="../tags/tag543.xml"/><Relationship Id="rId17" Type="http://schemas.openxmlformats.org/officeDocument/2006/relationships/image" Target="../media/image34.jpeg"/><Relationship Id="rId2" Type="http://schemas.openxmlformats.org/officeDocument/2006/relationships/tags" Target="../tags/tag533.xml"/><Relationship Id="rId16" Type="http://schemas.openxmlformats.org/officeDocument/2006/relationships/image" Target="../media/image1.emf"/><Relationship Id="rId20" Type="http://schemas.openxmlformats.org/officeDocument/2006/relationships/image" Target="../media/image37.png"/><Relationship Id="rId1" Type="http://schemas.openxmlformats.org/officeDocument/2006/relationships/tags" Target="../tags/tag532.xml"/><Relationship Id="rId6" Type="http://schemas.openxmlformats.org/officeDocument/2006/relationships/tags" Target="../tags/tag537.xml"/><Relationship Id="rId11" Type="http://schemas.openxmlformats.org/officeDocument/2006/relationships/tags" Target="../tags/tag542.xml"/><Relationship Id="rId5" Type="http://schemas.openxmlformats.org/officeDocument/2006/relationships/tags" Target="../tags/tag536.xml"/><Relationship Id="rId15" Type="http://schemas.openxmlformats.org/officeDocument/2006/relationships/oleObject" Target="../embeddings/oleObject29.bin"/><Relationship Id="rId10" Type="http://schemas.openxmlformats.org/officeDocument/2006/relationships/tags" Target="../tags/tag541.xml"/><Relationship Id="rId19" Type="http://schemas.openxmlformats.org/officeDocument/2006/relationships/image" Target="../media/image36.jpeg"/><Relationship Id="rId4" Type="http://schemas.openxmlformats.org/officeDocument/2006/relationships/tags" Target="../tags/tag535.xml"/><Relationship Id="rId9" Type="http://schemas.openxmlformats.org/officeDocument/2006/relationships/tags" Target="../tags/tag540.xml"/><Relationship Id="rId14" Type="http://schemas.openxmlformats.org/officeDocument/2006/relationships/image" Target="../media/image33.jpe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556.xml"/><Relationship Id="rId18" Type="http://schemas.openxmlformats.org/officeDocument/2006/relationships/tags" Target="../tags/tag561.xml"/><Relationship Id="rId26" Type="http://schemas.openxmlformats.org/officeDocument/2006/relationships/tags" Target="../tags/tag569.xml"/><Relationship Id="rId21" Type="http://schemas.openxmlformats.org/officeDocument/2006/relationships/tags" Target="../tags/tag564.xml"/><Relationship Id="rId34" Type="http://schemas.openxmlformats.org/officeDocument/2006/relationships/tags" Target="../tags/tag577.xml"/><Relationship Id="rId7" Type="http://schemas.openxmlformats.org/officeDocument/2006/relationships/tags" Target="../tags/tag550.xml"/><Relationship Id="rId12" Type="http://schemas.openxmlformats.org/officeDocument/2006/relationships/tags" Target="../tags/tag555.xml"/><Relationship Id="rId17" Type="http://schemas.openxmlformats.org/officeDocument/2006/relationships/tags" Target="../tags/tag560.xml"/><Relationship Id="rId25" Type="http://schemas.openxmlformats.org/officeDocument/2006/relationships/tags" Target="../tags/tag568.xml"/><Relationship Id="rId33" Type="http://schemas.openxmlformats.org/officeDocument/2006/relationships/tags" Target="../tags/tag576.xml"/><Relationship Id="rId38" Type="http://schemas.openxmlformats.org/officeDocument/2006/relationships/image" Target="../media/image1.emf"/><Relationship Id="rId2" Type="http://schemas.openxmlformats.org/officeDocument/2006/relationships/tags" Target="../tags/tag545.xml"/><Relationship Id="rId16" Type="http://schemas.openxmlformats.org/officeDocument/2006/relationships/tags" Target="../tags/tag559.xml"/><Relationship Id="rId20" Type="http://schemas.openxmlformats.org/officeDocument/2006/relationships/tags" Target="../tags/tag563.xml"/><Relationship Id="rId29" Type="http://schemas.openxmlformats.org/officeDocument/2006/relationships/tags" Target="../tags/tag572.xml"/><Relationship Id="rId1" Type="http://schemas.openxmlformats.org/officeDocument/2006/relationships/tags" Target="../tags/tag544.xml"/><Relationship Id="rId6" Type="http://schemas.openxmlformats.org/officeDocument/2006/relationships/tags" Target="../tags/tag549.xml"/><Relationship Id="rId11" Type="http://schemas.openxmlformats.org/officeDocument/2006/relationships/tags" Target="../tags/tag554.xml"/><Relationship Id="rId24" Type="http://schemas.openxmlformats.org/officeDocument/2006/relationships/tags" Target="../tags/tag567.xml"/><Relationship Id="rId32" Type="http://schemas.openxmlformats.org/officeDocument/2006/relationships/tags" Target="../tags/tag575.xml"/><Relationship Id="rId37" Type="http://schemas.openxmlformats.org/officeDocument/2006/relationships/oleObject" Target="../embeddings/oleObject35.bin"/><Relationship Id="rId5" Type="http://schemas.openxmlformats.org/officeDocument/2006/relationships/tags" Target="../tags/tag548.xml"/><Relationship Id="rId15" Type="http://schemas.openxmlformats.org/officeDocument/2006/relationships/tags" Target="../tags/tag558.xml"/><Relationship Id="rId23" Type="http://schemas.openxmlformats.org/officeDocument/2006/relationships/tags" Target="../tags/tag566.xml"/><Relationship Id="rId28" Type="http://schemas.openxmlformats.org/officeDocument/2006/relationships/tags" Target="../tags/tag571.xml"/><Relationship Id="rId36" Type="http://schemas.openxmlformats.org/officeDocument/2006/relationships/slideLayout" Target="../slideLayouts/slideLayout7.xml"/><Relationship Id="rId10" Type="http://schemas.openxmlformats.org/officeDocument/2006/relationships/tags" Target="../tags/tag553.xml"/><Relationship Id="rId19" Type="http://schemas.openxmlformats.org/officeDocument/2006/relationships/tags" Target="../tags/tag562.xml"/><Relationship Id="rId31" Type="http://schemas.openxmlformats.org/officeDocument/2006/relationships/tags" Target="../tags/tag574.xml"/><Relationship Id="rId4" Type="http://schemas.openxmlformats.org/officeDocument/2006/relationships/tags" Target="../tags/tag547.xml"/><Relationship Id="rId9" Type="http://schemas.openxmlformats.org/officeDocument/2006/relationships/tags" Target="../tags/tag552.xml"/><Relationship Id="rId14" Type="http://schemas.openxmlformats.org/officeDocument/2006/relationships/tags" Target="../tags/tag557.xml"/><Relationship Id="rId22" Type="http://schemas.openxmlformats.org/officeDocument/2006/relationships/tags" Target="../tags/tag565.xml"/><Relationship Id="rId27" Type="http://schemas.openxmlformats.org/officeDocument/2006/relationships/tags" Target="../tags/tag570.xml"/><Relationship Id="rId30" Type="http://schemas.openxmlformats.org/officeDocument/2006/relationships/tags" Target="../tags/tag573.xml"/><Relationship Id="rId35" Type="http://schemas.openxmlformats.org/officeDocument/2006/relationships/tags" Target="../tags/tag578.xml"/><Relationship Id="rId8" Type="http://schemas.openxmlformats.org/officeDocument/2006/relationships/tags" Target="../tags/tag551.xml"/><Relationship Id="rId3" Type="http://schemas.openxmlformats.org/officeDocument/2006/relationships/tags" Target="../tags/tag54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586.xml"/><Relationship Id="rId13" Type="http://schemas.openxmlformats.org/officeDocument/2006/relationships/tags" Target="../tags/tag591.xml"/><Relationship Id="rId18" Type="http://schemas.openxmlformats.org/officeDocument/2006/relationships/tags" Target="../tags/tag596.xml"/><Relationship Id="rId26" Type="http://schemas.openxmlformats.org/officeDocument/2006/relationships/image" Target="../media/image1.emf"/><Relationship Id="rId3" Type="http://schemas.openxmlformats.org/officeDocument/2006/relationships/tags" Target="../tags/tag581.xml"/><Relationship Id="rId21" Type="http://schemas.openxmlformats.org/officeDocument/2006/relationships/tags" Target="../tags/tag599.xml"/><Relationship Id="rId7" Type="http://schemas.openxmlformats.org/officeDocument/2006/relationships/tags" Target="../tags/tag585.xml"/><Relationship Id="rId12" Type="http://schemas.openxmlformats.org/officeDocument/2006/relationships/tags" Target="../tags/tag590.xml"/><Relationship Id="rId17" Type="http://schemas.openxmlformats.org/officeDocument/2006/relationships/tags" Target="../tags/tag595.xml"/><Relationship Id="rId25" Type="http://schemas.openxmlformats.org/officeDocument/2006/relationships/oleObject" Target="../embeddings/oleObject36.bin"/><Relationship Id="rId2" Type="http://schemas.openxmlformats.org/officeDocument/2006/relationships/tags" Target="../tags/tag580.xml"/><Relationship Id="rId16" Type="http://schemas.openxmlformats.org/officeDocument/2006/relationships/tags" Target="../tags/tag594.xml"/><Relationship Id="rId20" Type="http://schemas.openxmlformats.org/officeDocument/2006/relationships/tags" Target="../tags/tag598.xml"/><Relationship Id="rId1" Type="http://schemas.openxmlformats.org/officeDocument/2006/relationships/tags" Target="../tags/tag579.xml"/><Relationship Id="rId6" Type="http://schemas.openxmlformats.org/officeDocument/2006/relationships/tags" Target="../tags/tag584.xml"/><Relationship Id="rId11" Type="http://schemas.openxmlformats.org/officeDocument/2006/relationships/tags" Target="../tags/tag589.xml"/><Relationship Id="rId24" Type="http://schemas.openxmlformats.org/officeDocument/2006/relationships/notesSlide" Target="../notesSlides/notesSlide15.xml"/><Relationship Id="rId5" Type="http://schemas.openxmlformats.org/officeDocument/2006/relationships/tags" Target="../tags/tag583.xml"/><Relationship Id="rId15" Type="http://schemas.openxmlformats.org/officeDocument/2006/relationships/tags" Target="../tags/tag593.xml"/><Relationship Id="rId23" Type="http://schemas.openxmlformats.org/officeDocument/2006/relationships/slideLayout" Target="../slideLayouts/slideLayout7.xml"/><Relationship Id="rId10" Type="http://schemas.openxmlformats.org/officeDocument/2006/relationships/tags" Target="../tags/tag588.xml"/><Relationship Id="rId19" Type="http://schemas.openxmlformats.org/officeDocument/2006/relationships/tags" Target="../tags/tag597.xml"/><Relationship Id="rId4" Type="http://schemas.openxmlformats.org/officeDocument/2006/relationships/tags" Target="../tags/tag582.xml"/><Relationship Id="rId9" Type="http://schemas.openxmlformats.org/officeDocument/2006/relationships/tags" Target="../tags/tag587.xml"/><Relationship Id="rId14" Type="http://schemas.openxmlformats.org/officeDocument/2006/relationships/tags" Target="../tags/tag592.xml"/><Relationship Id="rId22" Type="http://schemas.openxmlformats.org/officeDocument/2006/relationships/tags" Target="../tags/tag60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608.xml"/><Relationship Id="rId13" Type="http://schemas.openxmlformats.org/officeDocument/2006/relationships/tags" Target="../tags/tag613.xml"/><Relationship Id="rId18" Type="http://schemas.openxmlformats.org/officeDocument/2006/relationships/tags" Target="../tags/tag618.xml"/><Relationship Id="rId26" Type="http://schemas.openxmlformats.org/officeDocument/2006/relationships/image" Target="../media/image11.emf"/><Relationship Id="rId3" Type="http://schemas.openxmlformats.org/officeDocument/2006/relationships/tags" Target="../tags/tag603.xml"/><Relationship Id="rId21" Type="http://schemas.openxmlformats.org/officeDocument/2006/relationships/tags" Target="../tags/tag621.xml"/><Relationship Id="rId7" Type="http://schemas.openxmlformats.org/officeDocument/2006/relationships/tags" Target="../tags/tag607.xml"/><Relationship Id="rId12" Type="http://schemas.openxmlformats.org/officeDocument/2006/relationships/tags" Target="../tags/tag612.xml"/><Relationship Id="rId17" Type="http://schemas.openxmlformats.org/officeDocument/2006/relationships/tags" Target="../tags/tag617.xml"/><Relationship Id="rId25" Type="http://schemas.openxmlformats.org/officeDocument/2006/relationships/oleObject" Target="../embeddings/oleObject37.bin"/><Relationship Id="rId2" Type="http://schemas.openxmlformats.org/officeDocument/2006/relationships/tags" Target="../tags/tag602.xml"/><Relationship Id="rId16" Type="http://schemas.openxmlformats.org/officeDocument/2006/relationships/tags" Target="../tags/tag616.xml"/><Relationship Id="rId20" Type="http://schemas.openxmlformats.org/officeDocument/2006/relationships/tags" Target="../tags/tag620.xml"/><Relationship Id="rId1" Type="http://schemas.openxmlformats.org/officeDocument/2006/relationships/tags" Target="../tags/tag601.xml"/><Relationship Id="rId6" Type="http://schemas.openxmlformats.org/officeDocument/2006/relationships/tags" Target="../tags/tag606.xml"/><Relationship Id="rId11" Type="http://schemas.openxmlformats.org/officeDocument/2006/relationships/tags" Target="../tags/tag611.xml"/><Relationship Id="rId24" Type="http://schemas.openxmlformats.org/officeDocument/2006/relationships/notesSlide" Target="../notesSlides/notesSlide16.xml"/><Relationship Id="rId5" Type="http://schemas.openxmlformats.org/officeDocument/2006/relationships/tags" Target="../tags/tag605.xml"/><Relationship Id="rId15" Type="http://schemas.openxmlformats.org/officeDocument/2006/relationships/tags" Target="../tags/tag615.xml"/><Relationship Id="rId23" Type="http://schemas.openxmlformats.org/officeDocument/2006/relationships/slideLayout" Target="../slideLayouts/slideLayout5.xml"/><Relationship Id="rId10" Type="http://schemas.openxmlformats.org/officeDocument/2006/relationships/tags" Target="../tags/tag610.xml"/><Relationship Id="rId19" Type="http://schemas.openxmlformats.org/officeDocument/2006/relationships/tags" Target="../tags/tag619.xml"/><Relationship Id="rId4" Type="http://schemas.openxmlformats.org/officeDocument/2006/relationships/tags" Target="../tags/tag604.xml"/><Relationship Id="rId9" Type="http://schemas.openxmlformats.org/officeDocument/2006/relationships/tags" Target="../tags/tag609.xml"/><Relationship Id="rId14" Type="http://schemas.openxmlformats.org/officeDocument/2006/relationships/tags" Target="../tags/tag614.xml"/><Relationship Id="rId22" Type="http://schemas.openxmlformats.org/officeDocument/2006/relationships/tags" Target="../tags/tag62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630.xml"/><Relationship Id="rId13" Type="http://schemas.openxmlformats.org/officeDocument/2006/relationships/slideLayout" Target="../slideLayouts/slideLayout10.xml"/><Relationship Id="rId3" Type="http://schemas.openxmlformats.org/officeDocument/2006/relationships/tags" Target="../tags/tag625.xml"/><Relationship Id="rId7" Type="http://schemas.openxmlformats.org/officeDocument/2006/relationships/tags" Target="../tags/tag629.xml"/><Relationship Id="rId12" Type="http://schemas.openxmlformats.org/officeDocument/2006/relationships/tags" Target="../tags/tag634.xml"/><Relationship Id="rId2" Type="http://schemas.openxmlformats.org/officeDocument/2006/relationships/tags" Target="../tags/tag624.xml"/><Relationship Id="rId16" Type="http://schemas.openxmlformats.org/officeDocument/2006/relationships/hyperlink" Target="mailto:dhwillis@ecgmc.com" TargetMode="External"/><Relationship Id="rId1" Type="http://schemas.openxmlformats.org/officeDocument/2006/relationships/tags" Target="../tags/tag623.xml"/><Relationship Id="rId6" Type="http://schemas.openxmlformats.org/officeDocument/2006/relationships/tags" Target="../tags/tag628.xml"/><Relationship Id="rId11" Type="http://schemas.openxmlformats.org/officeDocument/2006/relationships/tags" Target="../tags/tag633.xml"/><Relationship Id="rId5" Type="http://schemas.openxmlformats.org/officeDocument/2006/relationships/tags" Target="../tags/tag627.xml"/><Relationship Id="rId15" Type="http://schemas.openxmlformats.org/officeDocument/2006/relationships/image" Target="../media/image1.emf"/><Relationship Id="rId10" Type="http://schemas.openxmlformats.org/officeDocument/2006/relationships/tags" Target="../tags/tag632.xml"/><Relationship Id="rId4" Type="http://schemas.openxmlformats.org/officeDocument/2006/relationships/tags" Target="../tags/tag626.xml"/><Relationship Id="rId9" Type="http://schemas.openxmlformats.org/officeDocument/2006/relationships/tags" Target="../tags/tag631.xml"/><Relationship Id="rId14" Type="http://schemas.openxmlformats.org/officeDocument/2006/relationships/oleObject" Target="../embeddings/oleObject3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0.emf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notesSlide" Target="../notesSlides/notesSlide3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41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4" Type="http://schemas.openxmlformats.org/officeDocument/2006/relationships/image" Target="../media/image1.emf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oleObject" Target="../embeddings/oleObject21.bin"/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tags" Target="../tags/tag100.xml"/><Relationship Id="rId3" Type="http://schemas.openxmlformats.org/officeDocument/2006/relationships/tags" Target="../tags/tag85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20" Type="http://schemas.openxmlformats.org/officeDocument/2006/relationships/tags" Target="../tags/tag102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24" Type="http://schemas.openxmlformats.org/officeDocument/2006/relationships/image" Target="../media/image12.jpeg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23" Type="http://schemas.openxmlformats.org/officeDocument/2006/relationships/image" Target="../media/image11.emf"/><Relationship Id="rId10" Type="http://schemas.openxmlformats.org/officeDocument/2006/relationships/tags" Target="../tags/tag92.xml"/><Relationship Id="rId19" Type="http://schemas.openxmlformats.org/officeDocument/2006/relationships/tags" Target="../tags/tag101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Relationship Id="rId22" Type="http://schemas.openxmlformats.org/officeDocument/2006/relationships/oleObject" Target="../embeddings/oleObject2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3" Type="http://schemas.openxmlformats.org/officeDocument/2006/relationships/tags" Target="../tags/tag105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image" Target="../media/image11.emf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oleObject" Target="../embeddings/oleObject23.bin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7" Type="http://schemas.openxmlformats.org/officeDocument/2006/relationships/image" Target="../media/image10.emf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2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3" Type="http://schemas.openxmlformats.org/officeDocument/2006/relationships/tags" Target="../tags/tag129.xml"/><Relationship Id="rId21" Type="http://schemas.openxmlformats.org/officeDocument/2006/relationships/slideLayout" Target="../slideLayouts/slideLayout5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11.emf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oleObject" Target="../embeddings/oleObject24.bin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10.emf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377BAF5-C305-FFE6-EE23-D0054579CC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898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77BAF5-C305-FFE6-EE23-D0054579CC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F76555E-BC97-B2F2-EBA2-C81A02B246EF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9DFF4B61-AFFF-AE23-B12D-381EA8F5028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/>
          <a:lstStyle/>
          <a:p>
            <a:r>
              <a:rPr lang="en-US" sz="4000" i="0">
                <a:solidFill>
                  <a:schemeClr val="bg1"/>
                </a:solidFill>
                <a:latin typeface="+mj-lt"/>
              </a:rPr>
              <a:t>Controlling Your Destiny:</a:t>
            </a:r>
            <a:br>
              <a:rPr lang="en-US" sz="4000" i="0">
                <a:solidFill>
                  <a:schemeClr val="bg1"/>
                </a:solidFill>
                <a:latin typeface="+mj-lt"/>
              </a:rPr>
            </a:br>
            <a:r>
              <a:rPr lang="en-US" sz="2800" i="0">
                <a:solidFill>
                  <a:schemeClr val="bg1"/>
                </a:solidFill>
                <a:latin typeface="+mj-lt"/>
              </a:rPr>
              <a:t>The </a:t>
            </a:r>
            <a:r>
              <a:rPr lang="en-US" sz="2800" i="0">
                <a:latin typeface="+mj-lt"/>
              </a:rPr>
              <a:t>Reem</a:t>
            </a:r>
            <a:r>
              <a:rPr lang="en-US" sz="2800" i="0">
                <a:solidFill>
                  <a:schemeClr val="bg1"/>
                </a:solidFill>
                <a:latin typeface="+mj-lt"/>
              </a:rPr>
              <a:t>ergence of Competitive Strategy in Healthcare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6878411-46B5-E742-A763-1F3726E32C03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February 202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28043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2701346-3190-40D3-1E32-8AF337315A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4158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622" imgH="623" progId="TCLayout.ActiveDocument.1">
                  <p:embed/>
                </p:oleObj>
              </mc:Choice>
              <mc:Fallback>
                <p:oleObj name="think-cell Slide" r:id="rId53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701346-3190-40D3-1E32-8AF337315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5" name="Left Bracket 1154">
            <a:extLst>
              <a:ext uri="{FF2B5EF4-FFF2-40B4-BE49-F238E27FC236}">
                <a16:creationId xmlns:a16="http://schemas.microsoft.com/office/drawing/2014/main" id="{FB610B38-6E34-FF60-1C12-E4775F5C8B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00494" y="1395021"/>
            <a:ext cx="849917" cy="3817833"/>
          </a:xfrm>
          <a:prstGeom prst="leftBracket">
            <a:avLst>
              <a:gd name="adj" fmla="val 0"/>
            </a:avLst>
          </a:prstGeom>
          <a:solidFill>
            <a:schemeClr val="accent2"/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6D693E9-4BB8-904E-D3F7-3C4D461D57C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Strategic Differentiator: Entering New Channels and Marke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837141-BE97-ACE1-6875-FF5FF3558DFF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11488149" y="6228775"/>
            <a:ext cx="445704" cy="445704"/>
          </a:xfrm>
          <a:noFill/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0</a:t>
            </a:fld>
            <a:endParaRPr lang="en-US" noProof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8533047-1428-053C-3B02-344B463403B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419936" y="3073104"/>
            <a:ext cx="3817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n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4904B3D-AF60-E6EC-B7C0-99BB253D9667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173046" y="4866519"/>
            <a:ext cx="14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BE71C3B-A8CF-1483-4970-FE9FD0285DB7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3173046" y="1695350"/>
            <a:ext cx="14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A97C636-0C41-7FF3-4AC2-27FD155D5736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173046" y="4337989"/>
            <a:ext cx="14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374848D-3542-4F65-2CEF-86557F07E4B6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3173046" y="3809461"/>
            <a:ext cx="14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4126509-D552-6370-52CC-04A936CC1275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3173046" y="3280933"/>
            <a:ext cx="14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D7B5568-BCED-1032-94F4-D616F747741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3173046" y="2752406"/>
            <a:ext cx="14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EAD4618-017C-9706-4BD2-8A7C87BF32DA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3173046" y="2223878"/>
            <a:ext cx="1463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BDF42D8-F7EE-2BB5-BA36-9281FB895D33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 flipV="1">
            <a:off x="7688792" y="5400037"/>
            <a:ext cx="0" cy="1463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BAE8D19-8946-CE9D-44B5-D964DDD09FC0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 flipV="1">
            <a:off x="9428926" y="5400037"/>
            <a:ext cx="0" cy="1463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74A3340-86AE-5E6A-B81D-0B10F359441E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 flipV="1">
            <a:off x="11138672" y="5400037"/>
            <a:ext cx="0" cy="1463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183EE494-7859-5EB8-2BBE-0E775EED0CB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 flipV="1">
            <a:off x="4208525" y="5400037"/>
            <a:ext cx="0" cy="1463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68C8152-30C3-A629-4E86-1C7C0ACBE9CF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 flipV="1">
            <a:off x="5967513" y="5400037"/>
            <a:ext cx="0" cy="1463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CCC73E92-BDFB-862A-746D-21EC91713BB9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3333029" y="1695350"/>
            <a:ext cx="7805644" cy="3697376"/>
          </a:xfrm>
          <a:prstGeom prst="rect">
            <a:avLst/>
          </a:prstGeom>
          <a:solidFill>
            <a:schemeClr val="accent6">
              <a:lumMod val="40000"/>
              <a:lumOff val="60000"/>
              <a:alpha val="62000"/>
            </a:schemeClr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E1A6F5D-A80A-F18A-DC9F-0EBA245BEED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333029" y="2759359"/>
            <a:ext cx="4355763" cy="2635121"/>
          </a:xfrm>
          <a:prstGeom prst="rect">
            <a:avLst/>
          </a:prstGeom>
          <a:gradFill flip="none" rotWithShape="1">
            <a:gsLst>
              <a:gs pos="0">
                <a:srgbClr val="FFFF00">
                  <a:tint val="66000"/>
                  <a:satMod val="160000"/>
                </a:srgbClr>
              </a:gs>
              <a:gs pos="50000">
                <a:srgbClr val="FFFF00">
                  <a:tint val="44500"/>
                  <a:satMod val="160000"/>
                </a:srgbClr>
              </a:gs>
              <a:gs pos="100000">
                <a:srgbClr val="FFFF00">
                  <a:tint val="23500"/>
                  <a:satMod val="160000"/>
                </a:srgbClr>
              </a:gs>
            </a:gsLst>
            <a:lin ang="8100000" scaled="1"/>
            <a:tileRect/>
          </a:gra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5F9BDD5-88E1-6148-7F5C-EB2A24CE674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3333029" y="3818929"/>
            <a:ext cx="2635675" cy="1575558"/>
          </a:xfrm>
          <a:prstGeom prst="rect">
            <a:avLst/>
          </a:prstGeom>
          <a:solidFill>
            <a:schemeClr val="accent3">
              <a:lumMod val="50000"/>
              <a:alpha val="56000"/>
            </a:schemeClr>
          </a:solidFill>
          <a:ln w="285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34A4B76-1E31-53B6-6BB1-EC575ACD6477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861392" y="1491414"/>
            <a:ext cx="2309241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tua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C4A3E8-5370-D762-04D5-509E5BDE21C0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861394" y="2024610"/>
            <a:ext cx="2309240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CCFD997-4E92-1374-EE9D-585A24C2D7E5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861394" y="2557806"/>
            <a:ext cx="2309239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tai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EFEE1EE-0C33-1205-541C-0B58AF725C56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861396" y="3091002"/>
            <a:ext cx="2309237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ysician Offic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91DB8A0-B0B7-DC1C-1631-140BAA5DDD4D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861400" y="3624198"/>
            <a:ext cx="2309233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C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2363FDC-EE33-F8CF-EAA0-CD9EB3EA4E3A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861398" y="4157394"/>
            <a:ext cx="2309236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PD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386A76F-4855-3C89-0599-BA2AD14BB13D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61396" y="4690592"/>
            <a:ext cx="2309238" cy="457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patien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739510C-1C91-7049-06AD-C8859C26646E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3497606" y="5563629"/>
            <a:ext cx="1421837" cy="40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SA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829380C-0729-6BDB-802E-E68CF4941854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5256594" y="5563629"/>
            <a:ext cx="1421837" cy="40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S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A903DDD-C5CB-23DE-7A94-C296FFDEA931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6977873" y="5563629"/>
            <a:ext cx="1421837" cy="40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ona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13DC1CA-8AF7-6BFC-4A96-F220F803DA9C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8718007" y="5563629"/>
            <a:ext cx="1421837" cy="40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iona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58FDBE1-FC91-C6F8-073E-72549897DD3C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10406222" y="5563629"/>
            <a:ext cx="1421837" cy="407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rtlCol="0" anchor="ctr">
            <a:noAutofit/>
          </a:bodyPr>
          <a:lstStyle>
            <a:defPPr>
              <a:defRPr lang="en-US"/>
            </a:defPPr>
            <a:lvl1pPr algn="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lobal</a:t>
            </a:r>
          </a:p>
        </p:txBody>
      </p:sp>
      <p:pic>
        <p:nvPicPr>
          <p:cNvPr id="32" name="Picture 31" descr="A person wearing gloves and a white coat&#10;&#10;Description automatically generated">
            <a:extLst>
              <a:ext uri="{FF2B5EF4-FFF2-40B4-BE49-F238E27FC236}">
                <a16:creationId xmlns:a16="http://schemas.microsoft.com/office/drawing/2014/main" id="{EFAD7382-8D42-2993-72A7-7BD137FCC5C6}"/>
              </a:ext>
            </a:extLst>
          </p:cNvPr>
          <p:cNvPicPr>
            <a:picLocks noChangeAspect="1"/>
          </p:cNvPicPr>
          <p:nvPr>
            <p:custDataLst>
              <p:tags r:id="rId34"/>
            </p:custDataLst>
          </p:nvPr>
        </p:nvPicPr>
        <p:blipFill rotWithShape="1">
          <a:blip r:embed="rId55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63662" y="1652648"/>
            <a:ext cx="7788364" cy="3700238"/>
          </a:xfrm>
          <a:prstGeom prst="rect">
            <a:avLst/>
          </a:prstGeom>
        </p:spPr>
      </p:pic>
      <p:pic>
        <p:nvPicPr>
          <p:cNvPr id="48" name="Graphic 47" descr="House with solid fill">
            <a:extLst>
              <a:ext uri="{FF2B5EF4-FFF2-40B4-BE49-F238E27FC236}">
                <a16:creationId xmlns:a16="http://schemas.microsoft.com/office/drawing/2014/main" id="{499922D4-726C-C2EC-DA70-6DDB12FD19BC}"/>
              </a:ext>
            </a:extLst>
          </p:cNvPr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1054423" y="2055576"/>
            <a:ext cx="393491" cy="393491"/>
          </a:xfrm>
          <a:prstGeom prst="rect">
            <a:avLst/>
          </a:prstGeom>
        </p:spPr>
      </p:pic>
      <p:grpSp>
        <p:nvGrpSpPr>
          <p:cNvPr id="1095" name="Group 1094">
            <a:extLst>
              <a:ext uri="{FF2B5EF4-FFF2-40B4-BE49-F238E27FC236}">
                <a16:creationId xmlns:a16="http://schemas.microsoft.com/office/drawing/2014/main" id="{CB13BBFE-B2FD-93CE-2D1E-ADD1953D1EAA}"/>
              </a:ext>
            </a:extLst>
          </p:cNvPr>
          <p:cNvGrpSpPr/>
          <p:nvPr>
            <p:custDataLst>
              <p:tags r:id="rId36"/>
            </p:custDataLst>
          </p:nvPr>
        </p:nvGrpSpPr>
        <p:grpSpPr>
          <a:xfrm>
            <a:off x="1075303" y="2660759"/>
            <a:ext cx="351730" cy="301437"/>
            <a:chOff x="-2071818" y="3637046"/>
            <a:chExt cx="972702" cy="833619"/>
          </a:xfrm>
          <a:solidFill>
            <a:schemeClr val="tx2"/>
          </a:solidFill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9E8B8F0-8BED-2AC8-D5F6-4F0C7957D6AF}"/>
                </a:ext>
              </a:extLst>
            </p:cNvPr>
            <p:cNvSpPr/>
            <p:nvPr/>
          </p:nvSpPr>
          <p:spPr>
            <a:xfrm>
              <a:off x="-2071818" y="3637046"/>
              <a:ext cx="972702" cy="683411"/>
            </a:xfrm>
            <a:custGeom>
              <a:avLst/>
              <a:gdLst>
                <a:gd name="connsiteX0" fmla="*/ 343281 w 972702"/>
                <a:gd name="connsiteY0" fmla="*/ 535869 h 683411"/>
                <a:gd name="connsiteX1" fmla="*/ 344614 w 972702"/>
                <a:gd name="connsiteY1" fmla="*/ 556348 h 683411"/>
                <a:gd name="connsiteX2" fmla="*/ 364522 w 972702"/>
                <a:gd name="connsiteY2" fmla="*/ 622546 h 683411"/>
                <a:gd name="connsiteX3" fmla="*/ 383667 w 972702"/>
                <a:gd name="connsiteY3" fmla="*/ 623023 h 683411"/>
                <a:gd name="connsiteX4" fmla="*/ 805434 w 972702"/>
                <a:gd name="connsiteY4" fmla="*/ 623023 h 683411"/>
                <a:gd name="connsiteX5" fmla="*/ 860393 w 972702"/>
                <a:gd name="connsiteY5" fmla="*/ 655217 h 683411"/>
                <a:gd name="connsiteX6" fmla="*/ 824103 w 972702"/>
                <a:gd name="connsiteY6" fmla="*/ 683411 h 683411"/>
                <a:gd name="connsiteX7" fmla="*/ 348424 w 972702"/>
                <a:gd name="connsiteY7" fmla="*/ 683411 h 683411"/>
                <a:gd name="connsiteX8" fmla="*/ 308991 w 972702"/>
                <a:gd name="connsiteY8" fmla="*/ 650169 h 683411"/>
                <a:gd name="connsiteX9" fmla="*/ 270605 w 972702"/>
                <a:gd name="connsiteY9" fmla="*/ 501674 h 683411"/>
                <a:gd name="connsiteX10" fmla="*/ 173641 w 972702"/>
                <a:gd name="connsiteY10" fmla="*/ 145820 h 683411"/>
                <a:gd name="connsiteX11" fmla="*/ 151828 w 972702"/>
                <a:gd name="connsiteY11" fmla="*/ 62762 h 683411"/>
                <a:gd name="connsiteX12" fmla="*/ 140970 w 972702"/>
                <a:gd name="connsiteY12" fmla="*/ 60095 h 683411"/>
                <a:gd name="connsiteX13" fmla="*/ 20479 w 972702"/>
                <a:gd name="connsiteY13" fmla="*/ 60095 h 683411"/>
                <a:gd name="connsiteX14" fmla="*/ 34861 w 972702"/>
                <a:gd name="connsiteY14" fmla="*/ 1897 h 683411"/>
                <a:gd name="connsiteX15" fmla="*/ 163735 w 972702"/>
                <a:gd name="connsiteY15" fmla="*/ 1897 h 683411"/>
                <a:gd name="connsiteX16" fmla="*/ 199739 w 972702"/>
                <a:gd name="connsiteY16" fmla="*/ 15708 h 683411"/>
                <a:gd name="connsiteX17" fmla="*/ 220123 w 972702"/>
                <a:gd name="connsiteY17" fmla="*/ 86670 h 683411"/>
                <a:gd name="connsiteX18" fmla="*/ 234315 w 972702"/>
                <a:gd name="connsiteY18" fmla="*/ 111911 h 683411"/>
                <a:gd name="connsiteX19" fmla="*/ 952119 w 972702"/>
                <a:gd name="connsiteY19" fmla="*/ 112578 h 683411"/>
                <a:gd name="connsiteX20" fmla="*/ 971836 w 972702"/>
                <a:gd name="connsiteY20" fmla="*/ 152107 h 683411"/>
                <a:gd name="connsiteX21" fmla="*/ 884491 w 972702"/>
                <a:gd name="connsiteY21" fmla="*/ 509294 h 683411"/>
                <a:gd name="connsiteX22" fmla="*/ 857059 w 972702"/>
                <a:gd name="connsiteY22" fmla="*/ 535869 h 683411"/>
                <a:gd name="connsiteX23" fmla="*/ 343090 w 972702"/>
                <a:gd name="connsiteY23" fmla="*/ 535869 h 683411"/>
                <a:gd name="connsiteX24" fmla="*/ 384810 w 972702"/>
                <a:gd name="connsiteY24" fmla="*/ 170299 h 683411"/>
                <a:gd name="connsiteX25" fmla="*/ 246697 w 972702"/>
                <a:gd name="connsiteY25" fmla="*/ 170299 h 683411"/>
                <a:gd name="connsiteX26" fmla="*/ 243840 w 972702"/>
                <a:gd name="connsiteY26" fmla="*/ 173728 h 683411"/>
                <a:gd name="connsiteX27" fmla="*/ 273177 w 972702"/>
                <a:gd name="connsiteY27" fmla="*/ 289171 h 683411"/>
                <a:gd name="connsiteX28" fmla="*/ 277844 w 972702"/>
                <a:gd name="connsiteY28" fmla="*/ 294886 h 683411"/>
                <a:gd name="connsiteX29" fmla="*/ 397287 w 972702"/>
                <a:gd name="connsiteY29" fmla="*/ 294886 h 683411"/>
                <a:gd name="connsiteX30" fmla="*/ 395383 w 972702"/>
                <a:gd name="connsiteY30" fmla="*/ 270788 h 683411"/>
                <a:gd name="connsiteX31" fmla="*/ 384810 w 972702"/>
                <a:gd name="connsiteY31" fmla="*/ 170299 h 683411"/>
                <a:gd name="connsiteX32" fmla="*/ 445008 w 972702"/>
                <a:gd name="connsiteY32" fmla="*/ 170299 h 683411"/>
                <a:gd name="connsiteX33" fmla="*/ 457771 w 972702"/>
                <a:gd name="connsiteY33" fmla="*/ 291457 h 683411"/>
                <a:gd name="connsiteX34" fmla="*/ 460534 w 972702"/>
                <a:gd name="connsiteY34" fmla="*/ 294886 h 683411"/>
                <a:gd name="connsiteX35" fmla="*/ 553974 w 972702"/>
                <a:gd name="connsiteY35" fmla="*/ 294886 h 683411"/>
                <a:gd name="connsiteX36" fmla="*/ 557117 w 972702"/>
                <a:gd name="connsiteY36" fmla="*/ 291743 h 683411"/>
                <a:gd name="connsiteX37" fmla="*/ 557117 w 972702"/>
                <a:gd name="connsiteY37" fmla="*/ 173347 h 683411"/>
                <a:gd name="connsiteX38" fmla="*/ 553974 w 972702"/>
                <a:gd name="connsiteY38" fmla="*/ 170204 h 683411"/>
                <a:gd name="connsiteX39" fmla="*/ 444912 w 972702"/>
                <a:gd name="connsiteY39" fmla="*/ 170204 h 683411"/>
                <a:gd name="connsiteX40" fmla="*/ 727424 w 972702"/>
                <a:gd name="connsiteY40" fmla="*/ 170299 h 683411"/>
                <a:gd name="connsiteX41" fmla="*/ 617410 w 972702"/>
                <a:gd name="connsiteY41" fmla="*/ 170299 h 683411"/>
                <a:gd name="connsiteX42" fmla="*/ 615315 w 972702"/>
                <a:gd name="connsiteY42" fmla="*/ 175538 h 683411"/>
                <a:gd name="connsiteX43" fmla="*/ 615315 w 972702"/>
                <a:gd name="connsiteY43" fmla="*/ 291838 h 683411"/>
                <a:gd name="connsiteX44" fmla="*/ 618458 w 972702"/>
                <a:gd name="connsiteY44" fmla="*/ 294982 h 683411"/>
                <a:gd name="connsiteX45" fmla="*/ 715042 w 972702"/>
                <a:gd name="connsiteY45" fmla="*/ 294982 h 683411"/>
                <a:gd name="connsiteX46" fmla="*/ 723614 w 972702"/>
                <a:gd name="connsiteY46" fmla="*/ 213162 h 683411"/>
                <a:gd name="connsiteX47" fmla="*/ 727519 w 972702"/>
                <a:gd name="connsiteY47" fmla="*/ 170299 h 683411"/>
                <a:gd name="connsiteX48" fmla="*/ 903922 w 972702"/>
                <a:gd name="connsiteY48" fmla="*/ 170299 h 683411"/>
                <a:gd name="connsiteX49" fmla="*/ 790765 w 972702"/>
                <a:gd name="connsiteY49" fmla="*/ 170299 h 683411"/>
                <a:gd name="connsiteX50" fmla="*/ 779335 w 972702"/>
                <a:gd name="connsiteY50" fmla="*/ 237832 h 683411"/>
                <a:gd name="connsiteX51" fmla="*/ 775144 w 972702"/>
                <a:gd name="connsiteY51" fmla="*/ 294982 h 683411"/>
                <a:gd name="connsiteX52" fmla="*/ 871728 w 972702"/>
                <a:gd name="connsiteY52" fmla="*/ 294982 h 683411"/>
                <a:gd name="connsiteX53" fmla="*/ 878490 w 972702"/>
                <a:gd name="connsiteY53" fmla="*/ 287266 h 683411"/>
                <a:gd name="connsiteX54" fmla="*/ 888206 w 972702"/>
                <a:gd name="connsiteY54" fmla="*/ 240975 h 683411"/>
                <a:gd name="connsiteX55" fmla="*/ 903827 w 972702"/>
                <a:gd name="connsiteY55" fmla="*/ 170395 h 683411"/>
                <a:gd name="connsiteX56" fmla="*/ 400335 w 972702"/>
                <a:gd name="connsiteY56" fmla="*/ 353084 h 683411"/>
                <a:gd name="connsiteX57" fmla="*/ 296513 w 972702"/>
                <a:gd name="connsiteY57" fmla="*/ 353084 h 683411"/>
                <a:gd name="connsiteX58" fmla="*/ 293275 w 972702"/>
                <a:gd name="connsiteY58" fmla="*/ 358323 h 683411"/>
                <a:gd name="connsiteX59" fmla="*/ 322231 w 972702"/>
                <a:gd name="connsiteY59" fmla="*/ 470623 h 683411"/>
                <a:gd name="connsiteX60" fmla="*/ 350425 w 972702"/>
                <a:gd name="connsiteY60" fmla="*/ 475480 h 683411"/>
                <a:gd name="connsiteX61" fmla="*/ 398335 w 972702"/>
                <a:gd name="connsiteY61" fmla="*/ 475480 h 683411"/>
                <a:gd name="connsiteX62" fmla="*/ 417766 w 972702"/>
                <a:gd name="connsiteY62" fmla="*/ 472051 h 683411"/>
                <a:gd name="connsiteX63" fmla="*/ 407575 w 972702"/>
                <a:gd name="connsiteY63" fmla="*/ 383088 h 683411"/>
                <a:gd name="connsiteX64" fmla="*/ 400335 w 972702"/>
                <a:gd name="connsiteY64" fmla="*/ 352989 h 683411"/>
                <a:gd name="connsiteX65" fmla="*/ 557117 w 972702"/>
                <a:gd name="connsiteY65" fmla="*/ 355084 h 683411"/>
                <a:gd name="connsiteX66" fmla="*/ 551878 w 972702"/>
                <a:gd name="connsiteY66" fmla="*/ 352989 h 683411"/>
                <a:gd name="connsiteX67" fmla="*/ 468820 w 972702"/>
                <a:gd name="connsiteY67" fmla="*/ 352989 h 683411"/>
                <a:gd name="connsiteX68" fmla="*/ 464153 w 972702"/>
                <a:gd name="connsiteY68" fmla="*/ 359752 h 683411"/>
                <a:gd name="connsiteX69" fmla="*/ 478060 w 972702"/>
                <a:gd name="connsiteY69" fmla="*/ 472528 h 683411"/>
                <a:gd name="connsiteX70" fmla="*/ 493776 w 972702"/>
                <a:gd name="connsiteY70" fmla="*/ 475575 h 683411"/>
                <a:gd name="connsiteX71" fmla="*/ 553974 w 972702"/>
                <a:gd name="connsiteY71" fmla="*/ 475575 h 683411"/>
                <a:gd name="connsiteX72" fmla="*/ 557117 w 972702"/>
                <a:gd name="connsiteY72" fmla="*/ 472432 h 683411"/>
                <a:gd name="connsiteX73" fmla="*/ 557117 w 972702"/>
                <a:gd name="connsiteY73" fmla="*/ 355084 h 683411"/>
                <a:gd name="connsiteX74" fmla="*/ 615315 w 972702"/>
                <a:gd name="connsiteY74" fmla="*/ 355084 h 683411"/>
                <a:gd name="connsiteX75" fmla="*/ 615315 w 972702"/>
                <a:gd name="connsiteY75" fmla="*/ 472432 h 683411"/>
                <a:gd name="connsiteX76" fmla="*/ 618458 w 972702"/>
                <a:gd name="connsiteY76" fmla="*/ 475575 h 683411"/>
                <a:gd name="connsiteX77" fmla="*/ 684943 w 972702"/>
                <a:gd name="connsiteY77" fmla="*/ 475575 h 683411"/>
                <a:gd name="connsiteX78" fmla="*/ 694277 w 972702"/>
                <a:gd name="connsiteY78" fmla="*/ 474528 h 683411"/>
                <a:gd name="connsiteX79" fmla="*/ 702754 w 972702"/>
                <a:gd name="connsiteY79" fmla="*/ 404043 h 683411"/>
                <a:gd name="connsiteX80" fmla="*/ 708469 w 972702"/>
                <a:gd name="connsiteY80" fmla="*/ 356418 h 683411"/>
                <a:gd name="connsiteX81" fmla="*/ 705707 w 972702"/>
                <a:gd name="connsiteY81" fmla="*/ 352989 h 683411"/>
                <a:gd name="connsiteX82" fmla="*/ 620553 w 972702"/>
                <a:gd name="connsiteY82" fmla="*/ 352989 h 683411"/>
                <a:gd name="connsiteX83" fmla="*/ 615315 w 972702"/>
                <a:gd name="connsiteY83" fmla="*/ 355084 h 683411"/>
                <a:gd name="connsiteX84" fmla="*/ 855154 w 972702"/>
                <a:gd name="connsiteY84" fmla="*/ 353084 h 683411"/>
                <a:gd name="connsiteX85" fmla="*/ 774192 w 972702"/>
                <a:gd name="connsiteY85" fmla="*/ 353084 h 683411"/>
                <a:gd name="connsiteX86" fmla="*/ 766857 w 972702"/>
                <a:gd name="connsiteY86" fmla="*/ 356513 h 683411"/>
                <a:gd name="connsiteX87" fmla="*/ 756856 w 972702"/>
                <a:gd name="connsiteY87" fmla="*/ 475290 h 683411"/>
                <a:gd name="connsiteX88" fmla="*/ 774097 w 972702"/>
                <a:gd name="connsiteY88" fmla="*/ 475480 h 683411"/>
                <a:gd name="connsiteX89" fmla="*/ 811625 w 972702"/>
                <a:gd name="connsiteY89" fmla="*/ 475480 h 683411"/>
                <a:gd name="connsiteX90" fmla="*/ 834961 w 972702"/>
                <a:gd name="connsiteY90" fmla="*/ 467860 h 683411"/>
                <a:gd name="connsiteX91" fmla="*/ 844296 w 972702"/>
                <a:gd name="connsiteY91" fmla="*/ 421092 h 683411"/>
                <a:gd name="connsiteX92" fmla="*/ 849439 w 972702"/>
                <a:gd name="connsiteY92" fmla="*/ 407567 h 683411"/>
                <a:gd name="connsiteX93" fmla="*/ 860298 w 972702"/>
                <a:gd name="connsiteY93" fmla="*/ 358037 h 683411"/>
                <a:gd name="connsiteX94" fmla="*/ 860298 w 972702"/>
                <a:gd name="connsiteY94" fmla="*/ 355275 h 683411"/>
                <a:gd name="connsiteX95" fmla="*/ 855154 w 972702"/>
                <a:gd name="connsiteY95" fmla="*/ 353084 h 683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972702" h="683411">
                  <a:moveTo>
                    <a:pt x="343281" y="535869"/>
                  </a:moveTo>
                  <a:cubicBezTo>
                    <a:pt x="340804" y="542632"/>
                    <a:pt x="343090" y="549490"/>
                    <a:pt x="344614" y="556348"/>
                  </a:cubicBezTo>
                  <a:cubicBezTo>
                    <a:pt x="346805" y="565682"/>
                    <a:pt x="360902" y="619022"/>
                    <a:pt x="364522" y="622546"/>
                  </a:cubicBezTo>
                  <a:cubicBezTo>
                    <a:pt x="369094" y="626928"/>
                    <a:pt x="377571" y="623023"/>
                    <a:pt x="383667" y="623023"/>
                  </a:cubicBezTo>
                  <a:cubicBezTo>
                    <a:pt x="522636" y="622070"/>
                    <a:pt x="666845" y="619022"/>
                    <a:pt x="805434" y="623023"/>
                  </a:cubicBezTo>
                  <a:cubicBezTo>
                    <a:pt x="829437" y="623689"/>
                    <a:pt x="862298" y="621117"/>
                    <a:pt x="860393" y="655217"/>
                  </a:cubicBezTo>
                  <a:cubicBezTo>
                    <a:pt x="859155" y="676744"/>
                    <a:pt x="842772" y="681982"/>
                    <a:pt x="824103" y="683411"/>
                  </a:cubicBezTo>
                  <a:lnTo>
                    <a:pt x="348424" y="683411"/>
                  </a:lnTo>
                  <a:cubicBezTo>
                    <a:pt x="322707" y="681601"/>
                    <a:pt x="316516" y="673791"/>
                    <a:pt x="308991" y="650169"/>
                  </a:cubicBezTo>
                  <a:cubicBezTo>
                    <a:pt x="294037" y="603401"/>
                    <a:pt x="283559" y="549871"/>
                    <a:pt x="270605" y="501674"/>
                  </a:cubicBezTo>
                  <a:cubicBezTo>
                    <a:pt x="238506" y="382992"/>
                    <a:pt x="205835" y="264692"/>
                    <a:pt x="173641" y="145820"/>
                  </a:cubicBezTo>
                  <a:cubicBezTo>
                    <a:pt x="166211" y="118293"/>
                    <a:pt x="161639" y="89718"/>
                    <a:pt x="151828" y="62762"/>
                  </a:cubicBezTo>
                  <a:cubicBezTo>
                    <a:pt x="149828" y="60476"/>
                    <a:pt x="144018" y="60286"/>
                    <a:pt x="140970" y="60095"/>
                  </a:cubicBezTo>
                  <a:cubicBezTo>
                    <a:pt x="102108" y="57238"/>
                    <a:pt x="59722" y="62476"/>
                    <a:pt x="20479" y="60095"/>
                  </a:cubicBezTo>
                  <a:cubicBezTo>
                    <a:pt x="-13240" y="42093"/>
                    <a:pt x="-3144" y="4850"/>
                    <a:pt x="34861" y="1897"/>
                  </a:cubicBezTo>
                  <a:cubicBezTo>
                    <a:pt x="70770" y="-865"/>
                    <a:pt x="127635" y="-389"/>
                    <a:pt x="163735" y="1897"/>
                  </a:cubicBezTo>
                  <a:cubicBezTo>
                    <a:pt x="177927" y="2755"/>
                    <a:pt x="190500" y="3802"/>
                    <a:pt x="199739" y="15708"/>
                  </a:cubicBezTo>
                  <a:cubicBezTo>
                    <a:pt x="207073" y="39235"/>
                    <a:pt x="213455" y="63048"/>
                    <a:pt x="220123" y="86670"/>
                  </a:cubicBezTo>
                  <a:cubicBezTo>
                    <a:pt x="223171" y="97624"/>
                    <a:pt x="219932" y="109530"/>
                    <a:pt x="234315" y="111911"/>
                  </a:cubicBezTo>
                  <a:lnTo>
                    <a:pt x="952119" y="112578"/>
                  </a:lnTo>
                  <a:cubicBezTo>
                    <a:pt x="969835" y="120579"/>
                    <a:pt x="974979" y="132675"/>
                    <a:pt x="971836" y="152107"/>
                  </a:cubicBezTo>
                  <a:cubicBezTo>
                    <a:pt x="936784" y="268216"/>
                    <a:pt x="918781" y="394232"/>
                    <a:pt x="884491" y="509294"/>
                  </a:cubicBezTo>
                  <a:cubicBezTo>
                    <a:pt x="881157" y="520533"/>
                    <a:pt x="869918" y="535869"/>
                    <a:pt x="857059" y="535869"/>
                  </a:cubicBezTo>
                  <a:lnTo>
                    <a:pt x="343090" y="535869"/>
                  </a:lnTo>
                  <a:close/>
                  <a:moveTo>
                    <a:pt x="384810" y="170299"/>
                  </a:moveTo>
                  <a:lnTo>
                    <a:pt x="246697" y="170299"/>
                  </a:lnTo>
                  <a:lnTo>
                    <a:pt x="243840" y="173728"/>
                  </a:lnTo>
                  <a:lnTo>
                    <a:pt x="273177" y="289171"/>
                  </a:lnTo>
                  <a:cubicBezTo>
                    <a:pt x="273558" y="290791"/>
                    <a:pt x="276987" y="294886"/>
                    <a:pt x="277844" y="294886"/>
                  </a:cubicBezTo>
                  <a:lnTo>
                    <a:pt x="397287" y="294886"/>
                  </a:lnTo>
                  <a:cubicBezTo>
                    <a:pt x="401860" y="285838"/>
                    <a:pt x="396240" y="279170"/>
                    <a:pt x="395383" y="270788"/>
                  </a:cubicBezTo>
                  <a:cubicBezTo>
                    <a:pt x="391954" y="237260"/>
                    <a:pt x="389953" y="203637"/>
                    <a:pt x="384810" y="170299"/>
                  </a:cubicBezTo>
                  <a:close/>
                  <a:moveTo>
                    <a:pt x="445008" y="170299"/>
                  </a:moveTo>
                  <a:cubicBezTo>
                    <a:pt x="447199" y="210781"/>
                    <a:pt x="452628" y="251166"/>
                    <a:pt x="457771" y="291457"/>
                  </a:cubicBezTo>
                  <a:lnTo>
                    <a:pt x="460534" y="294886"/>
                  </a:lnTo>
                  <a:lnTo>
                    <a:pt x="553974" y="294886"/>
                  </a:lnTo>
                  <a:lnTo>
                    <a:pt x="557117" y="291743"/>
                  </a:lnTo>
                  <a:lnTo>
                    <a:pt x="557117" y="173347"/>
                  </a:lnTo>
                  <a:lnTo>
                    <a:pt x="553974" y="170204"/>
                  </a:lnTo>
                  <a:lnTo>
                    <a:pt x="444912" y="170204"/>
                  </a:lnTo>
                  <a:close/>
                  <a:moveTo>
                    <a:pt x="727424" y="170299"/>
                  </a:moveTo>
                  <a:lnTo>
                    <a:pt x="617410" y="170299"/>
                  </a:lnTo>
                  <a:cubicBezTo>
                    <a:pt x="618077" y="172299"/>
                    <a:pt x="615315" y="174776"/>
                    <a:pt x="615315" y="175538"/>
                  </a:cubicBezTo>
                  <a:lnTo>
                    <a:pt x="615315" y="291838"/>
                  </a:lnTo>
                  <a:lnTo>
                    <a:pt x="618458" y="294982"/>
                  </a:lnTo>
                  <a:lnTo>
                    <a:pt x="715042" y="294982"/>
                  </a:lnTo>
                  <a:cubicBezTo>
                    <a:pt x="720280" y="267931"/>
                    <a:pt x="720852" y="240499"/>
                    <a:pt x="723614" y="213162"/>
                  </a:cubicBezTo>
                  <a:cubicBezTo>
                    <a:pt x="724376" y="206113"/>
                    <a:pt x="732663" y="173633"/>
                    <a:pt x="727519" y="170299"/>
                  </a:cubicBezTo>
                  <a:close/>
                  <a:moveTo>
                    <a:pt x="903922" y="170299"/>
                  </a:moveTo>
                  <a:lnTo>
                    <a:pt x="790765" y="170299"/>
                  </a:lnTo>
                  <a:cubicBezTo>
                    <a:pt x="781812" y="190016"/>
                    <a:pt x="785431" y="216210"/>
                    <a:pt x="779335" y="237832"/>
                  </a:cubicBezTo>
                  <a:lnTo>
                    <a:pt x="775144" y="294982"/>
                  </a:lnTo>
                  <a:lnTo>
                    <a:pt x="871728" y="294982"/>
                  </a:lnTo>
                  <a:cubicBezTo>
                    <a:pt x="872490" y="294982"/>
                    <a:pt x="877824" y="289076"/>
                    <a:pt x="878490" y="287266"/>
                  </a:cubicBezTo>
                  <a:cubicBezTo>
                    <a:pt x="882872" y="274408"/>
                    <a:pt x="884777" y="254596"/>
                    <a:pt x="888206" y="240975"/>
                  </a:cubicBezTo>
                  <a:cubicBezTo>
                    <a:pt x="890587" y="231640"/>
                    <a:pt x="907637" y="174205"/>
                    <a:pt x="903827" y="170395"/>
                  </a:cubicBezTo>
                  <a:close/>
                  <a:moveTo>
                    <a:pt x="400335" y="353084"/>
                  </a:moveTo>
                  <a:lnTo>
                    <a:pt x="296513" y="353084"/>
                  </a:lnTo>
                  <a:cubicBezTo>
                    <a:pt x="295370" y="353084"/>
                    <a:pt x="293275" y="356608"/>
                    <a:pt x="293275" y="358323"/>
                  </a:cubicBezTo>
                  <a:lnTo>
                    <a:pt x="322231" y="470623"/>
                  </a:lnTo>
                  <a:cubicBezTo>
                    <a:pt x="327850" y="481576"/>
                    <a:pt x="341566" y="475575"/>
                    <a:pt x="350425" y="475480"/>
                  </a:cubicBezTo>
                  <a:cubicBezTo>
                    <a:pt x="366331" y="475290"/>
                    <a:pt x="382429" y="475290"/>
                    <a:pt x="398335" y="475480"/>
                  </a:cubicBezTo>
                  <a:cubicBezTo>
                    <a:pt x="405384" y="475480"/>
                    <a:pt x="412527" y="480719"/>
                    <a:pt x="417766" y="472051"/>
                  </a:cubicBezTo>
                  <a:cubicBezTo>
                    <a:pt x="415956" y="442143"/>
                    <a:pt x="410908" y="412711"/>
                    <a:pt x="407575" y="383088"/>
                  </a:cubicBezTo>
                  <a:cubicBezTo>
                    <a:pt x="406717" y="375563"/>
                    <a:pt x="410432" y="354703"/>
                    <a:pt x="400335" y="352989"/>
                  </a:cubicBezTo>
                  <a:close/>
                  <a:moveTo>
                    <a:pt x="557117" y="355084"/>
                  </a:moveTo>
                  <a:cubicBezTo>
                    <a:pt x="555117" y="355751"/>
                    <a:pt x="552640" y="352989"/>
                    <a:pt x="551878" y="352989"/>
                  </a:cubicBezTo>
                  <a:lnTo>
                    <a:pt x="468820" y="352989"/>
                  </a:lnTo>
                  <a:cubicBezTo>
                    <a:pt x="468153" y="352989"/>
                    <a:pt x="463486" y="357561"/>
                    <a:pt x="464153" y="359752"/>
                  </a:cubicBezTo>
                  <a:lnTo>
                    <a:pt x="478060" y="472528"/>
                  </a:lnTo>
                  <a:cubicBezTo>
                    <a:pt x="483870" y="481767"/>
                    <a:pt x="489394" y="475575"/>
                    <a:pt x="493776" y="475575"/>
                  </a:cubicBezTo>
                  <a:lnTo>
                    <a:pt x="553974" y="475575"/>
                  </a:lnTo>
                  <a:lnTo>
                    <a:pt x="557117" y="472432"/>
                  </a:lnTo>
                  <a:lnTo>
                    <a:pt x="557117" y="355084"/>
                  </a:lnTo>
                  <a:close/>
                  <a:moveTo>
                    <a:pt x="615315" y="355084"/>
                  </a:moveTo>
                  <a:lnTo>
                    <a:pt x="615315" y="472432"/>
                  </a:lnTo>
                  <a:lnTo>
                    <a:pt x="618458" y="475575"/>
                  </a:lnTo>
                  <a:lnTo>
                    <a:pt x="684943" y="475575"/>
                  </a:lnTo>
                  <a:cubicBezTo>
                    <a:pt x="686848" y="475575"/>
                    <a:pt x="690277" y="479195"/>
                    <a:pt x="694277" y="474528"/>
                  </a:cubicBezTo>
                  <a:cubicBezTo>
                    <a:pt x="699992" y="468146"/>
                    <a:pt x="701516" y="416425"/>
                    <a:pt x="702754" y="404043"/>
                  </a:cubicBezTo>
                  <a:cubicBezTo>
                    <a:pt x="703802" y="393661"/>
                    <a:pt x="711232" y="365086"/>
                    <a:pt x="708469" y="356418"/>
                  </a:cubicBezTo>
                  <a:cubicBezTo>
                    <a:pt x="707993" y="354894"/>
                    <a:pt x="706945" y="353846"/>
                    <a:pt x="705707" y="352989"/>
                  </a:cubicBezTo>
                  <a:lnTo>
                    <a:pt x="620553" y="352989"/>
                  </a:lnTo>
                  <a:cubicBezTo>
                    <a:pt x="619887" y="352989"/>
                    <a:pt x="617410" y="355751"/>
                    <a:pt x="615315" y="355084"/>
                  </a:cubicBezTo>
                  <a:close/>
                  <a:moveTo>
                    <a:pt x="855154" y="353084"/>
                  </a:moveTo>
                  <a:cubicBezTo>
                    <a:pt x="835247" y="349750"/>
                    <a:pt x="796385" y="353084"/>
                    <a:pt x="774192" y="353084"/>
                  </a:cubicBezTo>
                  <a:cubicBezTo>
                    <a:pt x="773620" y="353084"/>
                    <a:pt x="767143" y="355465"/>
                    <a:pt x="766857" y="356513"/>
                  </a:cubicBezTo>
                  <a:lnTo>
                    <a:pt x="756856" y="475290"/>
                  </a:lnTo>
                  <a:cubicBezTo>
                    <a:pt x="762762" y="479290"/>
                    <a:pt x="768096" y="475575"/>
                    <a:pt x="774097" y="475480"/>
                  </a:cubicBezTo>
                  <a:cubicBezTo>
                    <a:pt x="786574" y="475290"/>
                    <a:pt x="799147" y="475480"/>
                    <a:pt x="811625" y="475480"/>
                  </a:cubicBezTo>
                  <a:cubicBezTo>
                    <a:pt x="820483" y="475480"/>
                    <a:pt x="830389" y="481100"/>
                    <a:pt x="834961" y="467860"/>
                  </a:cubicBezTo>
                  <a:cubicBezTo>
                    <a:pt x="839057" y="455764"/>
                    <a:pt x="840962" y="434332"/>
                    <a:pt x="844296" y="421092"/>
                  </a:cubicBezTo>
                  <a:cubicBezTo>
                    <a:pt x="845534" y="416140"/>
                    <a:pt x="848392" y="411949"/>
                    <a:pt x="849439" y="407567"/>
                  </a:cubicBezTo>
                  <a:cubicBezTo>
                    <a:pt x="853249" y="391184"/>
                    <a:pt x="855821" y="374325"/>
                    <a:pt x="860298" y="358037"/>
                  </a:cubicBezTo>
                  <a:lnTo>
                    <a:pt x="860298" y="355275"/>
                  </a:lnTo>
                  <a:cubicBezTo>
                    <a:pt x="858298" y="355465"/>
                    <a:pt x="856297" y="353275"/>
                    <a:pt x="855154" y="3530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A9F9B28-A4D5-4F73-46BC-7CADA36CF56C}"/>
                </a:ext>
              </a:extLst>
            </p:cNvPr>
            <p:cNvSpPr/>
            <p:nvPr/>
          </p:nvSpPr>
          <p:spPr>
            <a:xfrm>
              <a:off x="-1734371" y="4349394"/>
              <a:ext cx="119738" cy="121102"/>
            </a:xfrm>
            <a:custGeom>
              <a:avLst/>
              <a:gdLst>
                <a:gd name="connsiteX0" fmla="*/ 50982 w 119738"/>
                <a:gd name="connsiteY0" fmla="*/ 591 h 121102"/>
                <a:gd name="connsiteX1" fmla="*/ 107275 w 119738"/>
                <a:gd name="connsiteY1" fmla="*/ 24308 h 121102"/>
                <a:gd name="connsiteX2" fmla="*/ 25551 w 119738"/>
                <a:gd name="connsiteY2" fmla="*/ 110128 h 121102"/>
                <a:gd name="connsiteX3" fmla="*/ 50982 w 119738"/>
                <a:gd name="connsiteY3" fmla="*/ 495 h 121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738" h="121102">
                  <a:moveTo>
                    <a:pt x="50982" y="591"/>
                  </a:moveTo>
                  <a:cubicBezTo>
                    <a:pt x="71080" y="-2648"/>
                    <a:pt x="95274" y="7734"/>
                    <a:pt x="107275" y="24308"/>
                  </a:cubicBezTo>
                  <a:cubicBezTo>
                    <a:pt x="148518" y="81458"/>
                    <a:pt x="78605" y="147657"/>
                    <a:pt x="25551" y="110128"/>
                  </a:cubicBezTo>
                  <a:cubicBezTo>
                    <a:pt x="-19122" y="78600"/>
                    <a:pt x="-1786" y="8973"/>
                    <a:pt x="50982" y="4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78C1212-66B2-8588-A0AB-4732FAD6634A}"/>
                </a:ext>
              </a:extLst>
            </p:cNvPr>
            <p:cNvSpPr/>
            <p:nvPr/>
          </p:nvSpPr>
          <p:spPr>
            <a:xfrm>
              <a:off x="-1366446" y="4349405"/>
              <a:ext cx="119479" cy="121260"/>
            </a:xfrm>
            <a:custGeom>
              <a:avLst/>
              <a:gdLst>
                <a:gd name="connsiteX0" fmla="*/ 23386 w 119479"/>
                <a:gd name="connsiteY0" fmla="*/ 106784 h 121260"/>
                <a:gd name="connsiteX1" fmla="*/ 88346 w 119479"/>
                <a:gd name="connsiteY1" fmla="*/ 7533 h 121260"/>
                <a:gd name="connsiteX2" fmla="*/ 23386 w 119479"/>
                <a:gd name="connsiteY2" fmla="*/ 106784 h 121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479" h="121260">
                  <a:moveTo>
                    <a:pt x="23386" y="106784"/>
                  </a:moveTo>
                  <a:cubicBezTo>
                    <a:pt x="-34240" y="62111"/>
                    <a:pt x="25100" y="-26281"/>
                    <a:pt x="88346" y="7533"/>
                  </a:cubicBezTo>
                  <a:cubicBezTo>
                    <a:pt x="160451" y="46014"/>
                    <a:pt x="94062" y="161553"/>
                    <a:pt x="23386" y="1067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96" name="Group 1095">
            <a:extLst>
              <a:ext uri="{FF2B5EF4-FFF2-40B4-BE49-F238E27FC236}">
                <a16:creationId xmlns:a16="http://schemas.microsoft.com/office/drawing/2014/main" id="{0EA1EE4D-6F48-DA0C-92C0-0426AC0316C0}"/>
              </a:ext>
            </a:extLst>
          </p:cNvPr>
          <p:cNvGrpSpPr/>
          <p:nvPr>
            <p:custDataLst>
              <p:tags r:id="rId37"/>
            </p:custDataLst>
          </p:nvPr>
        </p:nvGrpSpPr>
        <p:grpSpPr>
          <a:xfrm>
            <a:off x="1023999" y="1591292"/>
            <a:ext cx="454339" cy="244914"/>
            <a:chOff x="-2701374" y="1441080"/>
            <a:chExt cx="2283191" cy="1230766"/>
          </a:xfrm>
          <a:solidFill>
            <a:schemeClr val="tx2"/>
          </a:solidFill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BAAC357-D32E-4501-E71F-F51B10623F0E}"/>
                </a:ext>
              </a:extLst>
            </p:cNvPr>
            <p:cNvSpPr/>
            <p:nvPr/>
          </p:nvSpPr>
          <p:spPr>
            <a:xfrm>
              <a:off x="-2701374" y="1441080"/>
              <a:ext cx="2038208" cy="1230123"/>
            </a:xfrm>
            <a:custGeom>
              <a:avLst/>
              <a:gdLst>
                <a:gd name="connsiteX0" fmla="*/ 1969533 w 2038208"/>
                <a:gd name="connsiteY0" fmla="*/ 278766 h 1230123"/>
                <a:gd name="connsiteX1" fmla="*/ 1969533 w 2038208"/>
                <a:gd name="connsiteY1" fmla="*/ 76265 h 1230123"/>
                <a:gd name="connsiteX2" fmla="*/ 1964295 w 2038208"/>
                <a:gd name="connsiteY2" fmla="*/ 71026 h 1230123"/>
                <a:gd name="connsiteX3" fmla="*/ 284466 w 2038208"/>
                <a:gd name="connsiteY3" fmla="*/ 71026 h 1230123"/>
                <a:gd name="connsiteX4" fmla="*/ 281322 w 2038208"/>
                <a:gd name="connsiteY4" fmla="*/ 74169 h 1230123"/>
                <a:gd name="connsiteX5" fmla="*/ 281322 w 2038208"/>
                <a:gd name="connsiteY5" fmla="*/ 1052482 h 1230123"/>
                <a:gd name="connsiteX6" fmla="*/ 284466 w 2038208"/>
                <a:gd name="connsiteY6" fmla="*/ 1055625 h 1230123"/>
                <a:gd name="connsiteX7" fmla="*/ 1797226 w 2038208"/>
                <a:gd name="connsiteY7" fmla="*/ 1055625 h 1230123"/>
                <a:gd name="connsiteX8" fmla="*/ 1799417 w 2038208"/>
                <a:gd name="connsiteY8" fmla="*/ 1137731 h 1230123"/>
                <a:gd name="connsiteX9" fmla="*/ 1813038 w 2038208"/>
                <a:gd name="connsiteY9" fmla="*/ 1209073 h 1230123"/>
                <a:gd name="connsiteX10" fmla="*/ 1826277 w 2038208"/>
                <a:gd name="connsiteY10" fmla="*/ 1230123 h 1230123"/>
                <a:gd name="connsiteX11" fmla="*/ 60247 w 2038208"/>
                <a:gd name="connsiteY11" fmla="*/ 1230123 h 1230123"/>
                <a:gd name="connsiteX12" fmla="*/ 1002 w 2038208"/>
                <a:gd name="connsiteY12" fmla="*/ 1166877 h 1230123"/>
                <a:gd name="connsiteX13" fmla="*/ 20718 w 2038208"/>
                <a:gd name="connsiteY13" fmla="*/ 1126206 h 1230123"/>
                <a:gd name="connsiteX14" fmla="*/ 201503 w 2038208"/>
                <a:gd name="connsiteY14" fmla="*/ 1126206 h 1230123"/>
                <a:gd name="connsiteX15" fmla="*/ 210361 w 2038208"/>
                <a:gd name="connsiteY15" fmla="*/ 1123634 h 1230123"/>
                <a:gd name="connsiteX16" fmla="*/ 212742 w 2038208"/>
                <a:gd name="connsiteY16" fmla="*/ 1116776 h 1230123"/>
                <a:gd name="connsiteX17" fmla="*/ 212742 w 2038208"/>
                <a:gd name="connsiteY17" fmla="*/ 63692 h 1230123"/>
                <a:gd name="connsiteX18" fmla="*/ 262368 w 2038208"/>
                <a:gd name="connsiteY18" fmla="*/ 3113 h 1230123"/>
                <a:gd name="connsiteX19" fmla="*/ 1970772 w 2038208"/>
                <a:gd name="connsiteY19" fmla="*/ 351 h 1230123"/>
                <a:gd name="connsiteX20" fmla="*/ 2038209 w 2038208"/>
                <a:gd name="connsiteY20" fmla="*/ 61692 h 1230123"/>
                <a:gd name="connsiteX21" fmla="*/ 2038209 w 2038208"/>
                <a:gd name="connsiteY21" fmla="*/ 275623 h 1230123"/>
                <a:gd name="connsiteX22" fmla="*/ 2035065 w 2038208"/>
                <a:gd name="connsiteY22" fmla="*/ 278766 h 1230123"/>
                <a:gd name="connsiteX23" fmla="*/ 1969629 w 2038208"/>
                <a:gd name="connsiteY23" fmla="*/ 278766 h 1230123"/>
                <a:gd name="connsiteX24" fmla="*/ 933690 w 2038208"/>
                <a:gd name="connsiteY24" fmla="*/ 1126491 h 1230123"/>
                <a:gd name="connsiteX25" fmla="*/ 980076 w 2038208"/>
                <a:gd name="connsiteY25" fmla="*/ 1161543 h 1230123"/>
                <a:gd name="connsiteX26" fmla="*/ 1268779 w 2038208"/>
                <a:gd name="connsiteY26" fmla="*/ 1161448 h 1230123"/>
                <a:gd name="connsiteX27" fmla="*/ 1317738 w 2038208"/>
                <a:gd name="connsiteY27" fmla="*/ 1131349 h 1230123"/>
                <a:gd name="connsiteX28" fmla="*/ 1304212 w 2038208"/>
                <a:gd name="connsiteY28" fmla="*/ 1123920 h 1230123"/>
                <a:gd name="connsiteX29" fmla="*/ 1009128 w 2038208"/>
                <a:gd name="connsiteY29" fmla="*/ 1123920 h 1230123"/>
                <a:gd name="connsiteX30" fmla="*/ 933690 w 2038208"/>
                <a:gd name="connsiteY30" fmla="*/ 1126396 h 1230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38208" h="1230123">
                  <a:moveTo>
                    <a:pt x="1969533" y="278766"/>
                  </a:moveTo>
                  <a:lnTo>
                    <a:pt x="1969533" y="76265"/>
                  </a:lnTo>
                  <a:cubicBezTo>
                    <a:pt x="1969533" y="76265"/>
                    <a:pt x="1964676" y="71026"/>
                    <a:pt x="1964295" y="71026"/>
                  </a:cubicBezTo>
                  <a:lnTo>
                    <a:pt x="284466" y="71026"/>
                  </a:lnTo>
                  <a:lnTo>
                    <a:pt x="281322" y="74169"/>
                  </a:lnTo>
                  <a:lnTo>
                    <a:pt x="281322" y="1052482"/>
                  </a:lnTo>
                  <a:lnTo>
                    <a:pt x="284466" y="1055625"/>
                  </a:lnTo>
                  <a:lnTo>
                    <a:pt x="1797226" y="1055625"/>
                  </a:lnTo>
                  <a:cubicBezTo>
                    <a:pt x="1800274" y="1082676"/>
                    <a:pt x="1799226" y="1110394"/>
                    <a:pt x="1799417" y="1137731"/>
                  </a:cubicBezTo>
                  <a:cubicBezTo>
                    <a:pt x="1799607" y="1165068"/>
                    <a:pt x="1796178" y="1183165"/>
                    <a:pt x="1813038" y="1209073"/>
                  </a:cubicBezTo>
                  <a:cubicBezTo>
                    <a:pt x="1817991" y="1216598"/>
                    <a:pt x="1828087" y="1221170"/>
                    <a:pt x="1826277" y="1230123"/>
                  </a:cubicBezTo>
                  <a:lnTo>
                    <a:pt x="60247" y="1230123"/>
                  </a:lnTo>
                  <a:cubicBezTo>
                    <a:pt x="31482" y="1230123"/>
                    <a:pt x="3478" y="1194119"/>
                    <a:pt x="1002" y="1166877"/>
                  </a:cubicBezTo>
                  <a:cubicBezTo>
                    <a:pt x="-808" y="1147256"/>
                    <a:pt x="-2808" y="1128206"/>
                    <a:pt x="20718" y="1126206"/>
                  </a:cubicBezTo>
                  <a:cubicBezTo>
                    <a:pt x="78059" y="1121348"/>
                    <a:pt x="144924" y="1132302"/>
                    <a:pt x="201503" y="1126206"/>
                  </a:cubicBezTo>
                  <a:cubicBezTo>
                    <a:pt x="204646" y="1125920"/>
                    <a:pt x="207694" y="1125539"/>
                    <a:pt x="210361" y="1123634"/>
                  </a:cubicBezTo>
                  <a:lnTo>
                    <a:pt x="212742" y="1116776"/>
                  </a:lnTo>
                  <a:lnTo>
                    <a:pt x="212742" y="63692"/>
                  </a:lnTo>
                  <a:cubicBezTo>
                    <a:pt x="215219" y="34260"/>
                    <a:pt x="234936" y="12638"/>
                    <a:pt x="262368" y="3113"/>
                  </a:cubicBezTo>
                  <a:cubicBezTo>
                    <a:pt x="831391" y="-3174"/>
                    <a:pt x="1401367" y="2351"/>
                    <a:pt x="1970772" y="351"/>
                  </a:cubicBezTo>
                  <a:cubicBezTo>
                    <a:pt x="1999156" y="-411"/>
                    <a:pt x="2038209" y="33307"/>
                    <a:pt x="2038209" y="61692"/>
                  </a:cubicBezTo>
                  <a:lnTo>
                    <a:pt x="2038209" y="275623"/>
                  </a:lnTo>
                  <a:lnTo>
                    <a:pt x="2035065" y="278766"/>
                  </a:lnTo>
                  <a:lnTo>
                    <a:pt x="1969629" y="278766"/>
                  </a:lnTo>
                  <a:close/>
                  <a:moveTo>
                    <a:pt x="933690" y="1126491"/>
                  </a:moveTo>
                  <a:cubicBezTo>
                    <a:pt x="930165" y="1152399"/>
                    <a:pt x="960360" y="1159162"/>
                    <a:pt x="980076" y="1161543"/>
                  </a:cubicBezTo>
                  <a:cubicBezTo>
                    <a:pt x="1073993" y="1156114"/>
                    <a:pt x="1175720" y="1168592"/>
                    <a:pt x="1268779" y="1161448"/>
                  </a:cubicBezTo>
                  <a:cubicBezTo>
                    <a:pt x="1288401" y="1159924"/>
                    <a:pt x="1314023" y="1154304"/>
                    <a:pt x="1317738" y="1131349"/>
                  </a:cubicBezTo>
                  <a:cubicBezTo>
                    <a:pt x="1317166" y="1124872"/>
                    <a:pt x="1309260" y="1124396"/>
                    <a:pt x="1304212" y="1123920"/>
                  </a:cubicBezTo>
                  <a:cubicBezTo>
                    <a:pt x="1210486" y="1115442"/>
                    <a:pt x="1104187" y="1130587"/>
                    <a:pt x="1009128" y="1123920"/>
                  </a:cubicBezTo>
                  <a:cubicBezTo>
                    <a:pt x="998174" y="1126968"/>
                    <a:pt x="937500" y="1120300"/>
                    <a:pt x="933690" y="11263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E700525-ED89-AE9C-364A-807E13D70C36}"/>
                </a:ext>
              </a:extLst>
            </p:cNvPr>
            <p:cNvSpPr/>
            <p:nvPr/>
          </p:nvSpPr>
          <p:spPr>
            <a:xfrm>
              <a:off x="-1909555" y="1600118"/>
              <a:ext cx="666075" cy="807434"/>
            </a:xfrm>
            <a:custGeom>
              <a:avLst/>
              <a:gdLst>
                <a:gd name="connsiteX0" fmla="*/ 451814 w 666075"/>
                <a:gd name="connsiteY0" fmla="*/ 33718 h 807434"/>
                <a:gd name="connsiteX1" fmla="*/ 473722 w 666075"/>
                <a:gd name="connsiteY1" fmla="*/ 197548 h 807434"/>
                <a:gd name="connsiteX2" fmla="*/ 490009 w 666075"/>
                <a:gd name="connsiteY2" fmla="*/ 216789 h 807434"/>
                <a:gd name="connsiteX3" fmla="*/ 483056 w 666075"/>
                <a:gd name="connsiteY3" fmla="*/ 266986 h 807434"/>
                <a:gd name="connsiteX4" fmla="*/ 457719 w 666075"/>
                <a:gd name="connsiteY4" fmla="*/ 297751 h 807434"/>
                <a:gd name="connsiteX5" fmla="*/ 449052 w 666075"/>
                <a:gd name="connsiteY5" fmla="*/ 353473 h 807434"/>
                <a:gd name="connsiteX6" fmla="*/ 415809 w 666075"/>
                <a:gd name="connsiteY6" fmla="*/ 419862 h 807434"/>
                <a:gd name="connsiteX7" fmla="*/ 422477 w 666075"/>
                <a:gd name="connsiteY7" fmla="*/ 479584 h 807434"/>
                <a:gd name="connsiteX8" fmla="*/ 462482 w 666075"/>
                <a:gd name="connsiteY8" fmla="*/ 524732 h 807434"/>
                <a:gd name="connsiteX9" fmla="*/ 461625 w 666075"/>
                <a:gd name="connsiteY9" fmla="*/ 584073 h 807434"/>
                <a:gd name="connsiteX10" fmla="*/ 372756 w 666075"/>
                <a:gd name="connsiteY10" fmla="*/ 636365 h 807434"/>
                <a:gd name="connsiteX11" fmla="*/ 356469 w 666075"/>
                <a:gd name="connsiteY11" fmla="*/ 676180 h 807434"/>
                <a:gd name="connsiteX12" fmla="*/ 337990 w 666075"/>
                <a:gd name="connsiteY12" fmla="*/ 697230 h 807434"/>
                <a:gd name="connsiteX13" fmla="*/ 393330 w 666075"/>
                <a:gd name="connsiteY13" fmla="*/ 723519 h 807434"/>
                <a:gd name="connsiteX14" fmla="*/ 399236 w 666075"/>
                <a:gd name="connsiteY14" fmla="*/ 706469 h 807434"/>
                <a:gd name="connsiteX15" fmla="*/ 389139 w 666075"/>
                <a:gd name="connsiteY15" fmla="*/ 677894 h 807434"/>
                <a:gd name="connsiteX16" fmla="*/ 425430 w 666075"/>
                <a:gd name="connsiteY16" fmla="*/ 622649 h 807434"/>
                <a:gd name="connsiteX17" fmla="*/ 504773 w 666075"/>
                <a:gd name="connsiteY17" fmla="*/ 642366 h 807434"/>
                <a:gd name="connsiteX18" fmla="*/ 506106 w 666075"/>
                <a:gd name="connsiteY18" fmla="*/ 711708 h 807434"/>
                <a:gd name="connsiteX19" fmla="*/ 493629 w 666075"/>
                <a:gd name="connsiteY19" fmla="*/ 721995 h 807434"/>
                <a:gd name="connsiteX20" fmla="*/ 494676 w 666075"/>
                <a:gd name="connsiteY20" fmla="*/ 768763 h 807434"/>
                <a:gd name="connsiteX21" fmla="*/ 541825 w 666075"/>
                <a:gd name="connsiteY21" fmla="*/ 734092 h 807434"/>
                <a:gd name="connsiteX22" fmla="*/ 536110 w 666075"/>
                <a:gd name="connsiteY22" fmla="*/ 721042 h 807434"/>
                <a:gd name="connsiteX23" fmla="*/ 542397 w 666075"/>
                <a:gd name="connsiteY23" fmla="*/ 689896 h 807434"/>
                <a:gd name="connsiteX24" fmla="*/ 516584 w 666075"/>
                <a:gd name="connsiteY24" fmla="*/ 607790 h 807434"/>
                <a:gd name="connsiteX25" fmla="*/ 494772 w 666075"/>
                <a:gd name="connsiteY25" fmla="*/ 590169 h 807434"/>
                <a:gd name="connsiteX26" fmla="*/ 498963 w 666075"/>
                <a:gd name="connsiteY26" fmla="*/ 546544 h 807434"/>
                <a:gd name="connsiteX27" fmla="*/ 494772 w 666075"/>
                <a:gd name="connsiteY27" fmla="*/ 526923 h 807434"/>
                <a:gd name="connsiteX28" fmla="*/ 507821 w 666075"/>
                <a:gd name="connsiteY28" fmla="*/ 527304 h 807434"/>
                <a:gd name="connsiteX29" fmla="*/ 618311 w 666075"/>
                <a:gd name="connsiteY29" fmla="*/ 587121 h 807434"/>
                <a:gd name="connsiteX30" fmla="*/ 664984 w 666075"/>
                <a:gd name="connsiteY30" fmla="*/ 743998 h 807434"/>
                <a:gd name="connsiteX31" fmla="*/ 630789 w 666075"/>
                <a:gd name="connsiteY31" fmla="*/ 807434 h 807434"/>
                <a:gd name="connsiteX32" fmla="*/ 28428 w 666075"/>
                <a:gd name="connsiteY32" fmla="*/ 807434 h 807434"/>
                <a:gd name="connsiteX33" fmla="*/ 519 w 666075"/>
                <a:gd name="connsiteY33" fmla="*/ 756475 h 807434"/>
                <a:gd name="connsiteX34" fmla="*/ 29190 w 666075"/>
                <a:gd name="connsiteY34" fmla="*/ 612743 h 807434"/>
                <a:gd name="connsiteX35" fmla="*/ 177018 w 666075"/>
                <a:gd name="connsiteY35" fmla="*/ 522827 h 807434"/>
                <a:gd name="connsiteX36" fmla="*/ 177113 w 666075"/>
                <a:gd name="connsiteY36" fmla="*/ 548830 h 807434"/>
                <a:gd name="connsiteX37" fmla="*/ 179304 w 666075"/>
                <a:gd name="connsiteY37" fmla="*/ 612934 h 807434"/>
                <a:gd name="connsiteX38" fmla="*/ 185304 w 666075"/>
                <a:gd name="connsiteY38" fmla="*/ 635984 h 807434"/>
                <a:gd name="connsiteX39" fmla="*/ 172731 w 666075"/>
                <a:gd name="connsiteY39" fmla="*/ 651034 h 807434"/>
                <a:gd name="connsiteX40" fmla="*/ 248646 w 666075"/>
                <a:gd name="connsiteY40" fmla="*/ 713994 h 807434"/>
                <a:gd name="connsiteX41" fmla="*/ 231024 w 666075"/>
                <a:gd name="connsiteY41" fmla="*/ 633984 h 807434"/>
                <a:gd name="connsiteX42" fmla="*/ 216927 w 666075"/>
                <a:gd name="connsiteY42" fmla="*/ 630460 h 807434"/>
                <a:gd name="connsiteX43" fmla="*/ 208164 w 666075"/>
                <a:gd name="connsiteY43" fmla="*/ 596646 h 807434"/>
                <a:gd name="connsiteX44" fmla="*/ 217689 w 666075"/>
                <a:gd name="connsiteY44" fmla="*/ 508540 h 807434"/>
                <a:gd name="connsiteX45" fmla="*/ 243597 w 666075"/>
                <a:gd name="connsiteY45" fmla="*/ 480441 h 807434"/>
                <a:gd name="connsiteX46" fmla="*/ 249789 w 666075"/>
                <a:gd name="connsiteY46" fmla="*/ 415861 h 807434"/>
                <a:gd name="connsiteX47" fmla="*/ 216356 w 666075"/>
                <a:gd name="connsiteY47" fmla="*/ 351663 h 807434"/>
                <a:gd name="connsiteX48" fmla="*/ 207783 w 666075"/>
                <a:gd name="connsiteY48" fmla="*/ 295846 h 807434"/>
                <a:gd name="connsiteX49" fmla="*/ 193686 w 666075"/>
                <a:gd name="connsiteY49" fmla="*/ 283083 h 807434"/>
                <a:gd name="connsiteX50" fmla="*/ 177875 w 666075"/>
                <a:gd name="connsiteY50" fmla="*/ 213360 h 807434"/>
                <a:gd name="connsiteX51" fmla="*/ 192639 w 666075"/>
                <a:gd name="connsiteY51" fmla="*/ 201073 h 807434"/>
                <a:gd name="connsiteX52" fmla="*/ 187876 w 666075"/>
                <a:gd name="connsiteY52" fmla="*/ 180784 h 807434"/>
                <a:gd name="connsiteX53" fmla="*/ 352182 w 666075"/>
                <a:gd name="connsiteY53" fmla="*/ 1905 h 807434"/>
                <a:gd name="connsiteX54" fmla="*/ 416286 w 666075"/>
                <a:gd name="connsiteY54" fmla="*/ 14668 h 807434"/>
                <a:gd name="connsiteX55" fmla="*/ 451909 w 666075"/>
                <a:gd name="connsiteY55" fmla="*/ 34099 h 80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66075" h="807434">
                  <a:moveTo>
                    <a:pt x="451814" y="33718"/>
                  </a:moveTo>
                  <a:cubicBezTo>
                    <a:pt x="491819" y="72009"/>
                    <a:pt x="489438" y="148209"/>
                    <a:pt x="473722" y="197548"/>
                  </a:cubicBezTo>
                  <a:cubicBezTo>
                    <a:pt x="474293" y="203549"/>
                    <a:pt x="487438" y="203930"/>
                    <a:pt x="490009" y="216789"/>
                  </a:cubicBezTo>
                  <a:cubicBezTo>
                    <a:pt x="491343" y="223742"/>
                    <a:pt x="485818" y="259556"/>
                    <a:pt x="483056" y="266986"/>
                  </a:cubicBezTo>
                  <a:cubicBezTo>
                    <a:pt x="478579" y="278987"/>
                    <a:pt x="459434" y="291846"/>
                    <a:pt x="457719" y="297751"/>
                  </a:cubicBezTo>
                  <a:cubicBezTo>
                    <a:pt x="453338" y="312706"/>
                    <a:pt x="455243" y="335089"/>
                    <a:pt x="449052" y="353473"/>
                  </a:cubicBezTo>
                  <a:cubicBezTo>
                    <a:pt x="441336" y="376523"/>
                    <a:pt x="418000" y="397478"/>
                    <a:pt x="415809" y="419862"/>
                  </a:cubicBezTo>
                  <a:cubicBezTo>
                    <a:pt x="414381" y="433673"/>
                    <a:pt x="416667" y="467296"/>
                    <a:pt x="422477" y="479584"/>
                  </a:cubicBezTo>
                  <a:cubicBezTo>
                    <a:pt x="430288" y="496252"/>
                    <a:pt x="454576" y="504634"/>
                    <a:pt x="462482" y="524732"/>
                  </a:cubicBezTo>
                  <a:cubicBezTo>
                    <a:pt x="466006" y="533686"/>
                    <a:pt x="468102" y="579310"/>
                    <a:pt x="461625" y="584073"/>
                  </a:cubicBezTo>
                  <a:cubicBezTo>
                    <a:pt x="423048" y="581406"/>
                    <a:pt x="390378" y="603218"/>
                    <a:pt x="372756" y="636365"/>
                  </a:cubicBezTo>
                  <a:cubicBezTo>
                    <a:pt x="366470" y="648271"/>
                    <a:pt x="362755" y="665702"/>
                    <a:pt x="356469" y="676180"/>
                  </a:cubicBezTo>
                  <a:cubicBezTo>
                    <a:pt x="352373" y="682942"/>
                    <a:pt x="341419" y="687324"/>
                    <a:pt x="337990" y="697230"/>
                  </a:cubicBezTo>
                  <a:cubicBezTo>
                    <a:pt x="326751" y="730091"/>
                    <a:pt x="374947" y="755428"/>
                    <a:pt x="393330" y="723519"/>
                  </a:cubicBezTo>
                  <a:cubicBezTo>
                    <a:pt x="395045" y="720566"/>
                    <a:pt x="399236" y="709612"/>
                    <a:pt x="399236" y="706469"/>
                  </a:cubicBezTo>
                  <a:cubicBezTo>
                    <a:pt x="399236" y="695801"/>
                    <a:pt x="387044" y="689038"/>
                    <a:pt x="389139" y="677894"/>
                  </a:cubicBezTo>
                  <a:cubicBezTo>
                    <a:pt x="392283" y="661702"/>
                    <a:pt x="410476" y="630650"/>
                    <a:pt x="425430" y="622649"/>
                  </a:cubicBezTo>
                  <a:cubicBezTo>
                    <a:pt x="449623" y="609600"/>
                    <a:pt x="492105" y="615982"/>
                    <a:pt x="504773" y="642366"/>
                  </a:cubicBezTo>
                  <a:cubicBezTo>
                    <a:pt x="512584" y="658558"/>
                    <a:pt x="512869" y="695230"/>
                    <a:pt x="506106" y="711708"/>
                  </a:cubicBezTo>
                  <a:cubicBezTo>
                    <a:pt x="503154" y="719042"/>
                    <a:pt x="498391" y="717899"/>
                    <a:pt x="493629" y="721995"/>
                  </a:cubicBezTo>
                  <a:cubicBezTo>
                    <a:pt x="477913" y="735711"/>
                    <a:pt x="478675" y="755428"/>
                    <a:pt x="494676" y="768763"/>
                  </a:cubicBezTo>
                  <a:cubicBezTo>
                    <a:pt x="519060" y="789146"/>
                    <a:pt x="550969" y="764476"/>
                    <a:pt x="541825" y="734092"/>
                  </a:cubicBezTo>
                  <a:cubicBezTo>
                    <a:pt x="540492" y="729520"/>
                    <a:pt x="536396" y="727710"/>
                    <a:pt x="536110" y="721042"/>
                  </a:cubicBezTo>
                  <a:cubicBezTo>
                    <a:pt x="535729" y="712565"/>
                    <a:pt x="541539" y="699516"/>
                    <a:pt x="542397" y="689896"/>
                  </a:cubicBezTo>
                  <a:cubicBezTo>
                    <a:pt x="544873" y="661797"/>
                    <a:pt x="537253" y="627888"/>
                    <a:pt x="516584" y="607790"/>
                  </a:cubicBezTo>
                  <a:cubicBezTo>
                    <a:pt x="510678" y="602075"/>
                    <a:pt x="496010" y="596360"/>
                    <a:pt x="494772" y="590169"/>
                  </a:cubicBezTo>
                  <a:cubicBezTo>
                    <a:pt x="492105" y="577215"/>
                    <a:pt x="500296" y="562070"/>
                    <a:pt x="498963" y="546544"/>
                  </a:cubicBezTo>
                  <a:cubicBezTo>
                    <a:pt x="498296" y="539115"/>
                    <a:pt x="495248" y="533971"/>
                    <a:pt x="494772" y="526923"/>
                  </a:cubicBezTo>
                  <a:cubicBezTo>
                    <a:pt x="499058" y="526923"/>
                    <a:pt x="503630" y="526351"/>
                    <a:pt x="507821" y="527304"/>
                  </a:cubicBezTo>
                  <a:cubicBezTo>
                    <a:pt x="532586" y="533114"/>
                    <a:pt x="600023" y="569023"/>
                    <a:pt x="618311" y="587121"/>
                  </a:cubicBezTo>
                  <a:cubicBezTo>
                    <a:pt x="652315" y="620744"/>
                    <a:pt x="662793" y="697420"/>
                    <a:pt x="664984" y="743998"/>
                  </a:cubicBezTo>
                  <a:cubicBezTo>
                    <a:pt x="666603" y="777240"/>
                    <a:pt x="671651" y="804196"/>
                    <a:pt x="630789" y="807434"/>
                  </a:cubicBezTo>
                  <a:lnTo>
                    <a:pt x="28428" y="807434"/>
                  </a:lnTo>
                  <a:cubicBezTo>
                    <a:pt x="-2624" y="804672"/>
                    <a:pt x="-624" y="781526"/>
                    <a:pt x="519" y="756475"/>
                  </a:cubicBezTo>
                  <a:cubicBezTo>
                    <a:pt x="2234" y="719042"/>
                    <a:pt x="12997" y="645795"/>
                    <a:pt x="29190" y="612743"/>
                  </a:cubicBezTo>
                  <a:cubicBezTo>
                    <a:pt x="51859" y="566356"/>
                    <a:pt x="130821" y="538353"/>
                    <a:pt x="177018" y="522827"/>
                  </a:cubicBezTo>
                  <a:cubicBezTo>
                    <a:pt x="176732" y="531495"/>
                    <a:pt x="177399" y="540258"/>
                    <a:pt x="177113" y="548830"/>
                  </a:cubicBezTo>
                  <a:cubicBezTo>
                    <a:pt x="176351" y="570547"/>
                    <a:pt x="176256" y="590836"/>
                    <a:pt x="179304" y="612934"/>
                  </a:cubicBezTo>
                  <a:cubicBezTo>
                    <a:pt x="180256" y="619411"/>
                    <a:pt x="185876" y="631317"/>
                    <a:pt x="185304" y="635984"/>
                  </a:cubicBezTo>
                  <a:cubicBezTo>
                    <a:pt x="184638" y="642271"/>
                    <a:pt x="175113" y="647414"/>
                    <a:pt x="172731" y="651034"/>
                  </a:cubicBezTo>
                  <a:cubicBezTo>
                    <a:pt x="139680" y="701230"/>
                    <a:pt x="207307" y="756761"/>
                    <a:pt x="248646" y="713994"/>
                  </a:cubicBezTo>
                  <a:cubicBezTo>
                    <a:pt x="273506" y="688181"/>
                    <a:pt x="262838" y="647986"/>
                    <a:pt x="231024" y="633984"/>
                  </a:cubicBezTo>
                  <a:cubicBezTo>
                    <a:pt x="227214" y="632269"/>
                    <a:pt x="219690" y="633222"/>
                    <a:pt x="216927" y="630460"/>
                  </a:cubicBezTo>
                  <a:cubicBezTo>
                    <a:pt x="214737" y="628269"/>
                    <a:pt x="208641" y="601504"/>
                    <a:pt x="208164" y="596646"/>
                  </a:cubicBezTo>
                  <a:cubicBezTo>
                    <a:pt x="205974" y="572833"/>
                    <a:pt x="205021" y="528352"/>
                    <a:pt x="217689" y="508540"/>
                  </a:cubicBezTo>
                  <a:cubicBezTo>
                    <a:pt x="224547" y="497776"/>
                    <a:pt x="237882" y="491871"/>
                    <a:pt x="243597" y="480441"/>
                  </a:cubicBezTo>
                  <a:cubicBezTo>
                    <a:pt x="251027" y="465487"/>
                    <a:pt x="251503" y="432625"/>
                    <a:pt x="249789" y="415861"/>
                  </a:cubicBezTo>
                  <a:cubicBezTo>
                    <a:pt x="248074" y="397859"/>
                    <a:pt x="222833" y="372237"/>
                    <a:pt x="216356" y="351663"/>
                  </a:cubicBezTo>
                  <a:cubicBezTo>
                    <a:pt x="211212" y="335089"/>
                    <a:pt x="212451" y="308800"/>
                    <a:pt x="207783" y="295846"/>
                  </a:cubicBezTo>
                  <a:cubicBezTo>
                    <a:pt x="206736" y="292989"/>
                    <a:pt x="196163" y="286036"/>
                    <a:pt x="193686" y="283083"/>
                  </a:cubicBezTo>
                  <a:cubicBezTo>
                    <a:pt x="181209" y="268319"/>
                    <a:pt x="173398" y="231648"/>
                    <a:pt x="177875" y="213360"/>
                  </a:cubicBezTo>
                  <a:cubicBezTo>
                    <a:pt x="180828" y="201358"/>
                    <a:pt x="189591" y="206026"/>
                    <a:pt x="192639" y="201073"/>
                  </a:cubicBezTo>
                  <a:cubicBezTo>
                    <a:pt x="197020" y="193929"/>
                    <a:pt x="189400" y="186976"/>
                    <a:pt x="187876" y="180784"/>
                  </a:cubicBezTo>
                  <a:cubicBezTo>
                    <a:pt x="161016" y="64389"/>
                    <a:pt x="235120" y="-13335"/>
                    <a:pt x="352182" y="1905"/>
                  </a:cubicBezTo>
                  <a:cubicBezTo>
                    <a:pt x="373138" y="4667"/>
                    <a:pt x="394759" y="10954"/>
                    <a:pt x="416286" y="14668"/>
                  </a:cubicBezTo>
                  <a:cubicBezTo>
                    <a:pt x="429144" y="16859"/>
                    <a:pt x="442575" y="25146"/>
                    <a:pt x="451909" y="3409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9526715-FC7F-422D-72DA-F76FDB911A98}"/>
                </a:ext>
              </a:extLst>
            </p:cNvPr>
            <p:cNvSpPr/>
            <p:nvPr/>
          </p:nvSpPr>
          <p:spPr>
            <a:xfrm>
              <a:off x="-881288" y="1742802"/>
              <a:ext cx="463105" cy="929044"/>
            </a:xfrm>
            <a:custGeom>
              <a:avLst/>
              <a:gdLst>
                <a:gd name="connsiteX0" fmla="*/ 68008 w 463105"/>
                <a:gd name="connsiteY0" fmla="*/ 381 h 929044"/>
                <a:gd name="connsiteX1" fmla="*/ 397478 w 463105"/>
                <a:gd name="connsiteY1" fmla="*/ 0 h 929044"/>
                <a:gd name="connsiteX2" fmla="*/ 462058 w 463105"/>
                <a:gd name="connsiteY2" fmla="*/ 51721 h 929044"/>
                <a:gd name="connsiteX3" fmla="*/ 463105 w 463105"/>
                <a:gd name="connsiteY3" fmla="*/ 871252 h 929044"/>
                <a:gd name="connsiteX4" fmla="*/ 417481 w 463105"/>
                <a:gd name="connsiteY4" fmla="*/ 925259 h 929044"/>
                <a:gd name="connsiteX5" fmla="*/ 47720 w 463105"/>
                <a:gd name="connsiteY5" fmla="*/ 925259 h 929044"/>
                <a:gd name="connsiteX6" fmla="*/ 0 w 463105"/>
                <a:gd name="connsiteY6" fmla="*/ 858774 h 929044"/>
                <a:gd name="connsiteX7" fmla="*/ 0 w 463105"/>
                <a:gd name="connsiteY7" fmla="*/ 71533 h 929044"/>
                <a:gd name="connsiteX8" fmla="*/ 68104 w 463105"/>
                <a:gd name="connsiteY8" fmla="*/ 381 h 929044"/>
                <a:gd name="connsiteX9" fmla="*/ 119920 w 463105"/>
                <a:gd name="connsiteY9" fmla="*/ 41815 h 929044"/>
                <a:gd name="connsiteX10" fmla="*/ 44482 w 463105"/>
                <a:gd name="connsiteY10" fmla="*/ 51625 h 929044"/>
                <a:gd name="connsiteX11" fmla="*/ 35338 w 463105"/>
                <a:gd name="connsiteY11" fmla="*/ 94393 h 929044"/>
                <a:gd name="connsiteX12" fmla="*/ 35338 w 463105"/>
                <a:gd name="connsiteY12" fmla="*/ 536639 h 929044"/>
                <a:gd name="connsiteX13" fmla="*/ 32956 w 463105"/>
                <a:gd name="connsiteY13" fmla="*/ 844105 h 929044"/>
                <a:gd name="connsiteX14" fmla="*/ 67342 w 463105"/>
                <a:gd name="connsiteY14" fmla="*/ 890873 h 929044"/>
                <a:gd name="connsiteX15" fmla="*/ 402812 w 463105"/>
                <a:gd name="connsiteY15" fmla="*/ 889826 h 929044"/>
                <a:gd name="connsiteX16" fmla="*/ 431863 w 463105"/>
                <a:gd name="connsiteY16" fmla="*/ 848297 h 929044"/>
                <a:gd name="connsiteX17" fmla="*/ 431863 w 463105"/>
                <a:gd name="connsiteY17" fmla="*/ 81725 h 929044"/>
                <a:gd name="connsiteX18" fmla="*/ 355949 w 463105"/>
                <a:gd name="connsiteY18" fmla="*/ 39148 h 929044"/>
                <a:gd name="connsiteX19" fmla="*/ 339757 w 463105"/>
                <a:gd name="connsiteY19" fmla="*/ 61436 h 929044"/>
                <a:gd name="connsiteX20" fmla="*/ 322517 w 463105"/>
                <a:gd name="connsiteY20" fmla="*/ 70199 h 929044"/>
                <a:gd name="connsiteX21" fmla="*/ 144113 w 463105"/>
                <a:gd name="connsiteY21" fmla="*/ 70390 h 929044"/>
                <a:gd name="connsiteX22" fmla="*/ 119825 w 463105"/>
                <a:gd name="connsiteY22" fmla="*/ 41720 h 929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63105" h="929044">
                  <a:moveTo>
                    <a:pt x="68008" y="381"/>
                  </a:moveTo>
                  <a:lnTo>
                    <a:pt x="397478" y="0"/>
                  </a:lnTo>
                  <a:cubicBezTo>
                    <a:pt x="427958" y="5906"/>
                    <a:pt x="451009" y="22003"/>
                    <a:pt x="462058" y="51721"/>
                  </a:cubicBezTo>
                  <a:lnTo>
                    <a:pt x="463105" y="871252"/>
                  </a:lnTo>
                  <a:cubicBezTo>
                    <a:pt x="457105" y="897255"/>
                    <a:pt x="440817" y="913829"/>
                    <a:pt x="417481" y="925259"/>
                  </a:cubicBezTo>
                  <a:cubicBezTo>
                    <a:pt x="294989" y="930307"/>
                    <a:pt x="170212" y="930307"/>
                    <a:pt x="47720" y="925259"/>
                  </a:cubicBezTo>
                  <a:cubicBezTo>
                    <a:pt x="19812" y="912019"/>
                    <a:pt x="3810" y="889730"/>
                    <a:pt x="0" y="858774"/>
                  </a:cubicBezTo>
                  <a:lnTo>
                    <a:pt x="0" y="71533"/>
                  </a:lnTo>
                  <a:cubicBezTo>
                    <a:pt x="3715" y="32766"/>
                    <a:pt x="29813" y="5810"/>
                    <a:pt x="68104" y="381"/>
                  </a:cubicBezTo>
                  <a:close/>
                  <a:moveTo>
                    <a:pt x="119920" y="41815"/>
                  </a:moveTo>
                  <a:cubicBezTo>
                    <a:pt x="97060" y="38481"/>
                    <a:pt x="61817" y="33147"/>
                    <a:pt x="44482" y="51625"/>
                  </a:cubicBezTo>
                  <a:cubicBezTo>
                    <a:pt x="30861" y="66199"/>
                    <a:pt x="36385" y="76867"/>
                    <a:pt x="35338" y="94393"/>
                  </a:cubicBezTo>
                  <a:cubicBezTo>
                    <a:pt x="26289" y="240506"/>
                    <a:pt x="35052" y="390335"/>
                    <a:pt x="35338" y="536639"/>
                  </a:cubicBezTo>
                  <a:cubicBezTo>
                    <a:pt x="35528" y="639032"/>
                    <a:pt x="32766" y="741997"/>
                    <a:pt x="32956" y="844105"/>
                  </a:cubicBezTo>
                  <a:cubicBezTo>
                    <a:pt x="32956" y="867728"/>
                    <a:pt x="43625" y="885158"/>
                    <a:pt x="67342" y="890873"/>
                  </a:cubicBezTo>
                  <a:lnTo>
                    <a:pt x="402812" y="889826"/>
                  </a:lnTo>
                  <a:cubicBezTo>
                    <a:pt x="422719" y="882015"/>
                    <a:pt x="430244" y="869251"/>
                    <a:pt x="431863" y="848297"/>
                  </a:cubicBezTo>
                  <a:lnTo>
                    <a:pt x="431863" y="81725"/>
                  </a:lnTo>
                  <a:cubicBezTo>
                    <a:pt x="431292" y="37814"/>
                    <a:pt x="390715" y="35147"/>
                    <a:pt x="355949" y="39148"/>
                  </a:cubicBezTo>
                  <a:cubicBezTo>
                    <a:pt x="336899" y="41339"/>
                    <a:pt x="346043" y="53435"/>
                    <a:pt x="339757" y="61436"/>
                  </a:cubicBezTo>
                  <a:cubicBezTo>
                    <a:pt x="337090" y="64865"/>
                    <a:pt x="327184" y="69628"/>
                    <a:pt x="322517" y="70199"/>
                  </a:cubicBezTo>
                  <a:cubicBezTo>
                    <a:pt x="266129" y="65818"/>
                    <a:pt x="199263" y="76676"/>
                    <a:pt x="144113" y="70390"/>
                  </a:cubicBezTo>
                  <a:cubicBezTo>
                    <a:pt x="127825" y="68485"/>
                    <a:pt x="120872" y="57341"/>
                    <a:pt x="119825" y="41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4" name="Freeform: Shape 1093">
              <a:extLst>
                <a:ext uri="{FF2B5EF4-FFF2-40B4-BE49-F238E27FC236}">
                  <a16:creationId xmlns:a16="http://schemas.microsoft.com/office/drawing/2014/main" id="{67AC0B05-7256-974E-109B-99C493C8310C}"/>
                </a:ext>
              </a:extLst>
            </p:cNvPr>
            <p:cNvSpPr/>
            <p:nvPr/>
          </p:nvSpPr>
          <p:spPr>
            <a:xfrm>
              <a:off x="-812541" y="2035315"/>
              <a:ext cx="329064" cy="341947"/>
            </a:xfrm>
            <a:custGeom>
              <a:avLst/>
              <a:gdLst>
                <a:gd name="connsiteX0" fmla="*/ 75556 w 329064"/>
                <a:gd name="connsiteY0" fmla="*/ 197549 h 341947"/>
                <a:gd name="connsiteX1" fmla="*/ 62126 w 329064"/>
                <a:gd name="connsiteY1" fmla="*/ 188214 h 341947"/>
                <a:gd name="connsiteX2" fmla="*/ 94892 w 329064"/>
                <a:gd name="connsiteY2" fmla="*/ 34100 h 341947"/>
                <a:gd name="connsiteX3" fmla="*/ 144136 w 329064"/>
                <a:gd name="connsiteY3" fmla="*/ 95 h 341947"/>
                <a:gd name="connsiteX4" fmla="*/ 164901 w 329064"/>
                <a:gd name="connsiteY4" fmla="*/ 4477 h 341947"/>
                <a:gd name="connsiteX5" fmla="*/ 181474 w 329064"/>
                <a:gd name="connsiteY5" fmla="*/ 0 h 341947"/>
                <a:gd name="connsiteX6" fmla="*/ 228242 w 329064"/>
                <a:gd name="connsiteY6" fmla="*/ 26194 h 341947"/>
                <a:gd name="connsiteX7" fmla="*/ 247483 w 329064"/>
                <a:gd name="connsiteY7" fmla="*/ 146114 h 341947"/>
                <a:gd name="connsiteX8" fmla="*/ 265676 w 329064"/>
                <a:gd name="connsiteY8" fmla="*/ 186214 h 341947"/>
                <a:gd name="connsiteX9" fmla="*/ 264342 w 329064"/>
                <a:gd name="connsiteY9" fmla="*/ 191452 h 341947"/>
                <a:gd name="connsiteX10" fmla="*/ 231386 w 329064"/>
                <a:gd name="connsiteY10" fmla="*/ 199644 h 341947"/>
                <a:gd name="connsiteX11" fmla="*/ 203477 w 329064"/>
                <a:gd name="connsiteY11" fmla="*/ 208788 h 341947"/>
                <a:gd name="connsiteX12" fmla="*/ 284154 w 329064"/>
                <a:gd name="connsiteY12" fmla="*/ 271558 h 341947"/>
                <a:gd name="connsiteX13" fmla="*/ 325016 w 329064"/>
                <a:gd name="connsiteY13" fmla="*/ 341090 h 341947"/>
                <a:gd name="connsiteX14" fmla="*/ 4024 w 329064"/>
                <a:gd name="connsiteY14" fmla="*/ 341948 h 341947"/>
                <a:gd name="connsiteX15" fmla="*/ 57554 w 329064"/>
                <a:gd name="connsiteY15" fmla="*/ 264605 h 341947"/>
                <a:gd name="connsiteX16" fmla="*/ 121848 w 329064"/>
                <a:gd name="connsiteY16" fmla="*/ 220885 h 341947"/>
                <a:gd name="connsiteX17" fmla="*/ 121372 w 329064"/>
                <a:gd name="connsiteY17" fmla="*/ 197549 h 341947"/>
                <a:gd name="connsiteX18" fmla="*/ 75652 w 329064"/>
                <a:gd name="connsiteY18" fmla="*/ 197549 h 341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9064" h="341947">
                  <a:moveTo>
                    <a:pt x="75556" y="197549"/>
                  </a:moveTo>
                  <a:cubicBezTo>
                    <a:pt x="74699" y="197358"/>
                    <a:pt x="62126" y="189167"/>
                    <a:pt x="62126" y="188214"/>
                  </a:cubicBezTo>
                  <a:cubicBezTo>
                    <a:pt x="99274" y="145161"/>
                    <a:pt x="68127" y="80581"/>
                    <a:pt x="94892" y="34100"/>
                  </a:cubicBezTo>
                  <a:cubicBezTo>
                    <a:pt x="103369" y="19431"/>
                    <a:pt x="127182" y="1333"/>
                    <a:pt x="144136" y="95"/>
                  </a:cubicBezTo>
                  <a:cubicBezTo>
                    <a:pt x="152614" y="-476"/>
                    <a:pt x="158424" y="4572"/>
                    <a:pt x="164901" y="4477"/>
                  </a:cubicBezTo>
                  <a:cubicBezTo>
                    <a:pt x="170521" y="4477"/>
                    <a:pt x="174521" y="0"/>
                    <a:pt x="181474" y="0"/>
                  </a:cubicBezTo>
                  <a:cubicBezTo>
                    <a:pt x="195190" y="0"/>
                    <a:pt x="219765" y="15431"/>
                    <a:pt x="228242" y="26194"/>
                  </a:cubicBezTo>
                  <a:cubicBezTo>
                    <a:pt x="254912" y="60198"/>
                    <a:pt x="240148" y="106108"/>
                    <a:pt x="247483" y="146114"/>
                  </a:cubicBezTo>
                  <a:cubicBezTo>
                    <a:pt x="249864" y="159258"/>
                    <a:pt x="255198" y="178308"/>
                    <a:pt x="265676" y="186214"/>
                  </a:cubicBezTo>
                  <a:lnTo>
                    <a:pt x="264342" y="191452"/>
                  </a:lnTo>
                  <a:cubicBezTo>
                    <a:pt x="258436" y="196025"/>
                    <a:pt x="239006" y="199454"/>
                    <a:pt x="231386" y="199644"/>
                  </a:cubicBezTo>
                  <a:cubicBezTo>
                    <a:pt x="220336" y="199835"/>
                    <a:pt x="201477" y="189262"/>
                    <a:pt x="203477" y="208788"/>
                  </a:cubicBezTo>
                  <a:cubicBezTo>
                    <a:pt x="207573" y="248031"/>
                    <a:pt x="255389" y="255175"/>
                    <a:pt x="284154" y="271558"/>
                  </a:cubicBezTo>
                  <a:cubicBezTo>
                    <a:pt x="307205" y="284702"/>
                    <a:pt x="340732" y="311848"/>
                    <a:pt x="325016" y="341090"/>
                  </a:cubicBezTo>
                  <a:lnTo>
                    <a:pt x="4024" y="341948"/>
                  </a:lnTo>
                  <a:cubicBezTo>
                    <a:pt x="-13312" y="304705"/>
                    <a:pt x="29265" y="279083"/>
                    <a:pt x="57554" y="264605"/>
                  </a:cubicBezTo>
                  <a:cubicBezTo>
                    <a:pt x="78605" y="253841"/>
                    <a:pt x="113942" y="246221"/>
                    <a:pt x="121848" y="220885"/>
                  </a:cubicBezTo>
                  <a:cubicBezTo>
                    <a:pt x="122991" y="217170"/>
                    <a:pt x="127182" y="197549"/>
                    <a:pt x="121372" y="197549"/>
                  </a:cubicBezTo>
                  <a:cubicBezTo>
                    <a:pt x="110323" y="197549"/>
                    <a:pt x="84415" y="199644"/>
                    <a:pt x="75652" y="19754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17" name="Group 1116">
            <a:extLst>
              <a:ext uri="{FF2B5EF4-FFF2-40B4-BE49-F238E27FC236}">
                <a16:creationId xmlns:a16="http://schemas.microsoft.com/office/drawing/2014/main" id="{037D1ED3-ECC7-8A63-446E-B72C65EF4DA0}"/>
              </a:ext>
            </a:extLst>
          </p:cNvPr>
          <p:cNvGrpSpPr/>
          <p:nvPr>
            <p:custDataLst>
              <p:tags r:id="rId38"/>
            </p:custDataLst>
          </p:nvPr>
        </p:nvGrpSpPr>
        <p:grpSpPr>
          <a:xfrm>
            <a:off x="1072439" y="3146911"/>
            <a:ext cx="357459" cy="355856"/>
            <a:chOff x="-2432210" y="2716680"/>
            <a:chExt cx="1314449" cy="1308553"/>
          </a:xfrm>
          <a:solidFill>
            <a:schemeClr val="tx2"/>
          </a:solidFill>
        </p:grpSpPr>
        <p:sp>
          <p:nvSpPr>
            <p:cNvPr id="1107" name="Freeform: Shape 1106">
              <a:extLst>
                <a:ext uri="{FF2B5EF4-FFF2-40B4-BE49-F238E27FC236}">
                  <a16:creationId xmlns:a16="http://schemas.microsoft.com/office/drawing/2014/main" id="{515B8192-8ED3-F147-7D11-0A16D8B5345E}"/>
                </a:ext>
              </a:extLst>
            </p:cNvPr>
            <p:cNvSpPr/>
            <p:nvPr/>
          </p:nvSpPr>
          <p:spPr>
            <a:xfrm>
              <a:off x="-2353707" y="3554659"/>
              <a:ext cx="1156224" cy="470574"/>
            </a:xfrm>
            <a:custGeom>
              <a:avLst/>
              <a:gdLst>
                <a:gd name="connsiteX0" fmla="*/ 1156155 w 1156224"/>
                <a:gd name="connsiteY0" fmla="*/ 2046 h 470574"/>
                <a:gd name="connsiteX1" fmla="*/ 1156155 w 1156224"/>
                <a:gd name="connsiteY1" fmla="*/ 466992 h 470574"/>
                <a:gd name="connsiteX2" fmla="*/ 1152010 w 1156224"/>
                <a:gd name="connsiteY2" fmla="*/ 470575 h 470574"/>
                <a:gd name="connsiteX3" fmla="*/ 5521 w 1156224"/>
                <a:gd name="connsiteY3" fmla="*/ 470083 h 470574"/>
                <a:gd name="connsiteX4" fmla="*/ 1728 w 1156224"/>
                <a:gd name="connsiteY4" fmla="*/ 467694 h 470574"/>
                <a:gd name="connsiteX5" fmla="*/ 1095 w 1156224"/>
                <a:gd name="connsiteY5" fmla="*/ 17923 h 470574"/>
                <a:gd name="connsiteX6" fmla="*/ 1306 w 1156224"/>
                <a:gd name="connsiteY6" fmla="*/ 2186 h 470574"/>
                <a:gd name="connsiteX7" fmla="*/ 13952 w 1156224"/>
                <a:gd name="connsiteY7" fmla="*/ 289 h 470574"/>
                <a:gd name="connsiteX8" fmla="*/ 1123416 w 1156224"/>
                <a:gd name="connsiteY8" fmla="*/ 1765 h 470574"/>
                <a:gd name="connsiteX9" fmla="*/ 1156225 w 1156224"/>
                <a:gd name="connsiteY9" fmla="*/ 1905 h 470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6224" h="470574">
                  <a:moveTo>
                    <a:pt x="1156155" y="2046"/>
                  </a:moveTo>
                  <a:lnTo>
                    <a:pt x="1156155" y="466992"/>
                  </a:lnTo>
                  <a:cubicBezTo>
                    <a:pt x="1156155" y="467484"/>
                    <a:pt x="1153063" y="470364"/>
                    <a:pt x="1152010" y="470575"/>
                  </a:cubicBezTo>
                  <a:lnTo>
                    <a:pt x="5521" y="470083"/>
                  </a:lnTo>
                  <a:lnTo>
                    <a:pt x="1728" y="467694"/>
                  </a:lnTo>
                  <a:cubicBezTo>
                    <a:pt x="-29" y="317981"/>
                    <a:pt x="1447" y="167847"/>
                    <a:pt x="1095" y="17923"/>
                  </a:cubicBezTo>
                  <a:cubicBezTo>
                    <a:pt x="1095" y="12443"/>
                    <a:pt x="-1504" y="7596"/>
                    <a:pt x="1306" y="2186"/>
                  </a:cubicBezTo>
                  <a:lnTo>
                    <a:pt x="13952" y="289"/>
                  </a:lnTo>
                  <a:cubicBezTo>
                    <a:pt x="383703" y="1694"/>
                    <a:pt x="753876" y="-2029"/>
                    <a:pt x="1123416" y="1765"/>
                  </a:cubicBezTo>
                  <a:cubicBezTo>
                    <a:pt x="1133533" y="1835"/>
                    <a:pt x="1145687" y="-2170"/>
                    <a:pt x="1156225" y="1905"/>
                  </a:cubicBezTo>
                  <a:close/>
                </a:path>
              </a:pathLst>
            </a:custGeom>
            <a:grpFill/>
            <a:ln w="70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0" name="Freeform: Shape 1109">
              <a:extLst>
                <a:ext uri="{FF2B5EF4-FFF2-40B4-BE49-F238E27FC236}">
                  <a16:creationId xmlns:a16="http://schemas.microsoft.com/office/drawing/2014/main" id="{3B392FF6-6380-FC9A-AB4B-A63231EA572E}"/>
                </a:ext>
              </a:extLst>
            </p:cNvPr>
            <p:cNvSpPr/>
            <p:nvPr/>
          </p:nvSpPr>
          <p:spPr>
            <a:xfrm>
              <a:off x="-2432210" y="3492065"/>
              <a:ext cx="1314449" cy="72160"/>
            </a:xfrm>
            <a:custGeom>
              <a:avLst/>
              <a:gdLst>
                <a:gd name="connsiteX0" fmla="*/ 1314327 w 1314449"/>
                <a:gd name="connsiteY0" fmla="*/ 0 h 72160"/>
                <a:gd name="connsiteX1" fmla="*/ 1305545 w 1314449"/>
                <a:gd name="connsiteY1" fmla="*/ 21147 h 72160"/>
                <a:gd name="connsiteX2" fmla="*/ 1293180 w 1314449"/>
                <a:gd name="connsiteY2" fmla="*/ 57820 h 72160"/>
                <a:gd name="connsiteX3" fmla="*/ 1282993 w 1314449"/>
                <a:gd name="connsiteY3" fmla="*/ 72152 h 72160"/>
                <a:gd name="connsiteX4" fmla="*/ 23535 w 1314449"/>
                <a:gd name="connsiteY4" fmla="*/ 72152 h 72160"/>
                <a:gd name="connsiteX5" fmla="*/ 14402 w 1314449"/>
                <a:gd name="connsiteY5" fmla="*/ 50583 h 72160"/>
                <a:gd name="connsiteX6" fmla="*/ 0 w 1314449"/>
                <a:gd name="connsiteY6" fmla="*/ 3653 h 72160"/>
                <a:gd name="connsiteX7" fmla="*/ 2108 w 1314449"/>
                <a:gd name="connsiteY7" fmla="*/ 70 h 72160"/>
                <a:gd name="connsiteX8" fmla="*/ 1314327 w 1314449"/>
                <a:gd name="connsiteY8" fmla="*/ 70 h 72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49" h="72160">
                  <a:moveTo>
                    <a:pt x="1314327" y="0"/>
                  </a:moveTo>
                  <a:cubicBezTo>
                    <a:pt x="1315591" y="1124"/>
                    <a:pt x="1306669" y="18266"/>
                    <a:pt x="1305545" y="21147"/>
                  </a:cubicBezTo>
                  <a:cubicBezTo>
                    <a:pt x="1301189" y="32739"/>
                    <a:pt x="1297957" y="46509"/>
                    <a:pt x="1293180" y="57820"/>
                  </a:cubicBezTo>
                  <a:cubicBezTo>
                    <a:pt x="1291283" y="62386"/>
                    <a:pt x="1287911" y="72503"/>
                    <a:pt x="1282993" y="72152"/>
                  </a:cubicBezTo>
                  <a:lnTo>
                    <a:pt x="23535" y="72152"/>
                  </a:lnTo>
                  <a:cubicBezTo>
                    <a:pt x="17423" y="70887"/>
                    <a:pt x="15878" y="55642"/>
                    <a:pt x="14402" y="50583"/>
                  </a:cubicBezTo>
                  <a:cubicBezTo>
                    <a:pt x="9836" y="34776"/>
                    <a:pt x="6112" y="19039"/>
                    <a:pt x="0" y="3653"/>
                  </a:cubicBezTo>
                  <a:lnTo>
                    <a:pt x="2108" y="70"/>
                  </a:lnTo>
                  <a:lnTo>
                    <a:pt x="1314327" y="70"/>
                  </a:lnTo>
                  <a:close/>
                </a:path>
              </a:pathLst>
            </a:custGeom>
            <a:grpFill/>
            <a:ln w="70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1" name="Freeform: Shape 1110">
              <a:extLst>
                <a:ext uri="{FF2B5EF4-FFF2-40B4-BE49-F238E27FC236}">
                  <a16:creationId xmlns:a16="http://schemas.microsoft.com/office/drawing/2014/main" id="{0DC511B4-901D-FCC1-58C1-2BFF85E8983A}"/>
                </a:ext>
              </a:extLst>
            </p:cNvPr>
            <p:cNvSpPr/>
            <p:nvPr/>
          </p:nvSpPr>
          <p:spPr>
            <a:xfrm>
              <a:off x="-2424693" y="3417857"/>
              <a:ext cx="1299221" cy="79739"/>
            </a:xfrm>
            <a:custGeom>
              <a:avLst/>
              <a:gdLst>
                <a:gd name="connsiteX0" fmla="*/ 1299152 w 1299221"/>
                <a:gd name="connsiteY0" fmla="*/ 75102 h 79739"/>
                <a:gd name="connsiteX1" fmla="*/ 1296623 w 1299221"/>
                <a:gd name="connsiteY1" fmla="*/ 79388 h 79739"/>
                <a:gd name="connsiteX2" fmla="*/ 8360 w 1299221"/>
                <a:gd name="connsiteY2" fmla="*/ 79739 h 79739"/>
                <a:gd name="connsiteX3" fmla="*/ 0 w 1299221"/>
                <a:gd name="connsiteY3" fmla="*/ 77351 h 79739"/>
                <a:gd name="connsiteX4" fmla="*/ 7869 w 1299221"/>
                <a:gd name="connsiteY4" fmla="*/ 69903 h 79739"/>
                <a:gd name="connsiteX5" fmla="*/ 45525 w 1299221"/>
                <a:gd name="connsiteY5" fmla="*/ 52410 h 79739"/>
                <a:gd name="connsiteX6" fmla="*/ 148940 w 1299221"/>
                <a:gd name="connsiteY6" fmla="*/ 1054 h 79739"/>
                <a:gd name="connsiteX7" fmla="*/ 1140657 w 1299221"/>
                <a:gd name="connsiteY7" fmla="*/ 0 h 79739"/>
                <a:gd name="connsiteX8" fmla="*/ 1272104 w 1299221"/>
                <a:gd name="connsiteY8" fmla="*/ 63089 h 79739"/>
                <a:gd name="connsiteX9" fmla="*/ 1299222 w 1299221"/>
                <a:gd name="connsiteY9" fmla="*/ 75032 h 79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9221" h="79739">
                  <a:moveTo>
                    <a:pt x="1299152" y="75102"/>
                  </a:moveTo>
                  <a:lnTo>
                    <a:pt x="1296623" y="79388"/>
                  </a:lnTo>
                  <a:lnTo>
                    <a:pt x="8360" y="79739"/>
                  </a:lnTo>
                  <a:lnTo>
                    <a:pt x="0" y="77351"/>
                  </a:lnTo>
                  <a:cubicBezTo>
                    <a:pt x="70" y="74892"/>
                    <a:pt x="5761" y="71168"/>
                    <a:pt x="7869" y="69903"/>
                  </a:cubicBezTo>
                  <a:cubicBezTo>
                    <a:pt x="19039" y="63159"/>
                    <a:pt x="33722" y="58311"/>
                    <a:pt x="45525" y="52410"/>
                  </a:cubicBezTo>
                  <a:cubicBezTo>
                    <a:pt x="79950" y="35198"/>
                    <a:pt x="113883" y="17072"/>
                    <a:pt x="148940" y="1054"/>
                  </a:cubicBezTo>
                  <a:lnTo>
                    <a:pt x="1140657" y="0"/>
                  </a:lnTo>
                  <a:cubicBezTo>
                    <a:pt x="1185058" y="18758"/>
                    <a:pt x="1228546" y="41661"/>
                    <a:pt x="1272104" y="63089"/>
                  </a:cubicBezTo>
                  <a:cubicBezTo>
                    <a:pt x="1280534" y="67234"/>
                    <a:pt x="1290721" y="70325"/>
                    <a:pt x="1299222" y="75032"/>
                  </a:cubicBezTo>
                  <a:close/>
                </a:path>
              </a:pathLst>
            </a:custGeom>
            <a:grpFill/>
            <a:ln w="70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2" name="Freeform: Shape 1111">
              <a:extLst>
                <a:ext uri="{FF2B5EF4-FFF2-40B4-BE49-F238E27FC236}">
                  <a16:creationId xmlns:a16="http://schemas.microsoft.com/office/drawing/2014/main" id="{FEF6E39E-0B1D-25A5-4F44-00C74BAFF03B}"/>
                </a:ext>
              </a:extLst>
            </p:cNvPr>
            <p:cNvSpPr/>
            <p:nvPr/>
          </p:nvSpPr>
          <p:spPr>
            <a:xfrm>
              <a:off x="-1660321" y="3099321"/>
              <a:ext cx="326333" cy="271113"/>
            </a:xfrm>
            <a:custGeom>
              <a:avLst/>
              <a:gdLst>
                <a:gd name="connsiteX0" fmla="*/ 223761 w 326333"/>
                <a:gd name="connsiteY0" fmla="*/ 260364 h 271113"/>
                <a:gd name="connsiteX1" fmla="*/ 256711 w 326333"/>
                <a:gd name="connsiteY1" fmla="*/ 260364 h 271113"/>
                <a:gd name="connsiteX2" fmla="*/ 260645 w 326333"/>
                <a:gd name="connsiteY2" fmla="*/ 262964 h 271113"/>
                <a:gd name="connsiteX3" fmla="*/ 258257 w 326333"/>
                <a:gd name="connsiteY3" fmla="*/ 271113 h 271113"/>
                <a:gd name="connsiteX4" fmla="*/ 65969 w 326333"/>
                <a:gd name="connsiteY4" fmla="*/ 271113 h 271113"/>
                <a:gd name="connsiteX5" fmla="*/ 65829 w 326333"/>
                <a:gd name="connsiteY5" fmla="*/ 262964 h 271113"/>
                <a:gd name="connsiteX6" fmla="*/ 71309 w 326333"/>
                <a:gd name="connsiteY6" fmla="*/ 260435 h 271113"/>
                <a:gd name="connsiteX7" fmla="*/ 101167 w 326333"/>
                <a:gd name="connsiteY7" fmla="*/ 260435 h 271113"/>
                <a:gd name="connsiteX8" fmla="*/ 98849 w 326333"/>
                <a:gd name="connsiteY8" fmla="*/ 229803 h 271113"/>
                <a:gd name="connsiteX9" fmla="*/ 2318 w 326333"/>
                <a:gd name="connsiteY9" fmla="*/ 229803 h 271113"/>
                <a:gd name="connsiteX10" fmla="*/ 0 w 326333"/>
                <a:gd name="connsiteY10" fmla="*/ 227485 h 271113"/>
                <a:gd name="connsiteX11" fmla="*/ 0 w 326333"/>
                <a:gd name="connsiteY11" fmla="*/ 5339 h 271113"/>
                <a:gd name="connsiteX12" fmla="*/ 1546 w 326333"/>
                <a:gd name="connsiteY12" fmla="*/ 0 h 271113"/>
                <a:gd name="connsiteX13" fmla="*/ 324015 w 326333"/>
                <a:gd name="connsiteY13" fmla="*/ 0 h 271113"/>
                <a:gd name="connsiteX14" fmla="*/ 326334 w 326333"/>
                <a:gd name="connsiteY14" fmla="*/ 2318 h 271113"/>
                <a:gd name="connsiteX15" fmla="*/ 326334 w 326333"/>
                <a:gd name="connsiteY15" fmla="*/ 227555 h 271113"/>
                <a:gd name="connsiteX16" fmla="*/ 324015 w 326333"/>
                <a:gd name="connsiteY16" fmla="*/ 229874 h 271113"/>
                <a:gd name="connsiteX17" fmla="*/ 225940 w 326333"/>
                <a:gd name="connsiteY17" fmla="*/ 229874 h 271113"/>
                <a:gd name="connsiteX18" fmla="*/ 223621 w 326333"/>
                <a:gd name="connsiteY18" fmla="*/ 260505 h 27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6333" h="271113">
                  <a:moveTo>
                    <a:pt x="223761" y="260364"/>
                  </a:moveTo>
                  <a:lnTo>
                    <a:pt x="256711" y="260364"/>
                  </a:lnTo>
                  <a:cubicBezTo>
                    <a:pt x="257133" y="260364"/>
                    <a:pt x="260294" y="261910"/>
                    <a:pt x="260645" y="262964"/>
                  </a:cubicBezTo>
                  <a:lnTo>
                    <a:pt x="258257" y="271113"/>
                  </a:lnTo>
                  <a:lnTo>
                    <a:pt x="65969" y="271113"/>
                  </a:lnTo>
                  <a:lnTo>
                    <a:pt x="65829" y="262964"/>
                  </a:lnTo>
                  <a:cubicBezTo>
                    <a:pt x="66391" y="262261"/>
                    <a:pt x="70747" y="260435"/>
                    <a:pt x="71309" y="260435"/>
                  </a:cubicBezTo>
                  <a:lnTo>
                    <a:pt x="101167" y="260435"/>
                  </a:lnTo>
                  <a:cubicBezTo>
                    <a:pt x="102853" y="251301"/>
                    <a:pt x="105523" y="237461"/>
                    <a:pt x="98849" y="229803"/>
                  </a:cubicBezTo>
                  <a:lnTo>
                    <a:pt x="2318" y="229803"/>
                  </a:lnTo>
                  <a:lnTo>
                    <a:pt x="0" y="227485"/>
                  </a:lnTo>
                  <a:lnTo>
                    <a:pt x="0" y="5339"/>
                  </a:lnTo>
                  <a:cubicBezTo>
                    <a:pt x="0" y="4496"/>
                    <a:pt x="2389" y="1967"/>
                    <a:pt x="1546" y="0"/>
                  </a:cubicBezTo>
                  <a:lnTo>
                    <a:pt x="324015" y="0"/>
                  </a:lnTo>
                  <a:lnTo>
                    <a:pt x="326334" y="2318"/>
                  </a:lnTo>
                  <a:lnTo>
                    <a:pt x="326334" y="227555"/>
                  </a:lnTo>
                  <a:lnTo>
                    <a:pt x="324015" y="229874"/>
                  </a:lnTo>
                  <a:lnTo>
                    <a:pt x="225940" y="229874"/>
                  </a:lnTo>
                  <a:cubicBezTo>
                    <a:pt x="219757" y="232543"/>
                    <a:pt x="222075" y="260505"/>
                    <a:pt x="223621" y="260505"/>
                  </a:cubicBezTo>
                  <a:close/>
                </a:path>
              </a:pathLst>
            </a:custGeom>
            <a:grpFill/>
            <a:ln w="7007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16" name="Group 1115">
              <a:extLst>
                <a:ext uri="{FF2B5EF4-FFF2-40B4-BE49-F238E27FC236}">
                  <a16:creationId xmlns:a16="http://schemas.microsoft.com/office/drawing/2014/main" id="{FBC8B954-4391-79E5-D730-9BD4068CEB37}"/>
                </a:ext>
              </a:extLst>
            </p:cNvPr>
            <p:cNvGrpSpPr/>
            <p:nvPr/>
          </p:nvGrpSpPr>
          <p:grpSpPr>
            <a:xfrm>
              <a:off x="-2260630" y="2716680"/>
              <a:ext cx="793229" cy="663608"/>
              <a:chOff x="-2404811" y="4264702"/>
              <a:chExt cx="1467428" cy="1227637"/>
            </a:xfrm>
            <a:grpFill/>
          </p:grpSpPr>
          <p:sp>
            <p:nvSpPr>
              <p:cNvPr id="1104" name="Freeform: Shape 1103">
                <a:extLst>
                  <a:ext uri="{FF2B5EF4-FFF2-40B4-BE49-F238E27FC236}">
                    <a16:creationId xmlns:a16="http://schemas.microsoft.com/office/drawing/2014/main" id="{FFC44842-FC23-3884-5837-470FE1C103E2}"/>
                  </a:ext>
                </a:extLst>
              </p:cNvPr>
              <p:cNvSpPr/>
              <p:nvPr/>
            </p:nvSpPr>
            <p:spPr>
              <a:xfrm>
                <a:off x="-2404811" y="4879280"/>
                <a:ext cx="1075671" cy="612990"/>
              </a:xfrm>
              <a:custGeom>
                <a:avLst/>
                <a:gdLst>
                  <a:gd name="connsiteX0" fmla="*/ 0 w 1075671"/>
                  <a:gd name="connsiteY0" fmla="*/ 612990 h 612990"/>
                  <a:gd name="connsiteX1" fmla="*/ 0 w 1075671"/>
                  <a:gd name="connsiteY1" fmla="*/ 144883 h 612990"/>
                  <a:gd name="connsiteX2" fmla="*/ 90910 w 1075671"/>
                  <a:gd name="connsiteY2" fmla="*/ 12171 h 612990"/>
                  <a:gd name="connsiteX3" fmla="*/ 126388 w 1075671"/>
                  <a:gd name="connsiteY3" fmla="*/ 1703 h 612990"/>
                  <a:gd name="connsiteX4" fmla="*/ 285726 w 1075671"/>
                  <a:gd name="connsiteY4" fmla="*/ 1703 h 612990"/>
                  <a:gd name="connsiteX5" fmla="*/ 289520 w 1075671"/>
                  <a:gd name="connsiteY5" fmla="*/ 2476 h 612990"/>
                  <a:gd name="connsiteX6" fmla="*/ 289520 w 1075671"/>
                  <a:gd name="connsiteY6" fmla="*/ 135820 h 612990"/>
                  <a:gd name="connsiteX7" fmla="*/ 307927 w 1075671"/>
                  <a:gd name="connsiteY7" fmla="*/ 171017 h 612990"/>
                  <a:gd name="connsiteX8" fmla="*/ 260786 w 1075671"/>
                  <a:gd name="connsiteY8" fmla="*/ 247314 h 612990"/>
                  <a:gd name="connsiteX9" fmla="*/ 345654 w 1075671"/>
                  <a:gd name="connsiteY9" fmla="*/ 386138 h 612990"/>
                  <a:gd name="connsiteX10" fmla="*/ 375020 w 1075671"/>
                  <a:gd name="connsiteY10" fmla="*/ 394217 h 612990"/>
                  <a:gd name="connsiteX11" fmla="*/ 392233 w 1075671"/>
                  <a:gd name="connsiteY11" fmla="*/ 383819 h 612990"/>
                  <a:gd name="connsiteX12" fmla="*/ 414293 w 1075671"/>
                  <a:gd name="connsiteY12" fmla="*/ 379815 h 612990"/>
                  <a:gd name="connsiteX13" fmla="*/ 395605 w 1075671"/>
                  <a:gd name="connsiteY13" fmla="*/ 345811 h 612990"/>
                  <a:gd name="connsiteX14" fmla="*/ 380851 w 1075671"/>
                  <a:gd name="connsiteY14" fmla="*/ 366326 h 612990"/>
                  <a:gd name="connsiteX15" fmla="*/ 362093 w 1075671"/>
                  <a:gd name="connsiteY15" fmla="*/ 373421 h 612990"/>
                  <a:gd name="connsiteX16" fmla="*/ 275539 w 1075671"/>
                  <a:gd name="connsiteY16" fmla="*/ 231015 h 612990"/>
                  <a:gd name="connsiteX17" fmla="*/ 279052 w 1075671"/>
                  <a:gd name="connsiteY17" fmla="*/ 213943 h 612990"/>
                  <a:gd name="connsiteX18" fmla="*/ 383943 w 1075671"/>
                  <a:gd name="connsiteY18" fmla="*/ 151697 h 612990"/>
                  <a:gd name="connsiteX19" fmla="*/ 396097 w 1075671"/>
                  <a:gd name="connsiteY19" fmla="*/ 158020 h 612990"/>
                  <a:gd name="connsiteX20" fmla="*/ 482510 w 1075671"/>
                  <a:gd name="connsiteY20" fmla="*/ 301551 h 612990"/>
                  <a:gd name="connsiteX21" fmla="*/ 470426 w 1075671"/>
                  <a:gd name="connsiteY21" fmla="*/ 313354 h 612990"/>
                  <a:gd name="connsiteX22" fmla="*/ 445134 w 1075671"/>
                  <a:gd name="connsiteY22" fmla="*/ 318693 h 612990"/>
                  <a:gd name="connsiteX23" fmla="*/ 470426 w 1075671"/>
                  <a:gd name="connsiteY23" fmla="*/ 348551 h 612990"/>
                  <a:gd name="connsiteX24" fmla="*/ 479700 w 1075671"/>
                  <a:gd name="connsiteY24" fmla="*/ 331831 h 612990"/>
                  <a:gd name="connsiteX25" fmla="*/ 491784 w 1075671"/>
                  <a:gd name="connsiteY25" fmla="*/ 324032 h 612990"/>
                  <a:gd name="connsiteX26" fmla="*/ 485531 w 1075671"/>
                  <a:gd name="connsiteY26" fmla="*/ 264667 h 612990"/>
                  <a:gd name="connsiteX27" fmla="*/ 415979 w 1075671"/>
                  <a:gd name="connsiteY27" fmla="*/ 150433 h 612990"/>
                  <a:gd name="connsiteX28" fmla="*/ 326966 w 1075671"/>
                  <a:gd name="connsiteY28" fmla="*/ 160901 h 612990"/>
                  <a:gd name="connsiteX29" fmla="*/ 320643 w 1075671"/>
                  <a:gd name="connsiteY29" fmla="*/ 153875 h 612990"/>
                  <a:gd name="connsiteX30" fmla="*/ 313477 w 1075671"/>
                  <a:gd name="connsiteY30" fmla="*/ 1703 h 612990"/>
                  <a:gd name="connsiteX31" fmla="*/ 781515 w 1075671"/>
                  <a:gd name="connsiteY31" fmla="*/ 1703 h 612990"/>
                  <a:gd name="connsiteX32" fmla="*/ 714913 w 1075671"/>
                  <a:gd name="connsiteY32" fmla="*/ 202421 h 612990"/>
                  <a:gd name="connsiteX33" fmla="*/ 691097 w 1075671"/>
                  <a:gd name="connsiteY33" fmla="*/ 227713 h 612990"/>
                  <a:gd name="connsiteX34" fmla="*/ 681472 w 1075671"/>
                  <a:gd name="connsiteY34" fmla="*/ 223498 h 612990"/>
                  <a:gd name="connsiteX35" fmla="*/ 633909 w 1075671"/>
                  <a:gd name="connsiteY35" fmla="*/ 306328 h 612990"/>
                  <a:gd name="connsiteX36" fmla="*/ 706272 w 1075671"/>
                  <a:gd name="connsiteY36" fmla="*/ 260030 h 612990"/>
                  <a:gd name="connsiteX37" fmla="*/ 702548 w 1075671"/>
                  <a:gd name="connsiteY37" fmla="*/ 245347 h 612990"/>
                  <a:gd name="connsiteX38" fmla="*/ 724116 w 1075671"/>
                  <a:gd name="connsiteY38" fmla="*/ 223849 h 612990"/>
                  <a:gd name="connsiteX39" fmla="*/ 796690 w 1075671"/>
                  <a:gd name="connsiteY39" fmla="*/ 91138 h 612990"/>
                  <a:gd name="connsiteX40" fmla="*/ 803012 w 1075671"/>
                  <a:gd name="connsiteY40" fmla="*/ 158 h 612990"/>
                  <a:gd name="connsiteX41" fmla="*/ 805261 w 1075671"/>
                  <a:gd name="connsiteY41" fmla="*/ 1703 h 612990"/>
                  <a:gd name="connsiteX42" fmla="*/ 949283 w 1075671"/>
                  <a:gd name="connsiteY42" fmla="*/ 1703 h 612990"/>
                  <a:gd name="connsiteX43" fmla="*/ 980687 w 1075671"/>
                  <a:gd name="connsiteY43" fmla="*/ 10134 h 612990"/>
                  <a:gd name="connsiteX44" fmla="*/ 1075250 w 1075671"/>
                  <a:gd name="connsiteY44" fmla="*/ 130059 h 612990"/>
                  <a:gd name="connsiteX45" fmla="*/ 1075671 w 1075671"/>
                  <a:gd name="connsiteY45" fmla="*/ 612990 h 612990"/>
                  <a:gd name="connsiteX46" fmla="*/ 922446 w 1075671"/>
                  <a:gd name="connsiteY46" fmla="*/ 612990 h 612990"/>
                  <a:gd name="connsiteX47" fmla="*/ 922305 w 1075671"/>
                  <a:gd name="connsiteY47" fmla="*/ 292137 h 612990"/>
                  <a:gd name="connsiteX48" fmla="*/ 838351 w 1075671"/>
                  <a:gd name="connsiteY48" fmla="*/ 299795 h 612990"/>
                  <a:gd name="connsiteX49" fmla="*/ 838210 w 1075671"/>
                  <a:gd name="connsiteY49" fmla="*/ 612920 h 612990"/>
                  <a:gd name="connsiteX50" fmla="*/ 237672 w 1075671"/>
                  <a:gd name="connsiteY50" fmla="*/ 612920 h 612990"/>
                  <a:gd name="connsiteX51" fmla="*/ 237532 w 1075671"/>
                  <a:gd name="connsiteY51" fmla="*/ 296703 h 612990"/>
                  <a:gd name="connsiteX52" fmla="*/ 153577 w 1075671"/>
                  <a:gd name="connsiteY52" fmla="*/ 295158 h 612990"/>
                  <a:gd name="connsiteX53" fmla="*/ 153437 w 1075671"/>
                  <a:gd name="connsiteY53" fmla="*/ 612920 h 612990"/>
                  <a:gd name="connsiteX54" fmla="*/ 211 w 1075671"/>
                  <a:gd name="connsiteY54" fmla="*/ 612920 h 612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1075671" h="612990">
                    <a:moveTo>
                      <a:pt x="0" y="612990"/>
                    </a:moveTo>
                    <a:lnTo>
                      <a:pt x="0" y="144883"/>
                    </a:lnTo>
                    <a:cubicBezTo>
                      <a:pt x="1827" y="87765"/>
                      <a:pt x="37938" y="33950"/>
                      <a:pt x="90910" y="12171"/>
                    </a:cubicBezTo>
                    <a:cubicBezTo>
                      <a:pt x="97233" y="9572"/>
                      <a:pt x="120838" y="1703"/>
                      <a:pt x="126388" y="1703"/>
                    </a:cubicBezTo>
                    <a:lnTo>
                      <a:pt x="285726" y="1703"/>
                    </a:lnTo>
                    <a:cubicBezTo>
                      <a:pt x="286288" y="1703"/>
                      <a:pt x="287131" y="-1318"/>
                      <a:pt x="289520" y="2476"/>
                    </a:cubicBezTo>
                    <a:cubicBezTo>
                      <a:pt x="270341" y="44278"/>
                      <a:pt x="273924" y="93456"/>
                      <a:pt x="289520" y="135820"/>
                    </a:cubicBezTo>
                    <a:cubicBezTo>
                      <a:pt x="293876" y="147763"/>
                      <a:pt x="299848" y="161393"/>
                      <a:pt x="307927" y="171017"/>
                    </a:cubicBezTo>
                    <a:cubicBezTo>
                      <a:pt x="278490" y="194272"/>
                      <a:pt x="235494" y="199892"/>
                      <a:pt x="260786" y="247314"/>
                    </a:cubicBezTo>
                    <a:cubicBezTo>
                      <a:pt x="286078" y="294736"/>
                      <a:pt x="319589" y="339629"/>
                      <a:pt x="345654" y="386138"/>
                    </a:cubicBezTo>
                    <a:cubicBezTo>
                      <a:pt x="353803" y="395482"/>
                      <a:pt x="363007" y="397800"/>
                      <a:pt x="375020" y="394217"/>
                    </a:cubicBezTo>
                    <a:cubicBezTo>
                      <a:pt x="380992" y="392460"/>
                      <a:pt x="387455" y="385295"/>
                      <a:pt x="392233" y="383819"/>
                    </a:cubicBezTo>
                    <a:cubicBezTo>
                      <a:pt x="400312" y="381431"/>
                      <a:pt x="406635" y="385857"/>
                      <a:pt x="414293" y="379815"/>
                    </a:cubicBezTo>
                    <a:cubicBezTo>
                      <a:pt x="430873" y="366677"/>
                      <a:pt x="418016" y="338926"/>
                      <a:pt x="395605" y="345811"/>
                    </a:cubicBezTo>
                    <a:cubicBezTo>
                      <a:pt x="383872" y="349465"/>
                      <a:pt x="385839" y="360776"/>
                      <a:pt x="380851" y="366326"/>
                    </a:cubicBezTo>
                    <a:cubicBezTo>
                      <a:pt x="378533" y="368855"/>
                      <a:pt x="365114" y="377637"/>
                      <a:pt x="362093" y="373421"/>
                    </a:cubicBezTo>
                    <a:lnTo>
                      <a:pt x="275539" y="231015"/>
                    </a:lnTo>
                    <a:cubicBezTo>
                      <a:pt x="273010" y="225114"/>
                      <a:pt x="273713" y="217877"/>
                      <a:pt x="279052" y="213943"/>
                    </a:cubicBezTo>
                    <a:lnTo>
                      <a:pt x="383943" y="151697"/>
                    </a:lnTo>
                    <a:cubicBezTo>
                      <a:pt x="389071" y="151346"/>
                      <a:pt x="393146" y="154016"/>
                      <a:pt x="396097" y="158020"/>
                    </a:cubicBezTo>
                    <a:lnTo>
                      <a:pt x="482510" y="301551"/>
                    </a:lnTo>
                    <a:cubicBezTo>
                      <a:pt x="483704" y="305415"/>
                      <a:pt x="473307" y="312300"/>
                      <a:pt x="470426" y="313354"/>
                    </a:cubicBezTo>
                    <a:cubicBezTo>
                      <a:pt x="462417" y="316304"/>
                      <a:pt x="454830" y="308647"/>
                      <a:pt x="445134" y="318693"/>
                    </a:cubicBezTo>
                    <a:cubicBezTo>
                      <a:pt x="428765" y="335695"/>
                      <a:pt x="450614" y="362391"/>
                      <a:pt x="470426" y="348551"/>
                    </a:cubicBezTo>
                    <a:cubicBezTo>
                      <a:pt x="477733" y="343423"/>
                      <a:pt x="476187" y="336116"/>
                      <a:pt x="479700" y="331831"/>
                    </a:cubicBezTo>
                    <a:cubicBezTo>
                      <a:pt x="481386" y="329793"/>
                      <a:pt x="488903" y="326421"/>
                      <a:pt x="491784" y="324032"/>
                    </a:cubicBezTo>
                    <a:cubicBezTo>
                      <a:pt x="515670" y="304220"/>
                      <a:pt x="497685" y="285463"/>
                      <a:pt x="485531" y="264667"/>
                    </a:cubicBezTo>
                    <a:cubicBezTo>
                      <a:pt x="464525" y="228907"/>
                      <a:pt x="439444" y="183593"/>
                      <a:pt x="415979" y="150433"/>
                    </a:cubicBezTo>
                    <a:cubicBezTo>
                      <a:pt x="387385" y="110036"/>
                      <a:pt x="357597" y="144040"/>
                      <a:pt x="326966" y="160901"/>
                    </a:cubicBezTo>
                    <a:cubicBezTo>
                      <a:pt x="324437" y="161252"/>
                      <a:pt x="321697" y="155702"/>
                      <a:pt x="320643" y="153875"/>
                    </a:cubicBezTo>
                    <a:cubicBezTo>
                      <a:pt x="295843" y="110879"/>
                      <a:pt x="287342" y="45753"/>
                      <a:pt x="313477" y="1703"/>
                    </a:cubicBezTo>
                    <a:lnTo>
                      <a:pt x="781515" y="1703"/>
                    </a:lnTo>
                    <a:cubicBezTo>
                      <a:pt x="790577" y="75330"/>
                      <a:pt x="761632" y="146990"/>
                      <a:pt x="714913" y="202421"/>
                    </a:cubicBezTo>
                    <a:cubicBezTo>
                      <a:pt x="711470" y="206566"/>
                      <a:pt x="694118" y="226378"/>
                      <a:pt x="691097" y="227713"/>
                    </a:cubicBezTo>
                    <a:cubicBezTo>
                      <a:pt x="686179" y="229961"/>
                      <a:pt x="685265" y="225184"/>
                      <a:pt x="681472" y="223498"/>
                    </a:cubicBezTo>
                    <a:cubicBezTo>
                      <a:pt x="620912" y="197082"/>
                      <a:pt x="585082" y="276540"/>
                      <a:pt x="633909" y="306328"/>
                    </a:cubicBezTo>
                    <a:cubicBezTo>
                      <a:pt x="667350" y="326702"/>
                      <a:pt x="710557" y="298389"/>
                      <a:pt x="706272" y="260030"/>
                    </a:cubicBezTo>
                    <a:cubicBezTo>
                      <a:pt x="705850" y="256166"/>
                      <a:pt x="701565" y="247314"/>
                      <a:pt x="702548" y="245347"/>
                    </a:cubicBezTo>
                    <a:cubicBezTo>
                      <a:pt x="704515" y="241343"/>
                      <a:pt x="719761" y="228837"/>
                      <a:pt x="724116" y="223849"/>
                    </a:cubicBezTo>
                    <a:cubicBezTo>
                      <a:pt x="756715" y="186825"/>
                      <a:pt x="784887" y="139332"/>
                      <a:pt x="796690" y="91138"/>
                    </a:cubicBezTo>
                    <a:cubicBezTo>
                      <a:pt x="804066" y="60928"/>
                      <a:pt x="805401" y="31070"/>
                      <a:pt x="803012" y="158"/>
                    </a:cubicBezTo>
                    <a:cubicBezTo>
                      <a:pt x="803575" y="-615"/>
                      <a:pt x="804980" y="1703"/>
                      <a:pt x="805261" y="1703"/>
                    </a:cubicBezTo>
                    <a:lnTo>
                      <a:pt x="949283" y="1703"/>
                    </a:lnTo>
                    <a:cubicBezTo>
                      <a:pt x="954411" y="1703"/>
                      <a:pt x="974786" y="7956"/>
                      <a:pt x="980687" y="10134"/>
                    </a:cubicBezTo>
                    <a:cubicBezTo>
                      <a:pt x="1031130" y="28962"/>
                      <a:pt x="1067803" y="76876"/>
                      <a:pt x="1075250" y="130059"/>
                    </a:cubicBezTo>
                    <a:lnTo>
                      <a:pt x="1075671" y="612990"/>
                    </a:lnTo>
                    <a:lnTo>
                      <a:pt x="922446" y="612990"/>
                    </a:lnTo>
                    <a:lnTo>
                      <a:pt x="922305" y="292137"/>
                    </a:lnTo>
                    <a:cubicBezTo>
                      <a:pt x="909308" y="243872"/>
                      <a:pt x="844182" y="249843"/>
                      <a:pt x="838351" y="299795"/>
                    </a:cubicBezTo>
                    <a:lnTo>
                      <a:pt x="838210" y="612920"/>
                    </a:lnTo>
                    <a:lnTo>
                      <a:pt x="237672" y="612920"/>
                    </a:lnTo>
                    <a:lnTo>
                      <a:pt x="237532" y="296703"/>
                    </a:lnTo>
                    <a:cubicBezTo>
                      <a:pt x="229452" y="247455"/>
                      <a:pt x="163624" y="246331"/>
                      <a:pt x="153577" y="295158"/>
                    </a:cubicBezTo>
                    <a:lnTo>
                      <a:pt x="153437" y="612920"/>
                    </a:lnTo>
                    <a:lnTo>
                      <a:pt x="211" y="612920"/>
                    </a:lnTo>
                    <a:close/>
                  </a:path>
                </a:pathLst>
              </a:custGeom>
              <a:grpFill/>
              <a:ln w="7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5" name="Freeform: Shape 1104">
                <a:extLst>
                  <a:ext uri="{FF2B5EF4-FFF2-40B4-BE49-F238E27FC236}">
                    <a16:creationId xmlns:a16="http://schemas.microsoft.com/office/drawing/2014/main" id="{0CA40B42-D610-4B5E-EAA4-680ECA9E9600}"/>
                  </a:ext>
                </a:extLst>
              </p:cNvPr>
              <p:cNvSpPr/>
              <p:nvPr/>
            </p:nvSpPr>
            <p:spPr>
              <a:xfrm>
                <a:off x="-1566741" y="5138307"/>
                <a:ext cx="84235" cy="354032"/>
              </a:xfrm>
              <a:custGeom>
                <a:avLst/>
                <a:gdLst>
                  <a:gd name="connsiteX0" fmla="*/ 84236 w 84235"/>
                  <a:gd name="connsiteY0" fmla="*/ 353962 h 354032"/>
                  <a:gd name="connsiteX1" fmla="*/ 0 w 84235"/>
                  <a:gd name="connsiteY1" fmla="*/ 353962 h 354032"/>
                  <a:gd name="connsiteX2" fmla="*/ 141 w 84235"/>
                  <a:gd name="connsiteY2" fmla="*/ 40837 h 354032"/>
                  <a:gd name="connsiteX3" fmla="*/ 84095 w 84235"/>
                  <a:gd name="connsiteY3" fmla="*/ 33179 h 354032"/>
                  <a:gd name="connsiteX4" fmla="*/ 84236 w 84235"/>
                  <a:gd name="connsiteY4" fmla="*/ 354033 h 354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235" h="354032">
                    <a:moveTo>
                      <a:pt x="84236" y="353962"/>
                    </a:moveTo>
                    <a:lnTo>
                      <a:pt x="0" y="353962"/>
                    </a:lnTo>
                    <a:lnTo>
                      <a:pt x="141" y="40837"/>
                    </a:lnTo>
                    <a:cubicBezTo>
                      <a:pt x="5972" y="-9114"/>
                      <a:pt x="71098" y="-15086"/>
                      <a:pt x="84095" y="33179"/>
                    </a:cubicBezTo>
                    <a:lnTo>
                      <a:pt x="84236" y="354033"/>
                    </a:lnTo>
                    <a:close/>
                  </a:path>
                </a:pathLst>
              </a:custGeom>
              <a:grpFill/>
              <a:ln w="7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6" name="Freeform: Shape 1105">
                <a:extLst>
                  <a:ext uri="{FF2B5EF4-FFF2-40B4-BE49-F238E27FC236}">
                    <a16:creationId xmlns:a16="http://schemas.microsoft.com/office/drawing/2014/main" id="{843BC8E0-5641-E61D-B080-FB0DC9A02B01}"/>
                  </a:ext>
                </a:extLst>
              </p:cNvPr>
              <p:cNvSpPr/>
              <p:nvPr/>
            </p:nvSpPr>
            <p:spPr>
              <a:xfrm>
                <a:off x="-2251585" y="5138522"/>
                <a:ext cx="84235" cy="353748"/>
              </a:xfrm>
              <a:custGeom>
                <a:avLst/>
                <a:gdLst>
                  <a:gd name="connsiteX0" fmla="*/ 84235 w 84235"/>
                  <a:gd name="connsiteY0" fmla="*/ 353748 h 353748"/>
                  <a:gd name="connsiteX1" fmla="*/ 0 w 84235"/>
                  <a:gd name="connsiteY1" fmla="*/ 353748 h 353748"/>
                  <a:gd name="connsiteX2" fmla="*/ 140 w 84235"/>
                  <a:gd name="connsiteY2" fmla="*/ 35986 h 353748"/>
                  <a:gd name="connsiteX3" fmla="*/ 84095 w 84235"/>
                  <a:gd name="connsiteY3" fmla="*/ 37531 h 353748"/>
                  <a:gd name="connsiteX4" fmla="*/ 84235 w 84235"/>
                  <a:gd name="connsiteY4" fmla="*/ 353748 h 353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235" h="353748">
                    <a:moveTo>
                      <a:pt x="84235" y="353748"/>
                    </a:moveTo>
                    <a:lnTo>
                      <a:pt x="0" y="353748"/>
                    </a:lnTo>
                    <a:lnTo>
                      <a:pt x="140" y="35986"/>
                    </a:lnTo>
                    <a:cubicBezTo>
                      <a:pt x="10187" y="-12771"/>
                      <a:pt x="76016" y="-11717"/>
                      <a:pt x="84095" y="37531"/>
                    </a:cubicBezTo>
                    <a:lnTo>
                      <a:pt x="84235" y="353748"/>
                    </a:lnTo>
                    <a:close/>
                  </a:path>
                </a:pathLst>
              </a:custGeom>
              <a:grpFill/>
              <a:ln w="7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8" name="Freeform: Shape 1107">
                <a:extLst>
                  <a:ext uri="{FF2B5EF4-FFF2-40B4-BE49-F238E27FC236}">
                    <a16:creationId xmlns:a16="http://schemas.microsoft.com/office/drawing/2014/main" id="{4A004690-F774-24B2-2614-7B6468E6CEC9}"/>
                  </a:ext>
                </a:extLst>
              </p:cNvPr>
              <p:cNvSpPr/>
              <p:nvPr/>
            </p:nvSpPr>
            <p:spPr>
              <a:xfrm>
                <a:off x="-2144178" y="4295831"/>
                <a:ext cx="554926" cy="554433"/>
              </a:xfrm>
              <a:custGeom>
                <a:avLst/>
                <a:gdLst>
                  <a:gd name="connsiteX0" fmla="*/ 270634 w 554926"/>
                  <a:gd name="connsiteY0" fmla="*/ 422 h 554433"/>
                  <a:gd name="connsiteX1" fmla="*/ 283982 w 554926"/>
                  <a:gd name="connsiteY1" fmla="*/ 0 h 554433"/>
                  <a:gd name="connsiteX2" fmla="*/ 521514 w 554926"/>
                  <a:gd name="connsiteY2" fmla="*/ 409094 h 554433"/>
                  <a:gd name="connsiteX3" fmla="*/ 51298 w 554926"/>
                  <a:gd name="connsiteY3" fmla="*/ 437968 h 554433"/>
                  <a:gd name="connsiteX4" fmla="*/ 270634 w 554926"/>
                  <a:gd name="connsiteY4" fmla="*/ 422 h 55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4926" h="554433">
                    <a:moveTo>
                      <a:pt x="270634" y="422"/>
                    </a:moveTo>
                    <a:lnTo>
                      <a:pt x="283982" y="0"/>
                    </a:lnTo>
                    <a:cubicBezTo>
                      <a:pt x="489267" y="6463"/>
                      <a:pt x="619870" y="225307"/>
                      <a:pt x="521514" y="409094"/>
                    </a:cubicBezTo>
                    <a:cubicBezTo>
                      <a:pt x="425054" y="589297"/>
                      <a:pt x="169045" y="605385"/>
                      <a:pt x="51298" y="437968"/>
                    </a:cubicBezTo>
                    <a:cubicBezTo>
                      <a:pt x="-77198" y="255306"/>
                      <a:pt x="50455" y="6393"/>
                      <a:pt x="270634" y="422"/>
                    </a:cubicBezTo>
                    <a:close/>
                  </a:path>
                </a:pathLst>
              </a:custGeom>
              <a:grpFill/>
              <a:ln w="7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3" name="Freeform: Shape 1112">
                <a:extLst>
                  <a:ext uri="{FF2B5EF4-FFF2-40B4-BE49-F238E27FC236}">
                    <a16:creationId xmlns:a16="http://schemas.microsoft.com/office/drawing/2014/main" id="{A8DA0D14-07D5-264E-3BEB-EFE140929E81}"/>
                  </a:ext>
                </a:extLst>
              </p:cNvPr>
              <p:cNvSpPr/>
              <p:nvPr/>
            </p:nvSpPr>
            <p:spPr>
              <a:xfrm>
                <a:off x="-1609526" y="4264702"/>
                <a:ext cx="672143" cy="776754"/>
              </a:xfrm>
              <a:custGeom>
                <a:avLst/>
                <a:gdLst>
                  <a:gd name="connsiteX0" fmla="*/ 507521 w 672143"/>
                  <a:gd name="connsiteY0" fmla="*/ 650635 h 776754"/>
                  <a:gd name="connsiteX1" fmla="*/ 551079 w 672143"/>
                  <a:gd name="connsiteY1" fmla="*/ 197632 h 776754"/>
                  <a:gd name="connsiteX2" fmla="*/ 71309 w 672143"/>
                  <a:gd name="connsiteY2" fmla="*/ 120282 h 776754"/>
                  <a:gd name="connsiteX3" fmla="*/ 29577 w 672143"/>
                  <a:gd name="connsiteY3" fmla="*/ 147611 h 776754"/>
                  <a:gd name="connsiteX4" fmla="*/ 2740 w 672143"/>
                  <a:gd name="connsiteY4" fmla="*/ 106863 h 776754"/>
                  <a:gd name="connsiteX5" fmla="*/ 47422 w 672143"/>
                  <a:gd name="connsiteY5" fmla="*/ 68785 h 776754"/>
                  <a:gd name="connsiteX6" fmla="*/ 623582 w 672143"/>
                  <a:gd name="connsiteY6" fmla="*/ 207820 h 776754"/>
                  <a:gd name="connsiteX7" fmla="*/ 435931 w 672143"/>
                  <a:gd name="connsiteY7" fmla="*/ 765221 h 776754"/>
                  <a:gd name="connsiteX8" fmla="*/ 374388 w 672143"/>
                  <a:gd name="connsiteY8" fmla="*/ 760373 h 776754"/>
                  <a:gd name="connsiteX9" fmla="*/ 420124 w 672143"/>
                  <a:gd name="connsiteY9" fmla="*/ 711125 h 776754"/>
                  <a:gd name="connsiteX10" fmla="*/ 507451 w 672143"/>
                  <a:gd name="connsiteY10" fmla="*/ 650635 h 776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2143" h="776754">
                    <a:moveTo>
                      <a:pt x="507521" y="650635"/>
                    </a:moveTo>
                    <a:cubicBezTo>
                      <a:pt x="634190" y="532256"/>
                      <a:pt x="653300" y="338564"/>
                      <a:pt x="551079" y="197632"/>
                    </a:cubicBezTo>
                    <a:cubicBezTo>
                      <a:pt x="440006" y="44407"/>
                      <a:pt x="225940" y="9912"/>
                      <a:pt x="71309" y="120282"/>
                    </a:cubicBezTo>
                    <a:cubicBezTo>
                      <a:pt x="60279" y="128151"/>
                      <a:pt x="42785" y="146909"/>
                      <a:pt x="29577" y="147611"/>
                    </a:cubicBezTo>
                    <a:cubicBezTo>
                      <a:pt x="7447" y="148806"/>
                      <a:pt x="-6112" y="126324"/>
                      <a:pt x="2740" y="106863"/>
                    </a:cubicBezTo>
                    <a:cubicBezTo>
                      <a:pt x="6885" y="97730"/>
                      <a:pt x="37797" y="75319"/>
                      <a:pt x="47422" y="68785"/>
                    </a:cubicBezTo>
                    <a:cubicBezTo>
                      <a:pt x="242941" y="-63645"/>
                      <a:pt x="510893" y="1832"/>
                      <a:pt x="623582" y="207820"/>
                    </a:cubicBezTo>
                    <a:cubicBezTo>
                      <a:pt x="734936" y="411348"/>
                      <a:pt x="647468" y="672133"/>
                      <a:pt x="435931" y="765221"/>
                    </a:cubicBezTo>
                    <a:cubicBezTo>
                      <a:pt x="416471" y="773792"/>
                      <a:pt x="385629" y="788405"/>
                      <a:pt x="374388" y="760373"/>
                    </a:cubicBezTo>
                    <a:cubicBezTo>
                      <a:pt x="361250" y="727494"/>
                      <a:pt x="399469" y="721241"/>
                      <a:pt x="420124" y="711125"/>
                    </a:cubicBezTo>
                    <a:cubicBezTo>
                      <a:pt x="452582" y="695317"/>
                      <a:pt x="481175" y="675225"/>
                      <a:pt x="507451" y="650635"/>
                    </a:cubicBezTo>
                    <a:close/>
                  </a:path>
                </a:pathLst>
              </a:custGeom>
              <a:grpFill/>
              <a:ln w="7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4" name="Freeform: Shape 1113">
                <a:extLst>
                  <a:ext uri="{FF2B5EF4-FFF2-40B4-BE49-F238E27FC236}">
                    <a16:creationId xmlns:a16="http://schemas.microsoft.com/office/drawing/2014/main" id="{8FDD8AE3-1CA2-7356-0693-79DA5F00E5A7}"/>
                  </a:ext>
                </a:extLst>
              </p:cNvPr>
              <p:cNvSpPr/>
              <p:nvPr/>
            </p:nvSpPr>
            <p:spPr>
              <a:xfrm>
                <a:off x="-1519249" y="4482708"/>
                <a:ext cx="364622" cy="364692"/>
              </a:xfrm>
              <a:custGeom>
                <a:avLst/>
                <a:gdLst>
                  <a:gd name="connsiteX0" fmla="*/ 232825 w 364622"/>
                  <a:gd name="connsiteY0" fmla="*/ 0 h 364692"/>
                  <a:gd name="connsiteX1" fmla="*/ 232825 w 364622"/>
                  <a:gd name="connsiteY1" fmla="*/ 129480 h 364692"/>
                  <a:gd name="connsiteX2" fmla="*/ 235143 w 364622"/>
                  <a:gd name="connsiteY2" fmla="*/ 131798 h 364692"/>
                  <a:gd name="connsiteX3" fmla="*/ 364622 w 364622"/>
                  <a:gd name="connsiteY3" fmla="*/ 131798 h 364692"/>
                  <a:gd name="connsiteX4" fmla="*/ 364622 w 364622"/>
                  <a:gd name="connsiteY4" fmla="*/ 232895 h 364692"/>
                  <a:gd name="connsiteX5" fmla="*/ 232895 w 364622"/>
                  <a:gd name="connsiteY5" fmla="*/ 232895 h 364692"/>
                  <a:gd name="connsiteX6" fmla="*/ 232895 w 364622"/>
                  <a:gd name="connsiteY6" fmla="*/ 362374 h 364692"/>
                  <a:gd name="connsiteX7" fmla="*/ 226010 w 364622"/>
                  <a:gd name="connsiteY7" fmla="*/ 364693 h 364692"/>
                  <a:gd name="connsiteX8" fmla="*/ 131798 w 364622"/>
                  <a:gd name="connsiteY8" fmla="*/ 364693 h 364692"/>
                  <a:gd name="connsiteX9" fmla="*/ 131798 w 364622"/>
                  <a:gd name="connsiteY9" fmla="*/ 232965 h 364692"/>
                  <a:gd name="connsiteX10" fmla="*/ 2318 w 364622"/>
                  <a:gd name="connsiteY10" fmla="*/ 232965 h 364692"/>
                  <a:gd name="connsiteX11" fmla="*/ 0 w 364622"/>
                  <a:gd name="connsiteY11" fmla="*/ 230647 h 364692"/>
                  <a:gd name="connsiteX12" fmla="*/ 0 w 364622"/>
                  <a:gd name="connsiteY12" fmla="*/ 132571 h 364692"/>
                  <a:gd name="connsiteX13" fmla="*/ 2318 w 364622"/>
                  <a:gd name="connsiteY13" fmla="*/ 130604 h 364692"/>
                  <a:gd name="connsiteX14" fmla="*/ 3864 w 364622"/>
                  <a:gd name="connsiteY14" fmla="*/ 131798 h 364692"/>
                  <a:gd name="connsiteX15" fmla="*/ 129480 w 364622"/>
                  <a:gd name="connsiteY15" fmla="*/ 131798 h 364692"/>
                  <a:gd name="connsiteX16" fmla="*/ 131798 w 364622"/>
                  <a:gd name="connsiteY16" fmla="*/ 129480 h 364692"/>
                  <a:gd name="connsiteX17" fmla="*/ 131798 w 364622"/>
                  <a:gd name="connsiteY17" fmla="*/ 0 h 364692"/>
                  <a:gd name="connsiteX18" fmla="*/ 232895 w 364622"/>
                  <a:gd name="connsiteY18" fmla="*/ 0 h 364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4622" h="364692">
                    <a:moveTo>
                      <a:pt x="232825" y="0"/>
                    </a:moveTo>
                    <a:lnTo>
                      <a:pt x="232825" y="129480"/>
                    </a:lnTo>
                    <a:lnTo>
                      <a:pt x="235143" y="131798"/>
                    </a:lnTo>
                    <a:lnTo>
                      <a:pt x="364622" y="131798"/>
                    </a:lnTo>
                    <a:lnTo>
                      <a:pt x="364622" y="232895"/>
                    </a:lnTo>
                    <a:lnTo>
                      <a:pt x="232895" y="232895"/>
                    </a:lnTo>
                    <a:lnTo>
                      <a:pt x="232895" y="362374"/>
                    </a:lnTo>
                    <a:cubicBezTo>
                      <a:pt x="231911" y="363850"/>
                      <a:pt x="227415" y="364693"/>
                      <a:pt x="226010" y="364693"/>
                    </a:cubicBezTo>
                    <a:lnTo>
                      <a:pt x="131798" y="364693"/>
                    </a:lnTo>
                    <a:lnTo>
                      <a:pt x="131798" y="232965"/>
                    </a:lnTo>
                    <a:lnTo>
                      <a:pt x="2318" y="232965"/>
                    </a:lnTo>
                    <a:lnTo>
                      <a:pt x="0" y="230647"/>
                    </a:lnTo>
                    <a:lnTo>
                      <a:pt x="0" y="132571"/>
                    </a:lnTo>
                    <a:lnTo>
                      <a:pt x="2318" y="130604"/>
                    </a:lnTo>
                    <a:cubicBezTo>
                      <a:pt x="2951" y="130604"/>
                      <a:pt x="3443" y="131798"/>
                      <a:pt x="3864" y="131798"/>
                    </a:cubicBezTo>
                    <a:lnTo>
                      <a:pt x="129480" y="131798"/>
                    </a:lnTo>
                    <a:lnTo>
                      <a:pt x="131798" y="129480"/>
                    </a:lnTo>
                    <a:lnTo>
                      <a:pt x="131798" y="0"/>
                    </a:lnTo>
                    <a:lnTo>
                      <a:pt x="232895" y="0"/>
                    </a:lnTo>
                    <a:close/>
                  </a:path>
                </a:pathLst>
              </a:custGeom>
              <a:grpFill/>
              <a:ln w="700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52" name="Group 1151">
            <a:extLst>
              <a:ext uri="{FF2B5EF4-FFF2-40B4-BE49-F238E27FC236}">
                <a16:creationId xmlns:a16="http://schemas.microsoft.com/office/drawing/2014/main" id="{1F5B0401-3646-0E30-25DE-DEAAAB46A64E}"/>
              </a:ext>
            </a:extLst>
          </p:cNvPr>
          <p:cNvGrpSpPr/>
          <p:nvPr>
            <p:custDataLst>
              <p:tags r:id="rId39"/>
            </p:custDataLst>
          </p:nvPr>
        </p:nvGrpSpPr>
        <p:grpSpPr>
          <a:xfrm>
            <a:off x="1086333" y="3678846"/>
            <a:ext cx="329671" cy="324274"/>
            <a:chOff x="-1592528" y="2028401"/>
            <a:chExt cx="1007984" cy="991483"/>
          </a:xfrm>
          <a:solidFill>
            <a:schemeClr val="tx2"/>
          </a:solidFill>
        </p:grpSpPr>
        <p:sp>
          <p:nvSpPr>
            <p:cNvPr id="1128" name="Freeform: Shape 1127">
              <a:extLst>
                <a:ext uri="{FF2B5EF4-FFF2-40B4-BE49-F238E27FC236}">
                  <a16:creationId xmlns:a16="http://schemas.microsoft.com/office/drawing/2014/main" id="{50DFEBFB-F377-7B7B-3D1A-42F0BF2C7ED6}"/>
                </a:ext>
              </a:extLst>
            </p:cNvPr>
            <p:cNvSpPr/>
            <p:nvPr/>
          </p:nvSpPr>
          <p:spPr>
            <a:xfrm>
              <a:off x="-1294609" y="2282283"/>
              <a:ext cx="539624" cy="368912"/>
            </a:xfrm>
            <a:custGeom>
              <a:avLst/>
              <a:gdLst>
                <a:gd name="connsiteX0" fmla="*/ 119327 w 539624"/>
                <a:gd name="connsiteY0" fmla="*/ 127986 h 368912"/>
                <a:gd name="connsiteX1" fmla="*/ 89280 w 539624"/>
                <a:gd name="connsiteY1" fmla="*/ 206122 h 368912"/>
                <a:gd name="connsiteX2" fmla="*/ 147404 w 539624"/>
                <a:gd name="connsiteY2" fmla="*/ 245787 h 368912"/>
                <a:gd name="connsiteX3" fmla="*/ 202601 w 539624"/>
                <a:gd name="connsiteY3" fmla="*/ 329777 h 368912"/>
                <a:gd name="connsiteX4" fmla="*/ 145671 w 539624"/>
                <a:gd name="connsiteY4" fmla="*/ 341605 h 368912"/>
                <a:gd name="connsiteX5" fmla="*/ 143819 w 539624"/>
                <a:gd name="connsiteY5" fmla="*/ 339037 h 368912"/>
                <a:gd name="connsiteX6" fmla="*/ 40893 w 539624"/>
                <a:gd name="connsiteY6" fmla="*/ 271295 h 368912"/>
                <a:gd name="connsiteX7" fmla="*/ 2840 w 539624"/>
                <a:gd name="connsiteY7" fmla="*/ 206839 h 368912"/>
                <a:gd name="connsiteX8" fmla="*/ 37070 w 539624"/>
                <a:gd name="connsiteY8" fmla="*/ 112096 h 368912"/>
                <a:gd name="connsiteX9" fmla="*/ 127272 w 539624"/>
                <a:gd name="connsiteY9" fmla="*/ 3016 h 368912"/>
                <a:gd name="connsiteX10" fmla="*/ 396866 w 539624"/>
                <a:gd name="connsiteY10" fmla="*/ 1582 h 368912"/>
                <a:gd name="connsiteX11" fmla="*/ 481513 w 539624"/>
                <a:gd name="connsiteY11" fmla="*/ 48476 h 368912"/>
                <a:gd name="connsiteX12" fmla="*/ 522911 w 539624"/>
                <a:gd name="connsiteY12" fmla="*/ 168607 h 368912"/>
                <a:gd name="connsiteX13" fmla="*/ 534798 w 539624"/>
                <a:gd name="connsiteY13" fmla="*/ 243756 h 368912"/>
                <a:gd name="connsiteX14" fmla="*/ 505766 w 539624"/>
                <a:gd name="connsiteY14" fmla="*/ 266874 h 368912"/>
                <a:gd name="connsiteX15" fmla="*/ 394775 w 539624"/>
                <a:gd name="connsiteY15" fmla="*/ 340769 h 368912"/>
                <a:gd name="connsiteX16" fmla="*/ 332350 w 539624"/>
                <a:gd name="connsiteY16" fmla="*/ 309706 h 368912"/>
                <a:gd name="connsiteX17" fmla="*/ 352600 w 539624"/>
                <a:gd name="connsiteY17" fmla="*/ 271235 h 368912"/>
                <a:gd name="connsiteX18" fmla="*/ 445611 w 539624"/>
                <a:gd name="connsiteY18" fmla="*/ 210542 h 368912"/>
                <a:gd name="connsiteX19" fmla="*/ 446328 w 539624"/>
                <a:gd name="connsiteY19" fmla="*/ 194354 h 368912"/>
                <a:gd name="connsiteX20" fmla="*/ 421597 w 539624"/>
                <a:gd name="connsiteY20" fmla="*/ 127866 h 368912"/>
                <a:gd name="connsiteX21" fmla="*/ 383186 w 539624"/>
                <a:gd name="connsiteY21" fmla="*/ 127866 h 368912"/>
                <a:gd name="connsiteX22" fmla="*/ 405109 w 539624"/>
                <a:gd name="connsiteY22" fmla="*/ 187424 h 368912"/>
                <a:gd name="connsiteX23" fmla="*/ 404691 w 539624"/>
                <a:gd name="connsiteY23" fmla="*/ 193039 h 368912"/>
                <a:gd name="connsiteX24" fmla="*/ 357798 w 539624"/>
                <a:gd name="connsiteY24" fmla="*/ 223027 h 368912"/>
                <a:gd name="connsiteX25" fmla="*/ 294954 w 539624"/>
                <a:gd name="connsiteY25" fmla="*/ 291725 h 368912"/>
                <a:gd name="connsiteX26" fmla="*/ 320641 w 539624"/>
                <a:gd name="connsiteY26" fmla="*/ 365620 h 368912"/>
                <a:gd name="connsiteX27" fmla="*/ 318550 w 539624"/>
                <a:gd name="connsiteY27" fmla="*/ 368845 h 368912"/>
                <a:gd name="connsiteX28" fmla="*/ 314787 w 539624"/>
                <a:gd name="connsiteY28" fmla="*/ 367591 h 368912"/>
                <a:gd name="connsiteX29" fmla="*/ 220343 w 539624"/>
                <a:gd name="connsiteY29" fmla="*/ 367591 h 368912"/>
                <a:gd name="connsiteX30" fmla="*/ 222314 w 539624"/>
                <a:gd name="connsiteY30" fmla="*/ 363648 h 368912"/>
                <a:gd name="connsiteX31" fmla="*/ 234441 w 539624"/>
                <a:gd name="connsiteY31" fmla="*/ 349729 h 368912"/>
                <a:gd name="connsiteX32" fmla="*/ 202003 w 539624"/>
                <a:gd name="connsiteY32" fmla="*/ 235512 h 368912"/>
                <a:gd name="connsiteX33" fmla="*/ 136293 w 539624"/>
                <a:gd name="connsiteY33" fmla="*/ 192980 h 368912"/>
                <a:gd name="connsiteX34" fmla="*/ 140534 w 539624"/>
                <a:gd name="connsiteY34" fmla="*/ 177627 h 368912"/>
                <a:gd name="connsiteX35" fmla="*/ 157260 w 539624"/>
                <a:gd name="connsiteY35" fmla="*/ 130495 h 368912"/>
                <a:gd name="connsiteX36" fmla="*/ 155886 w 539624"/>
                <a:gd name="connsiteY36" fmla="*/ 127866 h 368912"/>
                <a:gd name="connsiteX37" fmla="*/ 119387 w 539624"/>
                <a:gd name="connsiteY37" fmla="*/ 127866 h 368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39624" h="368912">
                  <a:moveTo>
                    <a:pt x="119327" y="127986"/>
                  </a:moveTo>
                  <a:lnTo>
                    <a:pt x="89280" y="206122"/>
                  </a:lnTo>
                  <a:cubicBezTo>
                    <a:pt x="107918" y="220040"/>
                    <a:pt x="127930" y="232764"/>
                    <a:pt x="147404" y="245787"/>
                  </a:cubicBezTo>
                  <a:cubicBezTo>
                    <a:pt x="174883" y="264126"/>
                    <a:pt x="229124" y="286826"/>
                    <a:pt x="202601" y="329777"/>
                  </a:cubicBezTo>
                  <a:cubicBezTo>
                    <a:pt x="190952" y="348714"/>
                    <a:pt x="164190" y="351701"/>
                    <a:pt x="145671" y="341605"/>
                  </a:cubicBezTo>
                  <a:cubicBezTo>
                    <a:pt x="144835" y="341127"/>
                    <a:pt x="144656" y="339574"/>
                    <a:pt x="143819" y="339037"/>
                  </a:cubicBezTo>
                  <a:cubicBezTo>
                    <a:pt x="108933" y="318069"/>
                    <a:pt x="74764" y="294055"/>
                    <a:pt x="40893" y="271295"/>
                  </a:cubicBezTo>
                  <a:cubicBezTo>
                    <a:pt x="13951" y="253194"/>
                    <a:pt x="-8032" y="246803"/>
                    <a:pt x="2840" y="206839"/>
                  </a:cubicBezTo>
                  <a:cubicBezTo>
                    <a:pt x="11084" y="176552"/>
                    <a:pt x="26257" y="142502"/>
                    <a:pt x="37070" y="112096"/>
                  </a:cubicBezTo>
                  <a:cubicBezTo>
                    <a:pt x="56544" y="57257"/>
                    <a:pt x="57559" y="11857"/>
                    <a:pt x="127272" y="3016"/>
                  </a:cubicBezTo>
                  <a:cubicBezTo>
                    <a:pt x="215623" y="3972"/>
                    <a:pt x="308813" y="-3018"/>
                    <a:pt x="396866" y="1582"/>
                  </a:cubicBezTo>
                  <a:cubicBezTo>
                    <a:pt x="433425" y="3494"/>
                    <a:pt x="466041" y="12514"/>
                    <a:pt x="481513" y="48476"/>
                  </a:cubicBezTo>
                  <a:cubicBezTo>
                    <a:pt x="497224" y="85035"/>
                    <a:pt x="509589" y="130017"/>
                    <a:pt x="522911" y="168607"/>
                  </a:cubicBezTo>
                  <a:cubicBezTo>
                    <a:pt x="530437" y="190411"/>
                    <a:pt x="548120" y="221833"/>
                    <a:pt x="534798" y="243756"/>
                  </a:cubicBezTo>
                  <a:cubicBezTo>
                    <a:pt x="528108" y="254748"/>
                    <a:pt x="515802" y="259945"/>
                    <a:pt x="505766" y="266874"/>
                  </a:cubicBezTo>
                  <a:cubicBezTo>
                    <a:pt x="471178" y="290650"/>
                    <a:pt x="430498" y="320219"/>
                    <a:pt x="394775" y="340769"/>
                  </a:cubicBezTo>
                  <a:cubicBezTo>
                    <a:pt x="367893" y="356241"/>
                    <a:pt x="333305" y="342143"/>
                    <a:pt x="332350" y="309706"/>
                  </a:cubicBezTo>
                  <a:cubicBezTo>
                    <a:pt x="331752" y="290590"/>
                    <a:pt x="338025" y="282286"/>
                    <a:pt x="352600" y="271235"/>
                  </a:cubicBezTo>
                  <a:cubicBezTo>
                    <a:pt x="380916" y="249789"/>
                    <a:pt x="418132" y="232525"/>
                    <a:pt x="445611" y="210542"/>
                  </a:cubicBezTo>
                  <a:cubicBezTo>
                    <a:pt x="453914" y="203911"/>
                    <a:pt x="448359" y="200566"/>
                    <a:pt x="446328" y="194354"/>
                  </a:cubicBezTo>
                  <a:cubicBezTo>
                    <a:pt x="439040" y="171952"/>
                    <a:pt x="431155" y="149431"/>
                    <a:pt x="421597" y="127866"/>
                  </a:cubicBezTo>
                  <a:lnTo>
                    <a:pt x="383186" y="127866"/>
                  </a:lnTo>
                  <a:lnTo>
                    <a:pt x="405109" y="187424"/>
                  </a:lnTo>
                  <a:lnTo>
                    <a:pt x="404691" y="193039"/>
                  </a:lnTo>
                  <a:cubicBezTo>
                    <a:pt x="389339" y="203314"/>
                    <a:pt x="373210" y="212693"/>
                    <a:pt x="357798" y="223027"/>
                  </a:cubicBezTo>
                  <a:cubicBezTo>
                    <a:pt x="329841" y="241785"/>
                    <a:pt x="302959" y="255883"/>
                    <a:pt x="294954" y="291725"/>
                  </a:cubicBezTo>
                  <a:cubicBezTo>
                    <a:pt x="288921" y="318606"/>
                    <a:pt x="300749" y="347758"/>
                    <a:pt x="320641" y="365620"/>
                  </a:cubicBezTo>
                  <a:lnTo>
                    <a:pt x="318550" y="368845"/>
                  </a:lnTo>
                  <a:cubicBezTo>
                    <a:pt x="316818" y="369263"/>
                    <a:pt x="315265" y="367591"/>
                    <a:pt x="314787" y="367591"/>
                  </a:cubicBezTo>
                  <a:lnTo>
                    <a:pt x="220343" y="367591"/>
                  </a:lnTo>
                  <a:cubicBezTo>
                    <a:pt x="219745" y="365321"/>
                    <a:pt x="221298" y="364962"/>
                    <a:pt x="222314" y="363648"/>
                  </a:cubicBezTo>
                  <a:cubicBezTo>
                    <a:pt x="225958" y="358929"/>
                    <a:pt x="230856" y="355345"/>
                    <a:pt x="234441" y="349729"/>
                  </a:cubicBezTo>
                  <a:cubicBezTo>
                    <a:pt x="261681" y="307197"/>
                    <a:pt x="242744" y="258989"/>
                    <a:pt x="202003" y="235512"/>
                  </a:cubicBezTo>
                  <a:lnTo>
                    <a:pt x="136293" y="192980"/>
                  </a:lnTo>
                  <a:cubicBezTo>
                    <a:pt x="133604" y="188678"/>
                    <a:pt x="139280" y="181331"/>
                    <a:pt x="140534" y="177627"/>
                  </a:cubicBezTo>
                  <a:cubicBezTo>
                    <a:pt x="145851" y="161797"/>
                    <a:pt x="150988" y="145967"/>
                    <a:pt x="157260" y="130495"/>
                  </a:cubicBezTo>
                  <a:lnTo>
                    <a:pt x="155886" y="127866"/>
                  </a:lnTo>
                  <a:lnTo>
                    <a:pt x="119387" y="127866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0" name="Freeform: Shape 1129">
              <a:extLst>
                <a:ext uri="{FF2B5EF4-FFF2-40B4-BE49-F238E27FC236}">
                  <a16:creationId xmlns:a16="http://schemas.microsoft.com/office/drawing/2014/main" id="{6B535E87-CF1F-9D7A-B7A2-50DD3BB5B417}"/>
                </a:ext>
              </a:extLst>
            </p:cNvPr>
            <p:cNvSpPr/>
            <p:nvPr/>
          </p:nvSpPr>
          <p:spPr>
            <a:xfrm>
              <a:off x="-898461" y="2696400"/>
              <a:ext cx="313917" cy="323484"/>
            </a:xfrm>
            <a:custGeom>
              <a:avLst/>
              <a:gdLst>
                <a:gd name="connsiteX0" fmla="*/ 313918 w 313917"/>
                <a:gd name="connsiteY0" fmla="*/ 426 h 323484"/>
                <a:gd name="connsiteX1" fmla="*/ 313918 w 313917"/>
                <a:gd name="connsiteY1" fmla="*/ 323484 h 323484"/>
                <a:gd name="connsiteX2" fmla="*/ 1314 w 313917"/>
                <a:gd name="connsiteY2" fmla="*/ 323484 h 323484"/>
                <a:gd name="connsiteX3" fmla="*/ 0 w 313917"/>
                <a:gd name="connsiteY3" fmla="*/ 320199 h 323484"/>
                <a:gd name="connsiteX4" fmla="*/ 0 w 313917"/>
                <a:gd name="connsiteY4" fmla="*/ 2398 h 323484"/>
                <a:gd name="connsiteX5" fmla="*/ 5854 w 313917"/>
                <a:gd name="connsiteY5" fmla="*/ 426 h 323484"/>
                <a:gd name="connsiteX6" fmla="*/ 313918 w 313917"/>
                <a:gd name="connsiteY6" fmla="*/ 426 h 323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3917" h="323484">
                  <a:moveTo>
                    <a:pt x="313918" y="426"/>
                  </a:moveTo>
                  <a:lnTo>
                    <a:pt x="313918" y="323484"/>
                  </a:lnTo>
                  <a:lnTo>
                    <a:pt x="1314" y="323484"/>
                  </a:lnTo>
                  <a:cubicBezTo>
                    <a:pt x="1732" y="322230"/>
                    <a:pt x="0" y="320677"/>
                    <a:pt x="0" y="320199"/>
                  </a:cubicBezTo>
                  <a:lnTo>
                    <a:pt x="0" y="2398"/>
                  </a:lnTo>
                  <a:cubicBezTo>
                    <a:pt x="0" y="-1366"/>
                    <a:pt x="5137" y="426"/>
                    <a:pt x="5854" y="426"/>
                  </a:cubicBezTo>
                  <a:lnTo>
                    <a:pt x="313918" y="426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2" name="Freeform: Shape 1131">
              <a:extLst>
                <a:ext uri="{FF2B5EF4-FFF2-40B4-BE49-F238E27FC236}">
                  <a16:creationId xmlns:a16="http://schemas.microsoft.com/office/drawing/2014/main" id="{F6A9FAA7-4232-CF62-B51A-7C67F586EBD1}"/>
                </a:ext>
              </a:extLst>
            </p:cNvPr>
            <p:cNvSpPr/>
            <p:nvPr/>
          </p:nvSpPr>
          <p:spPr>
            <a:xfrm>
              <a:off x="-1479463" y="2892167"/>
              <a:ext cx="545757" cy="127717"/>
            </a:xfrm>
            <a:custGeom>
              <a:avLst/>
              <a:gdLst>
                <a:gd name="connsiteX0" fmla="*/ 544503 w 545757"/>
                <a:gd name="connsiteY0" fmla="*/ 127718 h 127717"/>
                <a:gd name="connsiteX1" fmla="*/ 1971 w 545757"/>
                <a:gd name="connsiteY1" fmla="*/ 127718 h 127717"/>
                <a:gd name="connsiteX2" fmla="*/ 0 w 545757"/>
                <a:gd name="connsiteY2" fmla="*/ 125746 h 127717"/>
                <a:gd name="connsiteX3" fmla="*/ 0 w 545757"/>
                <a:gd name="connsiteY3" fmla="*/ 25448 h 127717"/>
                <a:gd name="connsiteX4" fmla="*/ 3286 w 545757"/>
                <a:gd name="connsiteY4" fmla="*/ 15711 h 127717"/>
                <a:gd name="connsiteX5" fmla="*/ 22760 w 545757"/>
                <a:gd name="connsiteY5" fmla="*/ 0 h 127717"/>
                <a:gd name="connsiteX6" fmla="*/ 543786 w 545757"/>
                <a:gd name="connsiteY6" fmla="*/ 0 h 127717"/>
                <a:gd name="connsiteX7" fmla="*/ 545757 w 545757"/>
                <a:gd name="connsiteY7" fmla="*/ 1971 h 127717"/>
                <a:gd name="connsiteX8" fmla="*/ 545757 w 545757"/>
                <a:gd name="connsiteY8" fmla="*/ 124432 h 127717"/>
                <a:gd name="connsiteX9" fmla="*/ 544443 w 545757"/>
                <a:gd name="connsiteY9" fmla="*/ 127718 h 12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45757" h="127717">
                  <a:moveTo>
                    <a:pt x="544503" y="127718"/>
                  </a:moveTo>
                  <a:lnTo>
                    <a:pt x="1971" y="127718"/>
                  </a:lnTo>
                  <a:lnTo>
                    <a:pt x="0" y="125746"/>
                  </a:lnTo>
                  <a:lnTo>
                    <a:pt x="0" y="25448"/>
                  </a:lnTo>
                  <a:cubicBezTo>
                    <a:pt x="0" y="24910"/>
                    <a:pt x="3943" y="18280"/>
                    <a:pt x="3286" y="15711"/>
                  </a:cubicBezTo>
                  <a:cubicBezTo>
                    <a:pt x="4898" y="12186"/>
                    <a:pt x="19415" y="0"/>
                    <a:pt x="22760" y="0"/>
                  </a:cubicBezTo>
                  <a:lnTo>
                    <a:pt x="543786" y="0"/>
                  </a:lnTo>
                  <a:lnTo>
                    <a:pt x="545757" y="1971"/>
                  </a:lnTo>
                  <a:lnTo>
                    <a:pt x="545757" y="124432"/>
                  </a:lnTo>
                  <a:cubicBezTo>
                    <a:pt x="545757" y="124850"/>
                    <a:pt x="544025" y="126404"/>
                    <a:pt x="544443" y="127718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3" name="Freeform: Shape 1132">
              <a:extLst>
                <a:ext uri="{FF2B5EF4-FFF2-40B4-BE49-F238E27FC236}">
                  <a16:creationId xmlns:a16="http://schemas.microsoft.com/office/drawing/2014/main" id="{96BCE90E-6F77-B901-5DE3-32C386508DA7}"/>
                </a:ext>
              </a:extLst>
            </p:cNvPr>
            <p:cNvSpPr/>
            <p:nvPr/>
          </p:nvSpPr>
          <p:spPr>
            <a:xfrm>
              <a:off x="-1592528" y="2028401"/>
              <a:ext cx="307270" cy="272257"/>
            </a:xfrm>
            <a:custGeom>
              <a:avLst/>
              <a:gdLst>
                <a:gd name="connsiteX0" fmla="*/ 237319 w 307270"/>
                <a:gd name="connsiteY0" fmla="*/ 154449 h 272257"/>
                <a:gd name="connsiteX1" fmla="*/ 235825 w 307270"/>
                <a:gd name="connsiteY1" fmla="*/ 156420 h 272257"/>
                <a:gd name="connsiteX2" fmla="*/ 216172 w 307270"/>
                <a:gd name="connsiteY2" fmla="*/ 167113 h 272257"/>
                <a:gd name="connsiteX3" fmla="*/ 222384 w 307270"/>
                <a:gd name="connsiteY3" fmla="*/ 200088 h 272257"/>
                <a:gd name="connsiteX4" fmla="*/ 116948 w 307270"/>
                <a:gd name="connsiteY4" fmla="*/ 228821 h 272257"/>
                <a:gd name="connsiteX5" fmla="*/ 115515 w 307270"/>
                <a:gd name="connsiteY5" fmla="*/ 224460 h 272257"/>
                <a:gd name="connsiteX6" fmla="*/ 111154 w 307270"/>
                <a:gd name="connsiteY6" fmla="*/ 224221 h 272257"/>
                <a:gd name="connsiteX7" fmla="*/ 21011 w 307270"/>
                <a:gd name="connsiteY7" fmla="*/ 272250 h 272257"/>
                <a:gd name="connsiteX8" fmla="*/ 13842 w 307270"/>
                <a:gd name="connsiteY8" fmla="*/ 261617 h 272257"/>
                <a:gd name="connsiteX9" fmla="*/ 4045 w 307270"/>
                <a:gd name="connsiteY9" fmla="*/ 157495 h 272257"/>
                <a:gd name="connsiteX10" fmla="*/ 57211 w 307270"/>
                <a:gd name="connsiteY10" fmla="*/ 71056 h 272257"/>
                <a:gd name="connsiteX11" fmla="*/ 37857 w 307270"/>
                <a:gd name="connsiteY11" fmla="*/ 31032 h 272257"/>
                <a:gd name="connsiteX12" fmla="*/ 44965 w 307270"/>
                <a:gd name="connsiteY12" fmla="*/ 23864 h 272257"/>
                <a:gd name="connsiteX13" fmla="*/ 86184 w 307270"/>
                <a:gd name="connsiteY13" fmla="*/ 1223 h 272257"/>
                <a:gd name="connsiteX14" fmla="*/ 97056 w 307270"/>
                <a:gd name="connsiteY14" fmla="*/ 1402 h 272257"/>
                <a:gd name="connsiteX15" fmla="*/ 113424 w 307270"/>
                <a:gd name="connsiteY15" fmla="*/ 31928 h 272257"/>
                <a:gd name="connsiteX16" fmla="*/ 143890 w 307270"/>
                <a:gd name="connsiteY16" fmla="*/ 31510 h 272257"/>
                <a:gd name="connsiteX17" fmla="*/ 307271 w 307270"/>
                <a:gd name="connsiteY17" fmla="*/ 115381 h 272257"/>
                <a:gd name="connsiteX18" fmla="*/ 237438 w 307270"/>
                <a:gd name="connsiteY18" fmla="*/ 154449 h 272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07270" h="272257">
                  <a:moveTo>
                    <a:pt x="237319" y="154449"/>
                  </a:moveTo>
                  <a:cubicBezTo>
                    <a:pt x="237319" y="154449"/>
                    <a:pt x="236841" y="155823"/>
                    <a:pt x="235825" y="156420"/>
                  </a:cubicBezTo>
                  <a:cubicBezTo>
                    <a:pt x="229553" y="160064"/>
                    <a:pt x="222026" y="162155"/>
                    <a:pt x="216172" y="167113"/>
                  </a:cubicBezTo>
                  <a:cubicBezTo>
                    <a:pt x="219278" y="177746"/>
                    <a:pt x="223758" y="188678"/>
                    <a:pt x="222384" y="200088"/>
                  </a:cubicBezTo>
                  <a:cubicBezTo>
                    <a:pt x="215933" y="253911"/>
                    <a:pt x="149266" y="271354"/>
                    <a:pt x="116948" y="228821"/>
                  </a:cubicBezTo>
                  <a:cubicBezTo>
                    <a:pt x="115993" y="227567"/>
                    <a:pt x="115933" y="225954"/>
                    <a:pt x="115515" y="224460"/>
                  </a:cubicBezTo>
                  <a:lnTo>
                    <a:pt x="111154" y="224221"/>
                  </a:lnTo>
                  <a:lnTo>
                    <a:pt x="21011" y="272250"/>
                  </a:lnTo>
                  <a:cubicBezTo>
                    <a:pt x="19278" y="272549"/>
                    <a:pt x="14798" y="263767"/>
                    <a:pt x="13842" y="261617"/>
                  </a:cubicBezTo>
                  <a:cubicBezTo>
                    <a:pt x="-1092" y="229598"/>
                    <a:pt x="-3242" y="190470"/>
                    <a:pt x="4045" y="157495"/>
                  </a:cubicBezTo>
                  <a:cubicBezTo>
                    <a:pt x="11274" y="124700"/>
                    <a:pt x="31704" y="92442"/>
                    <a:pt x="57211" y="71056"/>
                  </a:cubicBezTo>
                  <a:cubicBezTo>
                    <a:pt x="51955" y="57137"/>
                    <a:pt x="41799" y="45369"/>
                    <a:pt x="37857" y="31032"/>
                  </a:cubicBezTo>
                  <a:cubicBezTo>
                    <a:pt x="38155" y="29598"/>
                    <a:pt x="43352" y="24939"/>
                    <a:pt x="44965" y="23864"/>
                  </a:cubicBezTo>
                  <a:cubicBezTo>
                    <a:pt x="52373" y="18786"/>
                    <a:pt x="78179" y="4330"/>
                    <a:pt x="86184" y="1223"/>
                  </a:cubicBezTo>
                  <a:cubicBezTo>
                    <a:pt x="89290" y="28"/>
                    <a:pt x="94189" y="-868"/>
                    <a:pt x="97056" y="1402"/>
                  </a:cubicBezTo>
                  <a:lnTo>
                    <a:pt x="113424" y="31928"/>
                  </a:lnTo>
                  <a:cubicBezTo>
                    <a:pt x="119876" y="42143"/>
                    <a:pt x="133615" y="32406"/>
                    <a:pt x="143890" y="31510"/>
                  </a:cubicBezTo>
                  <a:cubicBezTo>
                    <a:pt x="210736" y="25357"/>
                    <a:pt x="275490" y="55883"/>
                    <a:pt x="307271" y="115381"/>
                  </a:cubicBezTo>
                  <a:cubicBezTo>
                    <a:pt x="285228" y="130494"/>
                    <a:pt x="260616" y="141247"/>
                    <a:pt x="237438" y="154449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4" name="Freeform: Shape 1133">
              <a:extLst>
                <a:ext uri="{FF2B5EF4-FFF2-40B4-BE49-F238E27FC236}">
                  <a16:creationId xmlns:a16="http://schemas.microsoft.com/office/drawing/2014/main" id="{335CC593-0D02-D53C-5014-F75FCE8C9B80}"/>
                </a:ext>
              </a:extLst>
            </p:cNvPr>
            <p:cNvSpPr/>
            <p:nvPr/>
          </p:nvSpPr>
          <p:spPr>
            <a:xfrm>
              <a:off x="-1267145" y="2699455"/>
              <a:ext cx="334716" cy="160186"/>
            </a:xfrm>
            <a:custGeom>
              <a:avLst/>
              <a:gdLst>
                <a:gd name="connsiteX0" fmla="*/ 332185 w 334716"/>
                <a:gd name="connsiteY0" fmla="*/ 0 h 160186"/>
                <a:gd name="connsiteX1" fmla="*/ 333559 w 334716"/>
                <a:gd name="connsiteY1" fmla="*/ 7109 h 160186"/>
                <a:gd name="connsiteX2" fmla="*/ 333559 w 334716"/>
                <a:gd name="connsiteY2" fmla="*/ 153106 h 160186"/>
                <a:gd name="connsiteX3" fmla="*/ 326390 w 334716"/>
                <a:gd name="connsiteY3" fmla="*/ 158960 h 160186"/>
                <a:gd name="connsiteX4" fmla="*/ 82663 w 334716"/>
                <a:gd name="connsiteY4" fmla="*/ 158960 h 160186"/>
                <a:gd name="connsiteX5" fmla="*/ 1600 w 334716"/>
                <a:gd name="connsiteY5" fmla="*/ 62186 h 160186"/>
                <a:gd name="connsiteX6" fmla="*/ 71014 w 334716"/>
                <a:gd name="connsiteY6" fmla="*/ 0 h 160186"/>
                <a:gd name="connsiteX7" fmla="*/ 332185 w 334716"/>
                <a:gd name="connsiteY7" fmla="*/ 0 h 160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34716" h="160186">
                  <a:moveTo>
                    <a:pt x="332185" y="0"/>
                  </a:moveTo>
                  <a:cubicBezTo>
                    <a:pt x="332782" y="2389"/>
                    <a:pt x="333379" y="4600"/>
                    <a:pt x="333559" y="7109"/>
                  </a:cubicBezTo>
                  <a:cubicBezTo>
                    <a:pt x="337262" y="54002"/>
                    <a:pt x="330632" y="105675"/>
                    <a:pt x="333559" y="153106"/>
                  </a:cubicBezTo>
                  <a:cubicBezTo>
                    <a:pt x="333559" y="157467"/>
                    <a:pt x="330572" y="159319"/>
                    <a:pt x="326390" y="158960"/>
                  </a:cubicBezTo>
                  <a:cubicBezTo>
                    <a:pt x="245984" y="155794"/>
                    <a:pt x="162711" y="162903"/>
                    <a:pt x="82663" y="158960"/>
                  </a:cubicBezTo>
                  <a:cubicBezTo>
                    <a:pt x="30453" y="156392"/>
                    <a:pt x="-8496" y="116427"/>
                    <a:pt x="1600" y="62186"/>
                  </a:cubicBezTo>
                  <a:cubicBezTo>
                    <a:pt x="6917" y="33453"/>
                    <a:pt x="41684" y="0"/>
                    <a:pt x="71014" y="0"/>
                  </a:cubicBezTo>
                  <a:lnTo>
                    <a:pt x="332185" y="0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6" name="Freeform: Shape 1135">
              <a:extLst>
                <a:ext uri="{FF2B5EF4-FFF2-40B4-BE49-F238E27FC236}">
                  <a16:creationId xmlns:a16="http://schemas.microsoft.com/office/drawing/2014/main" id="{F3B564EA-280B-B21C-CC80-D26298829CD1}"/>
                </a:ext>
              </a:extLst>
            </p:cNvPr>
            <p:cNvSpPr/>
            <p:nvPr/>
          </p:nvSpPr>
          <p:spPr>
            <a:xfrm>
              <a:off x="-1479059" y="2666236"/>
              <a:ext cx="192956" cy="191601"/>
            </a:xfrm>
            <a:custGeom>
              <a:avLst/>
              <a:gdLst>
                <a:gd name="connsiteX0" fmla="*/ 146370 w 192956"/>
                <a:gd name="connsiteY0" fmla="*/ 12849 h 191601"/>
                <a:gd name="connsiteX1" fmla="*/ 179942 w 192956"/>
                <a:gd name="connsiteY1" fmla="*/ 145167 h 191601"/>
                <a:gd name="connsiteX2" fmla="*/ 8497 w 192956"/>
                <a:gd name="connsiteY2" fmla="*/ 134414 h 191601"/>
                <a:gd name="connsiteX3" fmla="*/ 146370 w 192956"/>
                <a:gd name="connsiteY3" fmla="*/ 12849 h 191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956" h="191601">
                  <a:moveTo>
                    <a:pt x="146370" y="12849"/>
                  </a:moveTo>
                  <a:cubicBezTo>
                    <a:pt x="191531" y="37939"/>
                    <a:pt x="206226" y="100842"/>
                    <a:pt x="179942" y="145167"/>
                  </a:cubicBezTo>
                  <a:cubicBezTo>
                    <a:pt x="140456" y="211773"/>
                    <a:pt x="39381" y="205441"/>
                    <a:pt x="8497" y="134414"/>
                  </a:cubicBezTo>
                  <a:cubicBezTo>
                    <a:pt x="-29138" y="47855"/>
                    <a:pt x="65725" y="-31894"/>
                    <a:pt x="146370" y="12849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9" name="Freeform: Shape 1138">
              <a:extLst>
                <a:ext uri="{FF2B5EF4-FFF2-40B4-BE49-F238E27FC236}">
                  <a16:creationId xmlns:a16="http://schemas.microsoft.com/office/drawing/2014/main" id="{FEACA1F9-0B2F-C563-2D25-D1E0FF4A8FD2}"/>
                </a:ext>
              </a:extLst>
            </p:cNvPr>
            <p:cNvSpPr/>
            <p:nvPr/>
          </p:nvSpPr>
          <p:spPr>
            <a:xfrm>
              <a:off x="-1141037" y="2132569"/>
              <a:ext cx="213965" cy="126438"/>
            </a:xfrm>
            <a:custGeom>
              <a:avLst/>
              <a:gdLst>
                <a:gd name="connsiteX0" fmla="*/ 81824 w 213965"/>
                <a:gd name="connsiteY0" fmla="*/ 13781 h 126438"/>
                <a:gd name="connsiteX1" fmla="*/ 128360 w 213965"/>
                <a:gd name="connsiteY1" fmla="*/ 16947 h 126438"/>
                <a:gd name="connsiteX2" fmla="*/ 144429 w 213965"/>
                <a:gd name="connsiteY2" fmla="*/ 519 h 126438"/>
                <a:gd name="connsiteX3" fmla="*/ 209064 w 213965"/>
                <a:gd name="connsiteY3" fmla="*/ 519 h 126438"/>
                <a:gd name="connsiteX4" fmla="*/ 213963 w 213965"/>
                <a:gd name="connsiteY4" fmla="*/ 17843 h 126438"/>
                <a:gd name="connsiteX5" fmla="*/ 50582 w 213965"/>
                <a:gd name="connsiteY5" fmla="*/ 110794 h 126438"/>
                <a:gd name="connsiteX6" fmla="*/ 1837 w 213965"/>
                <a:gd name="connsiteY6" fmla="*/ 1893 h 126438"/>
                <a:gd name="connsiteX7" fmla="*/ 68563 w 213965"/>
                <a:gd name="connsiteY7" fmla="*/ 280 h 126438"/>
                <a:gd name="connsiteX8" fmla="*/ 81765 w 213965"/>
                <a:gd name="connsiteY8" fmla="*/ 13781 h 126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965" h="126438">
                  <a:moveTo>
                    <a:pt x="81824" y="13781"/>
                  </a:moveTo>
                  <a:cubicBezTo>
                    <a:pt x="94549" y="24533"/>
                    <a:pt x="114023" y="27042"/>
                    <a:pt x="128360" y="16947"/>
                  </a:cubicBezTo>
                  <a:cubicBezTo>
                    <a:pt x="134572" y="12586"/>
                    <a:pt x="138276" y="3984"/>
                    <a:pt x="144429" y="519"/>
                  </a:cubicBezTo>
                  <a:lnTo>
                    <a:pt x="209064" y="519"/>
                  </a:lnTo>
                  <a:cubicBezTo>
                    <a:pt x="212410" y="1535"/>
                    <a:pt x="213903" y="14318"/>
                    <a:pt x="213963" y="17843"/>
                  </a:cubicBezTo>
                  <a:cubicBezTo>
                    <a:pt x="214500" y="101893"/>
                    <a:pt x="122864" y="154282"/>
                    <a:pt x="50582" y="110794"/>
                  </a:cubicBezTo>
                  <a:cubicBezTo>
                    <a:pt x="15397" y="89587"/>
                    <a:pt x="-6706" y="42455"/>
                    <a:pt x="1837" y="1893"/>
                  </a:cubicBezTo>
                  <a:cubicBezTo>
                    <a:pt x="5122" y="-1930"/>
                    <a:pt x="59483" y="1415"/>
                    <a:pt x="68563" y="280"/>
                  </a:cubicBezTo>
                  <a:cubicBezTo>
                    <a:pt x="74059" y="3626"/>
                    <a:pt x="76329" y="9181"/>
                    <a:pt x="81765" y="13781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5" name="Freeform: Shape 1144">
              <a:extLst>
                <a:ext uri="{FF2B5EF4-FFF2-40B4-BE49-F238E27FC236}">
                  <a16:creationId xmlns:a16="http://schemas.microsoft.com/office/drawing/2014/main" id="{58FE5A1B-063A-5BE8-A4AA-EC087E886CD7}"/>
                </a:ext>
              </a:extLst>
            </p:cNvPr>
            <p:cNvSpPr/>
            <p:nvPr/>
          </p:nvSpPr>
          <p:spPr>
            <a:xfrm>
              <a:off x="-1129128" y="2046181"/>
              <a:ext cx="190384" cy="61878"/>
            </a:xfrm>
            <a:custGeom>
              <a:avLst/>
              <a:gdLst>
                <a:gd name="connsiteX0" fmla="*/ 83 w 190384"/>
                <a:gd name="connsiteY0" fmla="*/ 61878 h 61878"/>
                <a:gd name="connsiteX1" fmla="*/ 3129 w 190384"/>
                <a:gd name="connsiteY1" fmla="*/ 50588 h 61878"/>
                <a:gd name="connsiteX2" fmla="*/ 181146 w 190384"/>
                <a:gd name="connsiteY2" fmla="*/ 42046 h 61878"/>
                <a:gd name="connsiteX3" fmla="*/ 190046 w 190384"/>
                <a:gd name="connsiteY3" fmla="*/ 56323 h 61878"/>
                <a:gd name="connsiteX4" fmla="*/ 189688 w 190384"/>
                <a:gd name="connsiteY4" fmla="*/ 60684 h 61878"/>
                <a:gd name="connsiteX5" fmla="*/ 135148 w 190384"/>
                <a:gd name="connsiteY5" fmla="*/ 61639 h 61878"/>
                <a:gd name="connsiteX6" fmla="*/ 121946 w 190384"/>
                <a:gd name="connsiteY6" fmla="*/ 43599 h 61878"/>
                <a:gd name="connsiteX7" fmla="*/ 61791 w 190384"/>
                <a:gd name="connsiteY7" fmla="*/ 50588 h 61878"/>
                <a:gd name="connsiteX8" fmla="*/ 54204 w 190384"/>
                <a:gd name="connsiteY8" fmla="*/ 61878 h 61878"/>
                <a:gd name="connsiteX9" fmla="*/ 142 w 190384"/>
                <a:gd name="connsiteY9" fmla="*/ 61878 h 61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0384" h="61878">
                  <a:moveTo>
                    <a:pt x="83" y="61878"/>
                  </a:moveTo>
                  <a:cubicBezTo>
                    <a:pt x="-515" y="61281"/>
                    <a:pt x="2293" y="52081"/>
                    <a:pt x="3129" y="50588"/>
                  </a:cubicBezTo>
                  <a:cubicBezTo>
                    <a:pt x="38314" y="-14466"/>
                    <a:pt x="136821" y="-16198"/>
                    <a:pt x="181146" y="42046"/>
                  </a:cubicBezTo>
                  <a:cubicBezTo>
                    <a:pt x="182161" y="43360"/>
                    <a:pt x="189808" y="55486"/>
                    <a:pt x="190046" y="56323"/>
                  </a:cubicBezTo>
                  <a:cubicBezTo>
                    <a:pt x="190465" y="57756"/>
                    <a:pt x="190644" y="59429"/>
                    <a:pt x="189688" y="60684"/>
                  </a:cubicBezTo>
                  <a:lnTo>
                    <a:pt x="135148" y="61639"/>
                  </a:lnTo>
                  <a:cubicBezTo>
                    <a:pt x="131564" y="60564"/>
                    <a:pt x="125471" y="47243"/>
                    <a:pt x="121946" y="43599"/>
                  </a:cubicBezTo>
                  <a:cubicBezTo>
                    <a:pt x="104025" y="25140"/>
                    <a:pt x="75949" y="30696"/>
                    <a:pt x="61791" y="50588"/>
                  </a:cubicBezTo>
                  <a:cubicBezTo>
                    <a:pt x="60357" y="52619"/>
                    <a:pt x="58565" y="61878"/>
                    <a:pt x="54204" y="61878"/>
                  </a:cubicBezTo>
                  <a:lnTo>
                    <a:pt x="142" y="61878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54" name="Group 1153">
            <a:extLst>
              <a:ext uri="{FF2B5EF4-FFF2-40B4-BE49-F238E27FC236}">
                <a16:creationId xmlns:a16="http://schemas.microsoft.com/office/drawing/2014/main" id="{A89D3651-8E05-973B-7C0C-DEBABF92A35D}"/>
              </a:ext>
            </a:extLst>
          </p:cNvPr>
          <p:cNvGrpSpPr/>
          <p:nvPr>
            <p:custDataLst>
              <p:tags r:id="rId40"/>
            </p:custDataLst>
          </p:nvPr>
        </p:nvGrpSpPr>
        <p:grpSpPr>
          <a:xfrm>
            <a:off x="1099938" y="4235080"/>
            <a:ext cx="302461" cy="309169"/>
            <a:chOff x="-2593140" y="3119831"/>
            <a:chExt cx="982851" cy="1004650"/>
          </a:xfrm>
          <a:solidFill>
            <a:schemeClr val="tx2"/>
          </a:solidFill>
        </p:grpSpPr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C85E4EC5-BBA6-65DB-ED73-884FDC9D379B}"/>
                </a:ext>
              </a:extLst>
            </p:cNvPr>
            <p:cNvSpPr/>
            <p:nvPr/>
          </p:nvSpPr>
          <p:spPr>
            <a:xfrm>
              <a:off x="-2593140" y="3119831"/>
              <a:ext cx="549700" cy="1004650"/>
            </a:xfrm>
            <a:custGeom>
              <a:avLst/>
              <a:gdLst>
                <a:gd name="connsiteX0" fmla="*/ 24134 w 549700"/>
                <a:gd name="connsiteY0" fmla="*/ 1004651 h 1004650"/>
                <a:gd name="connsiteX1" fmla="*/ 0 w 549700"/>
                <a:gd name="connsiteY1" fmla="*/ 980577 h 1004650"/>
                <a:gd name="connsiteX2" fmla="*/ 0 w 549700"/>
                <a:gd name="connsiteY2" fmla="*/ 24366 h 1004650"/>
                <a:gd name="connsiteX3" fmla="*/ 19355 w 549700"/>
                <a:gd name="connsiteY3" fmla="*/ 2025 h 1004650"/>
                <a:gd name="connsiteX4" fmla="*/ 521743 w 549700"/>
                <a:gd name="connsiteY4" fmla="*/ 233 h 1004650"/>
                <a:gd name="connsiteX5" fmla="*/ 549700 w 549700"/>
                <a:gd name="connsiteY5" fmla="*/ 23052 h 1004650"/>
                <a:gd name="connsiteX6" fmla="*/ 549461 w 549700"/>
                <a:gd name="connsiteY6" fmla="*/ 170005 h 1004650"/>
                <a:gd name="connsiteX7" fmla="*/ 521743 w 549700"/>
                <a:gd name="connsiteY7" fmla="*/ 189181 h 1004650"/>
                <a:gd name="connsiteX8" fmla="*/ 452030 w 549700"/>
                <a:gd name="connsiteY8" fmla="*/ 386492 h 1004650"/>
                <a:gd name="connsiteX9" fmla="*/ 456331 w 549700"/>
                <a:gd name="connsiteY9" fmla="*/ 451247 h 1004650"/>
                <a:gd name="connsiteX10" fmla="*/ 511289 w 549700"/>
                <a:gd name="connsiteY10" fmla="*/ 490076 h 1004650"/>
                <a:gd name="connsiteX11" fmla="*/ 547131 w 549700"/>
                <a:gd name="connsiteY11" fmla="*/ 490076 h 1004650"/>
                <a:gd name="connsiteX12" fmla="*/ 544563 w 549700"/>
                <a:gd name="connsiteY12" fmla="*/ 531115 h 1004650"/>
                <a:gd name="connsiteX13" fmla="*/ 511946 w 549700"/>
                <a:gd name="connsiteY13" fmla="*/ 930995 h 1004650"/>
                <a:gd name="connsiteX14" fmla="*/ 508183 w 549700"/>
                <a:gd name="connsiteY14" fmla="*/ 990792 h 1004650"/>
                <a:gd name="connsiteX15" fmla="*/ 510035 w 549700"/>
                <a:gd name="connsiteY15" fmla="*/ 1004591 h 1004650"/>
                <a:gd name="connsiteX16" fmla="*/ 24134 w 549700"/>
                <a:gd name="connsiteY16" fmla="*/ 1004591 h 1004650"/>
                <a:gd name="connsiteX17" fmla="*/ 238410 w 549700"/>
                <a:gd name="connsiteY17" fmla="*/ 355966 h 1004650"/>
                <a:gd name="connsiteX18" fmla="*/ 310692 w 549700"/>
                <a:gd name="connsiteY18" fmla="*/ 355966 h 1004650"/>
                <a:gd name="connsiteX19" fmla="*/ 312664 w 549700"/>
                <a:gd name="connsiteY19" fmla="*/ 353995 h 1004650"/>
                <a:gd name="connsiteX20" fmla="*/ 312664 w 549700"/>
                <a:gd name="connsiteY20" fmla="*/ 261522 h 1004650"/>
                <a:gd name="connsiteX21" fmla="*/ 326343 w 549700"/>
                <a:gd name="connsiteY21" fmla="*/ 251725 h 1004650"/>
                <a:gd name="connsiteX22" fmla="*/ 413619 w 549700"/>
                <a:gd name="connsiteY22" fmla="*/ 251725 h 1004650"/>
                <a:gd name="connsiteX23" fmla="*/ 415590 w 549700"/>
                <a:gd name="connsiteY23" fmla="*/ 249754 h 1004650"/>
                <a:gd name="connsiteX24" fmla="*/ 415590 w 549700"/>
                <a:gd name="connsiteY24" fmla="*/ 179444 h 1004650"/>
                <a:gd name="connsiteX25" fmla="*/ 413619 w 549700"/>
                <a:gd name="connsiteY25" fmla="*/ 177472 h 1004650"/>
                <a:gd name="connsiteX26" fmla="*/ 322460 w 549700"/>
                <a:gd name="connsiteY26" fmla="*/ 177472 h 1004650"/>
                <a:gd name="connsiteX27" fmla="*/ 312723 w 549700"/>
                <a:gd name="connsiteY27" fmla="*/ 167675 h 1004650"/>
                <a:gd name="connsiteX28" fmla="*/ 312066 w 549700"/>
                <a:gd name="connsiteY28" fmla="*/ 75860 h 1004650"/>
                <a:gd name="connsiteX29" fmla="*/ 304300 w 549700"/>
                <a:gd name="connsiteY29" fmla="*/ 73231 h 1004650"/>
                <a:gd name="connsiteX30" fmla="*/ 245579 w 549700"/>
                <a:gd name="connsiteY30" fmla="*/ 73231 h 1004650"/>
                <a:gd name="connsiteX31" fmla="*/ 238470 w 549700"/>
                <a:gd name="connsiteY31" fmla="*/ 74605 h 1004650"/>
                <a:gd name="connsiteX32" fmla="*/ 238470 w 549700"/>
                <a:gd name="connsiteY32" fmla="*/ 163852 h 1004650"/>
                <a:gd name="connsiteX33" fmla="*/ 226045 w 549700"/>
                <a:gd name="connsiteY33" fmla="*/ 177472 h 1004650"/>
                <a:gd name="connsiteX34" fmla="*/ 135484 w 549700"/>
                <a:gd name="connsiteY34" fmla="*/ 178129 h 1004650"/>
                <a:gd name="connsiteX35" fmla="*/ 133990 w 549700"/>
                <a:gd name="connsiteY35" fmla="*/ 234222 h 1004650"/>
                <a:gd name="connsiteX36" fmla="*/ 134289 w 549700"/>
                <a:gd name="connsiteY36" fmla="*/ 251785 h 1004650"/>
                <a:gd name="connsiteX37" fmla="*/ 223536 w 549700"/>
                <a:gd name="connsiteY37" fmla="*/ 251785 h 1004650"/>
                <a:gd name="connsiteX38" fmla="*/ 238530 w 549700"/>
                <a:gd name="connsiteY38" fmla="*/ 266779 h 1004650"/>
                <a:gd name="connsiteX39" fmla="*/ 238530 w 549700"/>
                <a:gd name="connsiteY39" fmla="*/ 356026 h 100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49700" h="1004650">
                  <a:moveTo>
                    <a:pt x="24134" y="1004651"/>
                  </a:moveTo>
                  <a:cubicBezTo>
                    <a:pt x="13441" y="1003157"/>
                    <a:pt x="60" y="992285"/>
                    <a:pt x="0" y="980577"/>
                  </a:cubicBezTo>
                  <a:lnTo>
                    <a:pt x="0" y="24366"/>
                  </a:lnTo>
                  <a:cubicBezTo>
                    <a:pt x="597" y="13136"/>
                    <a:pt x="9438" y="5609"/>
                    <a:pt x="19355" y="2025"/>
                  </a:cubicBezTo>
                  <a:cubicBezTo>
                    <a:pt x="186439" y="-2038"/>
                    <a:pt x="354360" y="1487"/>
                    <a:pt x="521743" y="233"/>
                  </a:cubicBezTo>
                  <a:cubicBezTo>
                    <a:pt x="534407" y="710"/>
                    <a:pt x="548266" y="9731"/>
                    <a:pt x="549700" y="23052"/>
                  </a:cubicBezTo>
                  <a:lnTo>
                    <a:pt x="549461" y="170005"/>
                  </a:lnTo>
                  <a:cubicBezTo>
                    <a:pt x="540978" y="177174"/>
                    <a:pt x="530584" y="181654"/>
                    <a:pt x="521743" y="189181"/>
                  </a:cubicBezTo>
                  <a:cubicBezTo>
                    <a:pt x="472341" y="231474"/>
                    <a:pt x="459258" y="325082"/>
                    <a:pt x="452030" y="386492"/>
                  </a:cubicBezTo>
                  <a:cubicBezTo>
                    <a:pt x="448924" y="412657"/>
                    <a:pt x="443906" y="425739"/>
                    <a:pt x="456331" y="451247"/>
                  </a:cubicBezTo>
                  <a:cubicBezTo>
                    <a:pt x="464933" y="468810"/>
                    <a:pt x="491158" y="490076"/>
                    <a:pt x="511289" y="490076"/>
                  </a:cubicBezTo>
                  <a:lnTo>
                    <a:pt x="547131" y="490076"/>
                  </a:lnTo>
                  <a:cubicBezTo>
                    <a:pt x="549103" y="503099"/>
                    <a:pt x="545638" y="517734"/>
                    <a:pt x="544563" y="531115"/>
                  </a:cubicBezTo>
                  <a:cubicBezTo>
                    <a:pt x="533929" y="664329"/>
                    <a:pt x="522042" y="797722"/>
                    <a:pt x="511946" y="930995"/>
                  </a:cubicBezTo>
                  <a:cubicBezTo>
                    <a:pt x="510513" y="949872"/>
                    <a:pt x="505495" y="972034"/>
                    <a:pt x="508183" y="990792"/>
                  </a:cubicBezTo>
                  <a:cubicBezTo>
                    <a:pt x="508541" y="993420"/>
                    <a:pt x="514515" y="1004591"/>
                    <a:pt x="510035" y="1004591"/>
                  </a:cubicBezTo>
                  <a:lnTo>
                    <a:pt x="24134" y="1004591"/>
                  </a:lnTo>
                  <a:close/>
                  <a:moveTo>
                    <a:pt x="238410" y="355966"/>
                  </a:moveTo>
                  <a:lnTo>
                    <a:pt x="310692" y="355966"/>
                  </a:lnTo>
                  <a:lnTo>
                    <a:pt x="312664" y="353995"/>
                  </a:lnTo>
                  <a:lnTo>
                    <a:pt x="312664" y="261522"/>
                  </a:lnTo>
                  <a:cubicBezTo>
                    <a:pt x="312664" y="259670"/>
                    <a:pt x="323237" y="251725"/>
                    <a:pt x="326343" y="251725"/>
                  </a:cubicBezTo>
                  <a:lnTo>
                    <a:pt x="413619" y="251725"/>
                  </a:lnTo>
                  <a:lnTo>
                    <a:pt x="415590" y="249754"/>
                  </a:lnTo>
                  <a:lnTo>
                    <a:pt x="415590" y="179444"/>
                  </a:lnTo>
                  <a:lnTo>
                    <a:pt x="413619" y="177472"/>
                  </a:lnTo>
                  <a:lnTo>
                    <a:pt x="322460" y="177472"/>
                  </a:lnTo>
                  <a:cubicBezTo>
                    <a:pt x="320967" y="177472"/>
                    <a:pt x="312843" y="170244"/>
                    <a:pt x="312723" y="167675"/>
                  </a:cubicBezTo>
                  <a:lnTo>
                    <a:pt x="312066" y="75860"/>
                  </a:lnTo>
                  <a:cubicBezTo>
                    <a:pt x="309975" y="73530"/>
                    <a:pt x="307168" y="73470"/>
                    <a:pt x="304300" y="73231"/>
                  </a:cubicBezTo>
                  <a:cubicBezTo>
                    <a:pt x="289067" y="71857"/>
                    <a:pt x="260931" y="72036"/>
                    <a:pt x="245579" y="73231"/>
                  </a:cubicBezTo>
                  <a:cubicBezTo>
                    <a:pt x="243070" y="73410"/>
                    <a:pt x="240860" y="74008"/>
                    <a:pt x="238470" y="74605"/>
                  </a:cubicBezTo>
                  <a:lnTo>
                    <a:pt x="238470" y="163852"/>
                  </a:lnTo>
                  <a:cubicBezTo>
                    <a:pt x="238470" y="167855"/>
                    <a:pt x="230824" y="177413"/>
                    <a:pt x="226045" y="177472"/>
                  </a:cubicBezTo>
                  <a:lnTo>
                    <a:pt x="135484" y="178129"/>
                  </a:lnTo>
                  <a:cubicBezTo>
                    <a:pt x="131003" y="196469"/>
                    <a:pt x="133273" y="215704"/>
                    <a:pt x="133990" y="234222"/>
                  </a:cubicBezTo>
                  <a:cubicBezTo>
                    <a:pt x="134169" y="239419"/>
                    <a:pt x="132795" y="246349"/>
                    <a:pt x="134289" y="251785"/>
                  </a:cubicBezTo>
                  <a:lnTo>
                    <a:pt x="223536" y="251785"/>
                  </a:lnTo>
                  <a:cubicBezTo>
                    <a:pt x="228972" y="251785"/>
                    <a:pt x="238530" y="261701"/>
                    <a:pt x="238530" y="266779"/>
                  </a:cubicBezTo>
                  <a:lnTo>
                    <a:pt x="238530" y="356026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9" name="Freeform: Shape 1128">
              <a:extLst>
                <a:ext uri="{FF2B5EF4-FFF2-40B4-BE49-F238E27FC236}">
                  <a16:creationId xmlns:a16="http://schemas.microsoft.com/office/drawing/2014/main" id="{0DF354E8-6B03-9EBF-33CF-3A645323E574}"/>
                </a:ext>
              </a:extLst>
            </p:cNvPr>
            <p:cNvSpPr/>
            <p:nvPr/>
          </p:nvSpPr>
          <p:spPr>
            <a:xfrm>
              <a:off x="-2053292" y="3319128"/>
              <a:ext cx="443003" cy="805289"/>
            </a:xfrm>
            <a:custGeom>
              <a:avLst/>
              <a:gdLst>
                <a:gd name="connsiteX0" fmla="*/ 220305 w 443003"/>
                <a:gd name="connsiteY0" fmla="*/ 141556 h 805289"/>
                <a:gd name="connsiteX1" fmla="*/ 216243 w 443003"/>
                <a:gd name="connsiteY1" fmla="*/ 137136 h 805289"/>
                <a:gd name="connsiteX2" fmla="*/ 213018 w 443003"/>
                <a:gd name="connsiteY2" fmla="*/ 140421 h 805289"/>
                <a:gd name="connsiteX3" fmla="*/ 212958 w 443003"/>
                <a:gd name="connsiteY3" fmla="*/ 173038 h 805289"/>
                <a:gd name="connsiteX4" fmla="*/ 238107 w 443003"/>
                <a:gd name="connsiteY4" fmla="*/ 300278 h 805289"/>
                <a:gd name="connsiteX5" fmla="*/ 316303 w 443003"/>
                <a:gd name="connsiteY5" fmla="*/ 480026 h 805289"/>
                <a:gd name="connsiteX6" fmla="*/ 319469 w 443003"/>
                <a:gd name="connsiteY6" fmla="*/ 545139 h 805289"/>
                <a:gd name="connsiteX7" fmla="*/ 229206 w 443003"/>
                <a:gd name="connsiteY7" fmla="*/ 793526 h 805289"/>
                <a:gd name="connsiteX8" fmla="*/ 185658 w 443003"/>
                <a:gd name="connsiteY8" fmla="*/ 776023 h 805289"/>
                <a:gd name="connsiteX9" fmla="*/ 197247 w 443003"/>
                <a:gd name="connsiteY9" fmla="*/ 693765 h 805289"/>
                <a:gd name="connsiteX10" fmla="*/ 216841 w 443003"/>
                <a:gd name="connsiteY10" fmla="*/ 550516 h 805289"/>
                <a:gd name="connsiteX11" fmla="*/ 206685 w 443003"/>
                <a:gd name="connsiteY11" fmla="*/ 499620 h 805289"/>
                <a:gd name="connsiteX12" fmla="*/ 164153 w 443003"/>
                <a:gd name="connsiteY12" fmla="*/ 415749 h 805289"/>
                <a:gd name="connsiteX13" fmla="*/ 141692 w 443003"/>
                <a:gd name="connsiteY13" fmla="*/ 431102 h 805289"/>
                <a:gd name="connsiteX14" fmla="*/ 47606 w 443003"/>
                <a:gd name="connsiteY14" fmla="*/ 786358 h 805289"/>
                <a:gd name="connsiteX15" fmla="*/ 652 w 443003"/>
                <a:gd name="connsiteY15" fmla="*/ 784984 h 805289"/>
                <a:gd name="connsiteX16" fmla="*/ 8418 w 443003"/>
                <a:gd name="connsiteY16" fmla="*/ 684685 h 805289"/>
                <a:gd name="connsiteX17" fmla="*/ 38406 w 443003"/>
                <a:gd name="connsiteY17" fmla="*/ 327756 h 805289"/>
                <a:gd name="connsiteX18" fmla="*/ 42229 w 443003"/>
                <a:gd name="connsiteY18" fmla="*/ 291197 h 805289"/>
                <a:gd name="connsiteX19" fmla="*/ 127653 w 443003"/>
                <a:gd name="connsiteY19" fmla="*/ 290660 h 805289"/>
                <a:gd name="connsiteX20" fmla="*/ 139959 w 443003"/>
                <a:gd name="connsiteY20" fmla="*/ 193587 h 805289"/>
                <a:gd name="connsiteX21" fmla="*/ 126936 w 443003"/>
                <a:gd name="connsiteY21" fmla="*/ 188450 h 805289"/>
                <a:gd name="connsiteX22" fmla="*/ 191452 w 443003"/>
                <a:gd name="connsiteY22" fmla="*/ 1473 h 805289"/>
                <a:gd name="connsiteX23" fmla="*/ 211166 w 443003"/>
                <a:gd name="connsiteY23" fmla="*/ 5057 h 805289"/>
                <a:gd name="connsiteX24" fmla="*/ 275921 w 443003"/>
                <a:gd name="connsiteY24" fmla="*/ 67960 h 805289"/>
                <a:gd name="connsiteX25" fmla="*/ 310389 w 443003"/>
                <a:gd name="connsiteY25" fmla="*/ 149441 h 805289"/>
                <a:gd name="connsiteX26" fmla="*/ 430639 w 443003"/>
                <a:gd name="connsiteY26" fmla="*/ 219394 h 805289"/>
                <a:gd name="connsiteX27" fmla="*/ 441751 w 443003"/>
                <a:gd name="connsiteY27" fmla="*/ 241257 h 805289"/>
                <a:gd name="connsiteX28" fmla="*/ 425920 w 443003"/>
                <a:gd name="connsiteY28" fmla="*/ 258103 h 805289"/>
                <a:gd name="connsiteX29" fmla="*/ 282790 w 443003"/>
                <a:gd name="connsiteY29" fmla="*/ 217482 h 805289"/>
                <a:gd name="connsiteX30" fmla="*/ 220246 w 443003"/>
                <a:gd name="connsiteY30" fmla="*/ 141317 h 805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43003" h="805289">
                  <a:moveTo>
                    <a:pt x="220305" y="141556"/>
                  </a:moveTo>
                  <a:cubicBezTo>
                    <a:pt x="219170" y="140242"/>
                    <a:pt x="217199" y="139047"/>
                    <a:pt x="216243" y="137136"/>
                  </a:cubicBezTo>
                  <a:cubicBezTo>
                    <a:pt x="214332" y="136598"/>
                    <a:pt x="213316" y="138689"/>
                    <a:pt x="213018" y="140421"/>
                  </a:cubicBezTo>
                  <a:cubicBezTo>
                    <a:pt x="211823" y="147112"/>
                    <a:pt x="212540" y="165451"/>
                    <a:pt x="212958" y="173038"/>
                  </a:cubicBezTo>
                  <a:cubicBezTo>
                    <a:pt x="215228" y="214316"/>
                    <a:pt x="232910" y="258820"/>
                    <a:pt x="238107" y="300278"/>
                  </a:cubicBezTo>
                  <a:cubicBezTo>
                    <a:pt x="256207" y="360791"/>
                    <a:pt x="297486" y="420528"/>
                    <a:pt x="316303" y="480026"/>
                  </a:cubicBezTo>
                  <a:cubicBezTo>
                    <a:pt x="323113" y="501531"/>
                    <a:pt x="324248" y="523037"/>
                    <a:pt x="319469" y="545139"/>
                  </a:cubicBezTo>
                  <a:lnTo>
                    <a:pt x="229206" y="793526"/>
                  </a:lnTo>
                  <a:cubicBezTo>
                    <a:pt x="212659" y="813299"/>
                    <a:pt x="184941" y="802068"/>
                    <a:pt x="185658" y="776023"/>
                  </a:cubicBezTo>
                  <a:cubicBezTo>
                    <a:pt x="186375" y="749978"/>
                    <a:pt x="193902" y="719153"/>
                    <a:pt x="197247" y="693765"/>
                  </a:cubicBezTo>
                  <a:cubicBezTo>
                    <a:pt x="203340" y="647469"/>
                    <a:pt x="212779" y="596334"/>
                    <a:pt x="216841" y="550516"/>
                  </a:cubicBezTo>
                  <a:cubicBezTo>
                    <a:pt x="218752" y="529070"/>
                    <a:pt x="215526" y="518377"/>
                    <a:pt x="206685" y="499620"/>
                  </a:cubicBezTo>
                  <a:cubicBezTo>
                    <a:pt x="194439" y="473515"/>
                    <a:pt x="178490" y="440480"/>
                    <a:pt x="164153" y="415749"/>
                  </a:cubicBezTo>
                  <a:cubicBezTo>
                    <a:pt x="149816" y="391018"/>
                    <a:pt x="145754" y="416944"/>
                    <a:pt x="141692" y="431102"/>
                  </a:cubicBezTo>
                  <a:cubicBezTo>
                    <a:pt x="108299" y="548903"/>
                    <a:pt x="80879" y="668556"/>
                    <a:pt x="47606" y="786358"/>
                  </a:cubicBezTo>
                  <a:cubicBezTo>
                    <a:pt x="39541" y="809536"/>
                    <a:pt x="3699" y="814075"/>
                    <a:pt x="652" y="784984"/>
                  </a:cubicBezTo>
                  <a:cubicBezTo>
                    <a:pt x="-2394" y="755892"/>
                    <a:pt x="6089" y="713777"/>
                    <a:pt x="8418" y="684685"/>
                  </a:cubicBezTo>
                  <a:cubicBezTo>
                    <a:pt x="17976" y="565808"/>
                    <a:pt x="26877" y="446573"/>
                    <a:pt x="38406" y="327756"/>
                  </a:cubicBezTo>
                  <a:cubicBezTo>
                    <a:pt x="39541" y="315929"/>
                    <a:pt x="38346" y="302727"/>
                    <a:pt x="42229" y="291197"/>
                  </a:cubicBezTo>
                  <a:cubicBezTo>
                    <a:pt x="45694" y="288689"/>
                    <a:pt x="115945" y="291616"/>
                    <a:pt x="127653" y="290660"/>
                  </a:cubicBezTo>
                  <a:cubicBezTo>
                    <a:pt x="180760" y="286478"/>
                    <a:pt x="190377" y="212345"/>
                    <a:pt x="139959" y="193587"/>
                  </a:cubicBezTo>
                  <a:cubicBezTo>
                    <a:pt x="136375" y="192273"/>
                    <a:pt x="127056" y="192811"/>
                    <a:pt x="126936" y="188450"/>
                  </a:cubicBezTo>
                  <a:lnTo>
                    <a:pt x="191452" y="1473"/>
                  </a:lnTo>
                  <a:cubicBezTo>
                    <a:pt x="194141" y="-2768"/>
                    <a:pt x="207163" y="3325"/>
                    <a:pt x="211166" y="5057"/>
                  </a:cubicBezTo>
                  <a:cubicBezTo>
                    <a:pt x="241333" y="18140"/>
                    <a:pt x="260867" y="39227"/>
                    <a:pt x="275921" y="67960"/>
                  </a:cubicBezTo>
                  <a:cubicBezTo>
                    <a:pt x="288704" y="92393"/>
                    <a:pt x="297247" y="127518"/>
                    <a:pt x="310389" y="149441"/>
                  </a:cubicBezTo>
                  <a:cubicBezTo>
                    <a:pt x="325741" y="175069"/>
                    <a:pt x="402981" y="200576"/>
                    <a:pt x="430639" y="219394"/>
                  </a:cubicBezTo>
                  <a:cubicBezTo>
                    <a:pt x="440914" y="226383"/>
                    <a:pt x="445395" y="227996"/>
                    <a:pt x="441751" y="241257"/>
                  </a:cubicBezTo>
                  <a:cubicBezTo>
                    <a:pt x="439361" y="249979"/>
                    <a:pt x="436076" y="258342"/>
                    <a:pt x="425920" y="258103"/>
                  </a:cubicBezTo>
                  <a:cubicBezTo>
                    <a:pt x="397485" y="257446"/>
                    <a:pt x="309015" y="230923"/>
                    <a:pt x="282790" y="217482"/>
                  </a:cubicBezTo>
                  <a:cubicBezTo>
                    <a:pt x="265646" y="208701"/>
                    <a:pt x="235359" y="158820"/>
                    <a:pt x="220246" y="141317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7" name="Freeform: Shape 1136">
              <a:extLst>
                <a:ext uri="{FF2B5EF4-FFF2-40B4-BE49-F238E27FC236}">
                  <a16:creationId xmlns:a16="http://schemas.microsoft.com/office/drawing/2014/main" id="{ECB1589A-BDB5-4C69-88A3-0723A76F3B38}"/>
                </a:ext>
              </a:extLst>
            </p:cNvPr>
            <p:cNvSpPr/>
            <p:nvPr/>
          </p:nvSpPr>
          <p:spPr>
            <a:xfrm>
              <a:off x="-2112264" y="3306443"/>
              <a:ext cx="219779" cy="272717"/>
            </a:xfrm>
            <a:custGeom>
              <a:avLst/>
              <a:gdLst>
                <a:gd name="connsiteX0" fmla="*/ 127068 w 219779"/>
                <a:gd name="connsiteY0" fmla="*/ 270549 h 272717"/>
                <a:gd name="connsiteX1" fmla="*/ 109744 w 219779"/>
                <a:gd name="connsiteY1" fmla="*/ 271087 h 272717"/>
                <a:gd name="connsiteX2" fmla="*/ 18944 w 219779"/>
                <a:gd name="connsiteY2" fmla="*/ 265471 h 272717"/>
                <a:gd name="connsiteX3" fmla="*/ 4010 w 219779"/>
                <a:gd name="connsiteY3" fmla="*/ 196356 h 272717"/>
                <a:gd name="connsiteX4" fmla="*/ 182683 w 219779"/>
                <a:gd name="connsiteY4" fmla="*/ 1195 h 272717"/>
                <a:gd name="connsiteX5" fmla="*/ 185431 w 219779"/>
                <a:gd name="connsiteY5" fmla="*/ 0 h 272717"/>
                <a:gd name="connsiteX6" fmla="*/ 218645 w 219779"/>
                <a:gd name="connsiteY6" fmla="*/ 4540 h 272717"/>
                <a:gd name="connsiteX7" fmla="*/ 219780 w 219779"/>
                <a:gd name="connsiteY7" fmla="*/ 6870 h 272717"/>
                <a:gd name="connsiteX8" fmla="*/ 127068 w 219779"/>
                <a:gd name="connsiteY8" fmla="*/ 270489 h 272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779" h="272717">
                  <a:moveTo>
                    <a:pt x="127068" y="270549"/>
                  </a:moveTo>
                  <a:cubicBezTo>
                    <a:pt x="122170" y="274611"/>
                    <a:pt x="114344" y="270967"/>
                    <a:pt x="109744" y="271087"/>
                  </a:cubicBezTo>
                  <a:cubicBezTo>
                    <a:pt x="86686" y="271684"/>
                    <a:pt x="38359" y="276702"/>
                    <a:pt x="18944" y="265471"/>
                  </a:cubicBezTo>
                  <a:cubicBezTo>
                    <a:pt x="-7280" y="250298"/>
                    <a:pt x="127" y="221266"/>
                    <a:pt x="4010" y="196356"/>
                  </a:cubicBezTo>
                  <a:lnTo>
                    <a:pt x="182683" y="1195"/>
                  </a:lnTo>
                  <a:lnTo>
                    <a:pt x="185431" y="0"/>
                  </a:lnTo>
                  <a:cubicBezTo>
                    <a:pt x="192540" y="179"/>
                    <a:pt x="213985" y="-358"/>
                    <a:pt x="218645" y="4540"/>
                  </a:cubicBezTo>
                  <a:lnTo>
                    <a:pt x="219780" y="6870"/>
                  </a:lnTo>
                  <a:lnTo>
                    <a:pt x="127068" y="270489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0" name="Freeform: Shape 1139">
              <a:extLst>
                <a:ext uri="{FF2B5EF4-FFF2-40B4-BE49-F238E27FC236}">
                  <a16:creationId xmlns:a16="http://schemas.microsoft.com/office/drawing/2014/main" id="{3F2CD987-A262-ECF0-21AE-D33DF6303159}"/>
                </a:ext>
              </a:extLst>
            </p:cNvPr>
            <p:cNvSpPr/>
            <p:nvPr/>
          </p:nvSpPr>
          <p:spPr>
            <a:xfrm>
              <a:off x="-1953142" y="3146844"/>
              <a:ext cx="138879" cy="138740"/>
            </a:xfrm>
            <a:custGeom>
              <a:avLst/>
              <a:gdLst>
                <a:gd name="connsiteX0" fmla="*/ 113645 w 138879"/>
                <a:gd name="connsiteY0" fmla="*/ 15573 h 138740"/>
                <a:gd name="connsiteX1" fmla="*/ 126966 w 138879"/>
                <a:gd name="connsiteY1" fmla="*/ 109181 h 138740"/>
                <a:gd name="connsiteX2" fmla="*/ 8149 w 138879"/>
                <a:gd name="connsiteY2" fmla="*/ 102072 h 138740"/>
                <a:gd name="connsiteX3" fmla="*/ 113585 w 138879"/>
                <a:gd name="connsiteY3" fmla="*/ 15573 h 13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879" h="138740">
                  <a:moveTo>
                    <a:pt x="113645" y="15573"/>
                  </a:moveTo>
                  <a:cubicBezTo>
                    <a:pt x="141542" y="37138"/>
                    <a:pt x="146799" y="80268"/>
                    <a:pt x="126966" y="109181"/>
                  </a:cubicBezTo>
                  <a:cubicBezTo>
                    <a:pt x="98113" y="151295"/>
                    <a:pt x="31327" y="147950"/>
                    <a:pt x="8149" y="102072"/>
                  </a:cubicBezTo>
                  <a:cubicBezTo>
                    <a:pt x="-25841" y="34749"/>
                    <a:pt x="53728" y="-30783"/>
                    <a:pt x="113585" y="15573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6" name="Freeform: Shape 1145">
              <a:extLst>
                <a:ext uri="{FF2B5EF4-FFF2-40B4-BE49-F238E27FC236}">
                  <a16:creationId xmlns:a16="http://schemas.microsoft.com/office/drawing/2014/main" id="{75BB3A3D-467E-C22E-97B6-F74BC7516334}"/>
                </a:ext>
              </a:extLst>
            </p:cNvPr>
            <p:cNvSpPr/>
            <p:nvPr/>
          </p:nvSpPr>
          <p:spPr>
            <a:xfrm>
              <a:off x="-2098005" y="3307757"/>
              <a:ext cx="122306" cy="131101"/>
            </a:xfrm>
            <a:custGeom>
              <a:avLst/>
              <a:gdLst>
                <a:gd name="connsiteX0" fmla="*/ 122307 w 122306"/>
                <a:gd name="connsiteY0" fmla="*/ 0 h 131101"/>
                <a:gd name="connsiteX1" fmla="*/ 121052 w 122306"/>
                <a:gd name="connsiteY1" fmla="*/ 4600 h 131101"/>
                <a:gd name="connsiteX2" fmla="*/ 14243 w 122306"/>
                <a:gd name="connsiteY2" fmla="*/ 120490 h 131101"/>
                <a:gd name="connsiteX3" fmla="*/ 85 w 122306"/>
                <a:gd name="connsiteY3" fmla="*/ 127300 h 131101"/>
                <a:gd name="connsiteX4" fmla="*/ 6716 w 122306"/>
                <a:gd name="connsiteY4" fmla="*/ 101314 h 131101"/>
                <a:gd name="connsiteX5" fmla="*/ 50204 w 122306"/>
                <a:gd name="connsiteY5" fmla="*/ 23656 h 131101"/>
                <a:gd name="connsiteX6" fmla="*/ 122247 w 122306"/>
                <a:gd name="connsiteY6" fmla="*/ 0 h 131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306" h="131101">
                  <a:moveTo>
                    <a:pt x="122307" y="0"/>
                  </a:moveTo>
                  <a:lnTo>
                    <a:pt x="121052" y="4600"/>
                  </a:lnTo>
                  <a:cubicBezTo>
                    <a:pt x="84135" y="41995"/>
                    <a:pt x="50503" y="82676"/>
                    <a:pt x="14243" y="120490"/>
                  </a:cubicBezTo>
                  <a:cubicBezTo>
                    <a:pt x="11853" y="122998"/>
                    <a:pt x="-1170" y="137993"/>
                    <a:pt x="85" y="127300"/>
                  </a:cubicBezTo>
                  <a:cubicBezTo>
                    <a:pt x="742" y="121684"/>
                    <a:pt x="4924" y="107527"/>
                    <a:pt x="6716" y="101314"/>
                  </a:cubicBezTo>
                  <a:cubicBezTo>
                    <a:pt x="14422" y="74671"/>
                    <a:pt x="27863" y="41039"/>
                    <a:pt x="50204" y="23656"/>
                  </a:cubicBezTo>
                  <a:cubicBezTo>
                    <a:pt x="69141" y="8901"/>
                    <a:pt x="98651" y="1075"/>
                    <a:pt x="122247" y="0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7" name="Freeform: Shape 1146">
              <a:extLst>
                <a:ext uri="{FF2B5EF4-FFF2-40B4-BE49-F238E27FC236}">
                  <a16:creationId xmlns:a16="http://schemas.microsoft.com/office/drawing/2014/main" id="{1F6DA43D-6021-58E5-2C7D-A0DAFE8E3CC8}"/>
                </a:ext>
              </a:extLst>
            </p:cNvPr>
            <p:cNvSpPr/>
            <p:nvPr/>
          </p:nvSpPr>
          <p:spPr>
            <a:xfrm>
              <a:off x="-1949017" y="3541994"/>
              <a:ext cx="36784" cy="36548"/>
            </a:xfrm>
            <a:custGeom>
              <a:avLst/>
              <a:gdLst>
                <a:gd name="connsiteX0" fmla="*/ 30128 w 36784"/>
                <a:gd name="connsiteY0" fmla="*/ 4651 h 36548"/>
                <a:gd name="connsiteX1" fmla="*/ 36580 w 36784"/>
                <a:gd name="connsiteY1" fmla="*/ 21079 h 36548"/>
                <a:gd name="connsiteX2" fmla="*/ 1933 w 36784"/>
                <a:gd name="connsiteY2" fmla="*/ 36013 h 36548"/>
                <a:gd name="connsiteX3" fmla="*/ 21 w 36784"/>
                <a:gd name="connsiteY3" fmla="*/ 32907 h 36548"/>
                <a:gd name="connsiteX4" fmla="*/ 11610 w 36784"/>
                <a:gd name="connsiteY4" fmla="*/ 1366 h 36548"/>
                <a:gd name="connsiteX5" fmla="*/ 30128 w 36784"/>
                <a:gd name="connsiteY5" fmla="*/ 4651 h 36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784" h="36548">
                  <a:moveTo>
                    <a:pt x="30128" y="4651"/>
                  </a:moveTo>
                  <a:cubicBezTo>
                    <a:pt x="34728" y="7817"/>
                    <a:pt x="37596" y="15643"/>
                    <a:pt x="36580" y="21079"/>
                  </a:cubicBezTo>
                  <a:cubicBezTo>
                    <a:pt x="33533" y="37268"/>
                    <a:pt x="15194" y="37387"/>
                    <a:pt x="1933" y="36013"/>
                  </a:cubicBezTo>
                  <a:cubicBezTo>
                    <a:pt x="977" y="35177"/>
                    <a:pt x="260" y="34102"/>
                    <a:pt x="21" y="32907"/>
                  </a:cubicBezTo>
                  <a:cubicBezTo>
                    <a:pt x="-517" y="30577"/>
                    <a:pt x="9459" y="3038"/>
                    <a:pt x="11610" y="1366"/>
                  </a:cubicBezTo>
                  <a:cubicBezTo>
                    <a:pt x="16090" y="-2099"/>
                    <a:pt x="26007" y="1784"/>
                    <a:pt x="30128" y="4651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153" name="Group 1152">
            <a:extLst>
              <a:ext uri="{FF2B5EF4-FFF2-40B4-BE49-F238E27FC236}">
                <a16:creationId xmlns:a16="http://schemas.microsoft.com/office/drawing/2014/main" id="{4CF25E17-8DC2-8607-F6F8-CD04535ADD44}"/>
              </a:ext>
            </a:extLst>
          </p:cNvPr>
          <p:cNvGrpSpPr/>
          <p:nvPr>
            <p:custDataLst>
              <p:tags r:id="rId41"/>
            </p:custDataLst>
          </p:nvPr>
        </p:nvGrpSpPr>
        <p:grpSpPr>
          <a:xfrm>
            <a:off x="1102093" y="4769051"/>
            <a:ext cx="298150" cy="310305"/>
            <a:chOff x="-1397869" y="3173167"/>
            <a:chExt cx="861474" cy="896595"/>
          </a:xfrm>
          <a:solidFill>
            <a:schemeClr val="tx2"/>
          </a:solidFill>
        </p:grpSpPr>
        <p:sp>
          <p:nvSpPr>
            <p:cNvPr id="1127" name="Freeform: Shape 1126">
              <a:extLst>
                <a:ext uri="{FF2B5EF4-FFF2-40B4-BE49-F238E27FC236}">
                  <a16:creationId xmlns:a16="http://schemas.microsoft.com/office/drawing/2014/main" id="{0F7DAA57-65E8-295D-1EE0-923140E12B66}"/>
                </a:ext>
              </a:extLst>
            </p:cNvPr>
            <p:cNvSpPr/>
            <p:nvPr/>
          </p:nvSpPr>
          <p:spPr>
            <a:xfrm>
              <a:off x="-1392247" y="3534388"/>
              <a:ext cx="855852" cy="535374"/>
            </a:xfrm>
            <a:custGeom>
              <a:avLst/>
              <a:gdLst>
                <a:gd name="connsiteX0" fmla="*/ 119 w 855852"/>
                <a:gd name="connsiteY0" fmla="*/ 29342 h 535374"/>
                <a:gd name="connsiteX1" fmla="*/ 9677 w 855852"/>
                <a:gd name="connsiteY1" fmla="*/ 12198 h 535374"/>
                <a:gd name="connsiteX2" fmla="*/ 78315 w 855852"/>
                <a:gd name="connsiteY2" fmla="*/ 39677 h 535374"/>
                <a:gd name="connsiteX3" fmla="*/ 78913 w 855852"/>
                <a:gd name="connsiteY3" fmla="*/ 306104 h 535374"/>
                <a:gd name="connsiteX4" fmla="*/ 81780 w 855852"/>
                <a:gd name="connsiteY4" fmla="*/ 308433 h 535374"/>
                <a:gd name="connsiteX5" fmla="*/ 775625 w 855852"/>
                <a:gd name="connsiteY5" fmla="*/ 309688 h 535374"/>
                <a:gd name="connsiteX6" fmla="*/ 779030 w 855852"/>
                <a:gd name="connsiteY6" fmla="*/ 306761 h 535374"/>
                <a:gd name="connsiteX7" fmla="*/ 779030 w 855852"/>
                <a:gd name="connsiteY7" fmla="*/ 108792 h 535374"/>
                <a:gd name="connsiteX8" fmla="*/ 790082 w 855852"/>
                <a:gd name="connsiteY8" fmla="*/ 89915 h 535374"/>
                <a:gd name="connsiteX9" fmla="*/ 849341 w 855852"/>
                <a:gd name="connsiteY9" fmla="*/ 94515 h 535374"/>
                <a:gd name="connsiteX10" fmla="*/ 855852 w 855852"/>
                <a:gd name="connsiteY10" fmla="*/ 108792 h 535374"/>
                <a:gd name="connsiteX11" fmla="*/ 855852 w 855852"/>
                <a:gd name="connsiteY11" fmla="*/ 535374 h 535374"/>
                <a:gd name="connsiteX12" fmla="*/ 778971 w 855852"/>
                <a:gd name="connsiteY12" fmla="*/ 535374 h 535374"/>
                <a:gd name="connsiteX13" fmla="*/ 778971 w 855852"/>
                <a:gd name="connsiteY13" fmla="*/ 407059 h 535374"/>
                <a:gd name="connsiteX14" fmla="*/ 777656 w 855852"/>
                <a:gd name="connsiteY14" fmla="*/ 403774 h 535374"/>
                <a:gd name="connsiteX15" fmla="*/ 81422 w 855852"/>
                <a:gd name="connsiteY15" fmla="*/ 403774 h 535374"/>
                <a:gd name="connsiteX16" fmla="*/ 78136 w 855852"/>
                <a:gd name="connsiteY16" fmla="*/ 407059 h 535374"/>
                <a:gd name="connsiteX17" fmla="*/ 78136 w 855852"/>
                <a:gd name="connsiteY17" fmla="*/ 535374 h 535374"/>
                <a:gd name="connsiteX18" fmla="*/ 0 w 855852"/>
                <a:gd name="connsiteY18" fmla="*/ 535374 h 535374"/>
                <a:gd name="connsiteX19" fmla="*/ 0 w 855852"/>
                <a:gd name="connsiteY19" fmla="*/ 29342 h 535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55852" h="535374">
                  <a:moveTo>
                    <a:pt x="119" y="29342"/>
                  </a:moveTo>
                  <a:cubicBezTo>
                    <a:pt x="657" y="26295"/>
                    <a:pt x="7348" y="14766"/>
                    <a:pt x="9677" y="12198"/>
                  </a:cubicBezTo>
                  <a:cubicBezTo>
                    <a:pt x="33871" y="-13788"/>
                    <a:pt x="78793" y="4730"/>
                    <a:pt x="78315" y="39677"/>
                  </a:cubicBezTo>
                  <a:lnTo>
                    <a:pt x="78913" y="306104"/>
                  </a:lnTo>
                  <a:lnTo>
                    <a:pt x="81780" y="308433"/>
                  </a:lnTo>
                  <a:lnTo>
                    <a:pt x="775625" y="309688"/>
                  </a:lnTo>
                  <a:cubicBezTo>
                    <a:pt x="776521" y="309509"/>
                    <a:pt x="779030" y="307119"/>
                    <a:pt x="779030" y="306761"/>
                  </a:cubicBezTo>
                  <a:lnTo>
                    <a:pt x="779030" y="108792"/>
                  </a:lnTo>
                  <a:cubicBezTo>
                    <a:pt x="779030" y="106224"/>
                    <a:pt x="787692" y="92365"/>
                    <a:pt x="790082" y="89915"/>
                  </a:cubicBezTo>
                  <a:cubicBezTo>
                    <a:pt x="806151" y="73786"/>
                    <a:pt x="836438" y="75698"/>
                    <a:pt x="849341" y="94515"/>
                  </a:cubicBezTo>
                  <a:cubicBezTo>
                    <a:pt x="851372" y="97442"/>
                    <a:pt x="855852" y="105626"/>
                    <a:pt x="855852" y="108792"/>
                  </a:cubicBezTo>
                  <a:lnTo>
                    <a:pt x="855852" y="535374"/>
                  </a:lnTo>
                  <a:lnTo>
                    <a:pt x="778971" y="535374"/>
                  </a:lnTo>
                  <a:lnTo>
                    <a:pt x="778971" y="407059"/>
                  </a:lnTo>
                  <a:cubicBezTo>
                    <a:pt x="778971" y="406641"/>
                    <a:pt x="777238" y="405088"/>
                    <a:pt x="777656" y="403774"/>
                  </a:cubicBezTo>
                  <a:lnTo>
                    <a:pt x="81422" y="403774"/>
                  </a:lnTo>
                  <a:cubicBezTo>
                    <a:pt x="81422" y="403774"/>
                    <a:pt x="78136" y="406820"/>
                    <a:pt x="78136" y="407059"/>
                  </a:cubicBezTo>
                  <a:lnTo>
                    <a:pt x="78136" y="535374"/>
                  </a:lnTo>
                  <a:lnTo>
                    <a:pt x="0" y="535374"/>
                  </a:lnTo>
                  <a:lnTo>
                    <a:pt x="0" y="29342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1" name="Freeform: Shape 1130">
              <a:extLst>
                <a:ext uri="{FF2B5EF4-FFF2-40B4-BE49-F238E27FC236}">
                  <a16:creationId xmlns:a16="http://schemas.microsoft.com/office/drawing/2014/main" id="{CD5FBE3D-07EA-7CAA-5EA6-EEF12F7848DD}"/>
                </a:ext>
              </a:extLst>
            </p:cNvPr>
            <p:cNvSpPr/>
            <p:nvPr/>
          </p:nvSpPr>
          <p:spPr>
            <a:xfrm>
              <a:off x="-1122594" y="3639835"/>
              <a:ext cx="480703" cy="174611"/>
            </a:xfrm>
            <a:custGeom>
              <a:avLst/>
              <a:gdLst>
                <a:gd name="connsiteX0" fmla="*/ 480704 w 480703"/>
                <a:gd name="connsiteY0" fmla="*/ 173297 h 174611"/>
                <a:gd name="connsiteX1" fmla="*/ 477418 w 480703"/>
                <a:gd name="connsiteY1" fmla="*/ 174611 h 174611"/>
                <a:gd name="connsiteX2" fmla="*/ 1971 w 480703"/>
                <a:gd name="connsiteY2" fmla="*/ 174611 h 174611"/>
                <a:gd name="connsiteX3" fmla="*/ 0 w 480703"/>
                <a:gd name="connsiteY3" fmla="*/ 172640 h 174611"/>
                <a:gd name="connsiteX4" fmla="*/ 0 w 480703"/>
                <a:gd name="connsiteY4" fmla="*/ 1374 h 174611"/>
                <a:gd name="connsiteX5" fmla="*/ 10992 w 480703"/>
                <a:gd name="connsiteY5" fmla="*/ 0 h 174611"/>
                <a:gd name="connsiteX6" fmla="*/ 433093 w 480703"/>
                <a:gd name="connsiteY6" fmla="*/ 0 h 174611"/>
                <a:gd name="connsiteX7" fmla="*/ 477000 w 480703"/>
                <a:gd name="connsiteY7" fmla="*/ 29092 h 174611"/>
                <a:gd name="connsiteX8" fmla="*/ 480644 w 480703"/>
                <a:gd name="connsiteY8" fmla="*/ 42413 h 174611"/>
                <a:gd name="connsiteX9" fmla="*/ 480644 w 480703"/>
                <a:gd name="connsiteY9" fmla="*/ 173297 h 1746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0703" h="174611">
                  <a:moveTo>
                    <a:pt x="480704" y="173297"/>
                  </a:moveTo>
                  <a:cubicBezTo>
                    <a:pt x="479449" y="172879"/>
                    <a:pt x="477896" y="174611"/>
                    <a:pt x="477418" y="174611"/>
                  </a:cubicBezTo>
                  <a:lnTo>
                    <a:pt x="1971" y="174611"/>
                  </a:lnTo>
                  <a:lnTo>
                    <a:pt x="0" y="172640"/>
                  </a:lnTo>
                  <a:lnTo>
                    <a:pt x="0" y="1374"/>
                  </a:lnTo>
                  <a:lnTo>
                    <a:pt x="10992" y="0"/>
                  </a:lnTo>
                  <a:lnTo>
                    <a:pt x="433093" y="0"/>
                  </a:lnTo>
                  <a:cubicBezTo>
                    <a:pt x="450178" y="1553"/>
                    <a:pt x="470489" y="12485"/>
                    <a:pt x="477000" y="29092"/>
                  </a:cubicBezTo>
                  <a:cubicBezTo>
                    <a:pt x="477538" y="30466"/>
                    <a:pt x="480644" y="41697"/>
                    <a:pt x="480644" y="42413"/>
                  </a:cubicBezTo>
                  <a:lnTo>
                    <a:pt x="480644" y="173297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5" name="Freeform: Shape 1134">
              <a:extLst>
                <a:ext uri="{FF2B5EF4-FFF2-40B4-BE49-F238E27FC236}">
                  <a16:creationId xmlns:a16="http://schemas.microsoft.com/office/drawing/2014/main" id="{96D1C84D-B296-3A26-C117-51858F25A72C}"/>
                </a:ext>
              </a:extLst>
            </p:cNvPr>
            <p:cNvSpPr/>
            <p:nvPr/>
          </p:nvSpPr>
          <p:spPr>
            <a:xfrm>
              <a:off x="-1028988" y="3388573"/>
              <a:ext cx="335963" cy="208371"/>
            </a:xfrm>
            <a:custGeom>
              <a:avLst/>
              <a:gdLst>
                <a:gd name="connsiteX0" fmla="*/ 2212 w 335963"/>
                <a:gd name="connsiteY0" fmla="*/ 208371 h 208371"/>
                <a:gd name="connsiteX1" fmla="*/ 3288 w 335963"/>
                <a:gd name="connsiteY1" fmla="*/ 196424 h 208371"/>
                <a:gd name="connsiteX2" fmla="*/ 49464 w 335963"/>
                <a:gd name="connsiteY2" fmla="*/ 43318 h 208371"/>
                <a:gd name="connsiteX3" fmla="*/ 231304 w 335963"/>
                <a:gd name="connsiteY3" fmla="*/ 1383 h 208371"/>
                <a:gd name="connsiteX4" fmla="*/ 269715 w 335963"/>
                <a:gd name="connsiteY4" fmla="*/ 20260 h 208371"/>
                <a:gd name="connsiteX5" fmla="*/ 304303 w 335963"/>
                <a:gd name="connsiteY5" fmla="*/ 101562 h 208371"/>
                <a:gd name="connsiteX6" fmla="*/ 334350 w 335963"/>
                <a:gd name="connsiteY6" fmla="*/ 196603 h 208371"/>
                <a:gd name="connsiteX7" fmla="*/ 335963 w 335963"/>
                <a:gd name="connsiteY7" fmla="*/ 204966 h 208371"/>
                <a:gd name="connsiteX8" fmla="*/ 333036 w 335963"/>
                <a:gd name="connsiteY8" fmla="*/ 208371 h 208371"/>
                <a:gd name="connsiteX9" fmla="*/ 291340 w 335963"/>
                <a:gd name="connsiteY9" fmla="*/ 208371 h 208371"/>
                <a:gd name="connsiteX10" fmla="*/ 286381 w 335963"/>
                <a:gd name="connsiteY10" fmla="*/ 198993 h 208371"/>
                <a:gd name="connsiteX11" fmla="*/ 257409 w 335963"/>
                <a:gd name="connsiteY11" fmla="*/ 100307 h 208371"/>
                <a:gd name="connsiteX12" fmla="*/ 252988 w 335963"/>
                <a:gd name="connsiteY12" fmla="*/ 89077 h 208371"/>
                <a:gd name="connsiteX13" fmla="*/ 230706 w 335963"/>
                <a:gd name="connsiteY13" fmla="*/ 89136 h 208371"/>
                <a:gd name="connsiteX14" fmla="*/ 229392 w 335963"/>
                <a:gd name="connsiteY14" fmla="*/ 91705 h 208371"/>
                <a:gd name="connsiteX15" fmla="*/ 261829 w 335963"/>
                <a:gd name="connsiteY15" fmla="*/ 206161 h 208371"/>
                <a:gd name="connsiteX16" fmla="*/ 260037 w 335963"/>
                <a:gd name="connsiteY16" fmla="*/ 208312 h 208371"/>
                <a:gd name="connsiteX17" fmla="*/ 76346 w 335963"/>
                <a:gd name="connsiteY17" fmla="*/ 208312 h 208371"/>
                <a:gd name="connsiteX18" fmla="*/ 78975 w 335963"/>
                <a:gd name="connsiteY18" fmla="*/ 188778 h 208371"/>
                <a:gd name="connsiteX19" fmla="*/ 103108 w 335963"/>
                <a:gd name="connsiteY19" fmla="*/ 102219 h 208371"/>
                <a:gd name="connsiteX20" fmla="*/ 105796 w 335963"/>
                <a:gd name="connsiteY20" fmla="*/ 89017 h 208371"/>
                <a:gd name="connsiteX21" fmla="*/ 81185 w 335963"/>
                <a:gd name="connsiteY21" fmla="*/ 92004 h 208371"/>
                <a:gd name="connsiteX22" fmla="*/ 56872 w 335963"/>
                <a:gd name="connsiteY22" fmla="*/ 178384 h 208371"/>
                <a:gd name="connsiteX23" fmla="*/ 46418 w 335963"/>
                <a:gd name="connsiteY23" fmla="*/ 208312 h 208371"/>
                <a:gd name="connsiteX24" fmla="*/ 2153 w 335963"/>
                <a:gd name="connsiteY24" fmla="*/ 208312 h 208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35963" h="208371">
                  <a:moveTo>
                    <a:pt x="2212" y="208371"/>
                  </a:moveTo>
                  <a:cubicBezTo>
                    <a:pt x="-3044" y="206759"/>
                    <a:pt x="2631" y="198873"/>
                    <a:pt x="3288" y="196424"/>
                  </a:cubicBezTo>
                  <a:cubicBezTo>
                    <a:pt x="17386" y="144990"/>
                    <a:pt x="34411" y="94453"/>
                    <a:pt x="49464" y="43318"/>
                  </a:cubicBezTo>
                  <a:cubicBezTo>
                    <a:pt x="79034" y="-22512"/>
                    <a:pt x="174733" y="8193"/>
                    <a:pt x="231304" y="1383"/>
                  </a:cubicBezTo>
                  <a:cubicBezTo>
                    <a:pt x="245342" y="4668"/>
                    <a:pt x="259261" y="10104"/>
                    <a:pt x="269715" y="20260"/>
                  </a:cubicBezTo>
                  <a:cubicBezTo>
                    <a:pt x="291818" y="41645"/>
                    <a:pt x="295581" y="73545"/>
                    <a:pt x="304303" y="101562"/>
                  </a:cubicBezTo>
                  <a:cubicBezTo>
                    <a:pt x="314040" y="132744"/>
                    <a:pt x="325868" y="165002"/>
                    <a:pt x="334350" y="196603"/>
                  </a:cubicBezTo>
                  <a:cubicBezTo>
                    <a:pt x="335067" y="199292"/>
                    <a:pt x="335545" y="202219"/>
                    <a:pt x="335963" y="204966"/>
                  </a:cubicBezTo>
                  <a:cubicBezTo>
                    <a:pt x="335784" y="205862"/>
                    <a:pt x="333394" y="208371"/>
                    <a:pt x="333036" y="208371"/>
                  </a:cubicBezTo>
                  <a:lnTo>
                    <a:pt x="291340" y="208371"/>
                  </a:lnTo>
                  <a:cubicBezTo>
                    <a:pt x="288950" y="205803"/>
                    <a:pt x="287397" y="202278"/>
                    <a:pt x="286381" y="198993"/>
                  </a:cubicBezTo>
                  <a:cubicBezTo>
                    <a:pt x="276047" y="166496"/>
                    <a:pt x="268819" y="132685"/>
                    <a:pt x="257409" y="100307"/>
                  </a:cubicBezTo>
                  <a:cubicBezTo>
                    <a:pt x="256573" y="97858"/>
                    <a:pt x="254123" y="90391"/>
                    <a:pt x="252988" y="89077"/>
                  </a:cubicBezTo>
                  <a:cubicBezTo>
                    <a:pt x="250241" y="85970"/>
                    <a:pt x="233574" y="86389"/>
                    <a:pt x="230706" y="89136"/>
                  </a:cubicBezTo>
                  <a:lnTo>
                    <a:pt x="229392" y="91705"/>
                  </a:lnTo>
                  <a:lnTo>
                    <a:pt x="261829" y="206161"/>
                  </a:lnTo>
                  <a:cubicBezTo>
                    <a:pt x="261591" y="206878"/>
                    <a:pt x="260456" y="208312"/>
                    <a:pt x="260037" y="208312"/>
                  </a:cubicBezTo>
                  <a:lnTo>
                    <a:pt x="76346" y="208312"/>
                  </a:lnTo>
                  <a:cubicBezTo>
                    <a:pt x="70432" y="208312"/>
                    <a:pt x="78437" y="190749"/>
                    <a:pt x="78975" y="188778"/>
                  </a:cubicBezTo>
                  <a:cubicBezTo>
                    <a:pt x="86860" y="159925"/>
                    <a:pt x="94685" y="130893"/>
                    <a:pt x="103108" y="102219"/>
                  </a:cubicBezTo>
                  <a:cubicBezTo>
                    <a:pt x="104243" y="98276"/>
                    <a:pt x="109201" y="93258"/>
                    <a:pt x="105796" y="89017"/>
                  </a:cubicBezTo>
                  <a:cubicBezTo>
                    <a:pt x="103228" y="85851"/>
                    <a:pt x="83156" y="85373"/>
                    <a:pt x="81185" y="92004"/>
                  </a:cubicBezTo>
                  <a:lnTo>
                    <a:pt x="56872" y="178384"/>
                  </a:lnTo>
                  <a:lnTo>
                    <a:pt x="46418" y="208312"/>
                  </a:lnTo>
                  <a:lnTo>
                    <a:pt x="2153" y="208312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8" name="Freeform: Shape 1137">
              <a:extLst>
                <a:ext uri="{FF2B5EF4-FFF2-40B4-BE49-F238E27FC236}">
                  <a16:creationId xmlns:a16="http://schemas.microsoft.com/office/drawing/2014/main" id="{510456C8-FBCB-656D-1802-A47021F2ACE8}"/>
                </a:ext>
              </a:extLst>
            </p:cNvPr>
            <p:cNvSpPr/>
            <p:nvPr/>
          </p:nvSpPr>
          <p:spPr>
            <a:xfrm>
              <a:off x="-1397869" y="3173167"/>
              <a:ext cx="249567" cy="253168"/>
            </a:xfrm>
            <a:custGeom>
              <a:avLst/>
              <a:gdLst>
                <a:gd name="connsiteX0" fmla="*/ 142121 w 249567"/>
                <a:gd name="connsiteY0" fmla="*/ 2153 h 253168"/>
                <a:gd name="connsiteX1" fmla="*/ 194989 w 249567"/>
                <a:gd name="connsiteY1" fmla="*/ 24136 h 253168"/>
                <a:gd name="connsiteX2" fmla="*/ 124857 w 249567"/>
                <a:gd name="connsiteY2" fmla="*/ 253168 h 253168"/>
                <a:gd name="connsiteX3" fmla="*/ 51441 w 249567"/>
                <a:gd name="connsiteY3" fmla="*/ 25928 h 253168"/>
                <a:gd name="connsiteX4" fmla="*/ 142121 w 249567"/>
                <a:gd name="connsiteY4" fmla="*/ 2093 h 253168"/>
                <a:gd name="connsiteX5" fmla="*/ 196721 w 249567"/>
                <a:gd name="connsiteY5" fmla="*/ 188831 h 253168"/>
                <a:gd name="connsiteX6" fmla="*/ 96841 w 249567"/>
                <a:gd name="connsiteY6" fmla="*/ 37458 h 253168"/>
                <a:gd name="connsiteX7" fmla="*/ 52635 w 249567"/>
                <a:gd name="connsiteY7" fmla="*/ 188532 h 253168"/>
                <a:gd name="connsiteX8" fmla="*/ 196721 w 249567"/>
                <a:gd name="connsiteY8" fmla="*/ 188771 h 253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9567" h="253168">
                  <a:moveTo>
                    <a:pt x="142121" y="2153"/>
                  </a:moveTo>
                  <a:cubicBezTo>
                    <a:pt x="160043" y="9799"/>
                    <a:pt x="177127" y="12129"/>
                    <a:pt x="194989" y="24136"/>
                  </a:cubicBezTo>
                  <a:cubicBezTo>
                    <a:pt x="296482" y="92356"/>
                    <a:pt x="246841" y="252750"/>
                    <a:pt x="124857" y="253168"/>
                  </a:cubicBezTo>
                  <a:cubicBezTo>
                    <a:pt x="4607" y="253586"/>
                    <a:pt x="-46229" y="96836"/>
                    <a:pt x="51441" y="25928"/>
                  </a:cubicBezTo>
                  <a:cubicBezTo>
                    <a:pt x="69183" y="13085"/>
                    <a:pt x="122169" y="-6449"/>
                    <a:pt x="142121" y="2093"/>
                  </a:cubicBezTo>
                  <a:close/>
                  <a:moveTo>
                    <a:pt x="196721" y="188831"/>
                  </a:moveTo>
                  <a:cubicBezTo>
                    <a:pt x="256757" y="117027"/>
                    <a:pt x="185969" y="9919"/>
                    <a:pt x="96841" y="37458"/>
                  </a:cubicBezTo>
                  <a:cubicBezTo>
                    <a:pt x="32863" y="57230"/>
                    <a:pt x="9685" y="136740"/>
                    <a:pt x="52635" y="188532"/>
                  </a:cubicBezTo>
                  <a:cubicBezTo>
                    <a:pt x="88956" y="232320"/>
                    <a:pt x="160222" y="232439"/>
                    <a:pt x="196721" y="188771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1" name="Freeform: Shape 1140">
              <a:extLst>
                <a:ext uri="{FF2B5EF4-FFF2-40B4-BE49-F238E27FC236}">
                  <a16:creationId xmlns:a16="http://schemas.microsoft.com/office/drawing/2014/main" id="{B8B4BFA3-A862-AE4E-3BD5-5C62BB866D99}"/>
                </a:ext>
              </a:extLst>
            </p:cNvPr>
            <p:cNvSpPr/>
            <p:nvPr/>
          </p:nvSpPr>
          <p:spPr>
            <a:xfrm>
              <a:off x="-1268293" y="3617410"/>
              <a:ext cx="119789" cy="120138"/>
            </a:xfrm>
            <a:custGeom>
              <a:avLst/>
              <a:gdLst>
                <a:gd name="connsiteX0" fmla="*/ 100658 w 119789"/>
                <a:gd name="connsiteY0" fmla="*/ 16810 h 120138"/>
                <a:gd name="connsiteX1" fmla="*/ 37396 w 119789"/>
                <a:gd name="connsiteY1" fmla="*/ 115914 h 120138"/>
                <a:gd name="connsiteX2" fmla="*/ 1 w 119789"/>
                <a:gd name="connsiteY2" fmla="*/ 60776 h 120138"/>
                <a:gd name="connsiteX3" fmla="*/ 100658 w 119789"/>
                <a:gd name="connsiteY3" fmla="*/ 16750 h 120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9789" h="120138">
                  <a:moveTo>
                    <a:pt x="100658" y="16810"/>
                  </a:moveTo>
                  <a:cubicBezTo>
                    <a:pt x="148268" y="62628"/>
                    <a:pt x="99403" y="138912"/>
                    <a:pt x="37396" y="115914"/>
                  </a:cubicBezTo>
                  <a:cubicBezTo>
                    <a:pt x="15831" y="107909"/>
                    <a:pt x="121" y="83357"/>
                    <a:pt x="1" y="60776"/>
                  </a:cubicBezTo>
                  <a:cubicBezTo>
                    <a:pt x="-298" y="8268"/>
                    <a:pt x="62187" y="-20227"/>
                    <a:pt x="100658" y="16750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2" name="Freeform: Shape 1141">
              <a:extLst>
                <a:ext uri="{FF2B5EF4-FFF2-40B4-BE49-F238E27FC236}">
                  <a16:creationId xmlns:a16="http://schemas.microsoft.com/office/drawing/2014/main" id="{5BDADC47-F4A9-3C07-6894-0133D325A6FB}"/>
                </a:ext>
              </a:extLst>
            </p:cNvPr>
            <p:cNvSpPr/>
            <p:nvPr/>
          </p:nvSpPr>
          <p:spPr>
            <a:xfrm>
              <a:off x="-917185" y="3260908"/>
              <a:ext cx="113304" cy="113515"/>
            </a:xfrm>
            <a:custGeom>
              <a:avLst/>
              <a:gdLst>
                <a:gd name="connsiteX0" fmla="*/ 98653 w 113304"/>
                <a:gd name="connsiteY0" fmla="*/ 20326 h 113515"/>
                <a:gd name="connsiteX1" fmla="*/ 14125 w 113304"/>
                <a:gd name="connsiteY1" fmla="*/ 93743 h 113515"/>
                <a:gd name="connsiteX2" fmla="*/ 98653 w 113304"/>
                <a:gd name="connsiteY2" fmla="*/ 20326 h 113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304" h="113515">
                  <a:moveTo>
                    <a:pt x="98653" y="20326"/>
                  </a:moveTo>
                  <a:cubicBezTo>
                    <a:pt x="147816" y="77076"/>
                    <a:pt x="61377" y="148880"/>
                    <a:pt x="14125" y="93743"/>
                  </a:cubicBezTo>
                  <a:cubicBezTo>
                    <a:pt x="-33127" y="38605"/>
                    <a:pt x="49250" y="-36663"/>
                    <a:pt x="98653" y="20326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3" name="Freeform: Shape 1142">
              <a:extLst>
                <a:ext uri="{FF2B5EF4-FFF2-40B4-BE49-F238E27FC236}">
                  <a16:creationId xmlns:a16="http://schemas.microsoft.com/office/drawing/2014/main" id="{92AF9095-15B9-280E-1C18-9376A6A27DD6}"/>
                </a:ext>
              </a:extLst>
            </p:cNvPr>
            <p:cNvSpPr/>
            <p:nvPr/>
          </p:nvSpPr>
          <p:spPr>
            <a:xfrm>
              <a:off x="-948721" y="3174460"/>
              <a:ext cx="175295" cy="92541"/>
            </a:xfrm>
            <a:custGeom>
              <a:avLst/>
              <a:gdLst>
                <a:gd name="connsiteX0" fmla="*/ 109878 w 175295"/>
                <a:gd name="connsiteY0" fmla="*/ 801 h 92541"/>
                <a:gd name="connsiteX1" fmla="*/ 163940 w 175295"/>
                <a:gd name="connsiteY1" fmla="*/ 23919 h 92541"/>
                <a:gd name="connsiteX2" fmla="*/ 175290 w 175295"/>
                <a:gd name="connsiteY2" fmla="*/ 37420 h 92541"/>
                <a:gd name="connsiteX3" fmla="*/ 146736 w 175295"/>
                <a:gd name="connsiteY3" fmla="*/ 92318 h 92541"/>
                <a:gd name="connsiteX4" fmla="*/ 134311 w 175295"/>
                <a:gd name="connsiteY4" fmla="*/ 82521 h 92541"/>
                <a:gd name="connsiteX5" fmla="*/ 48588 w 175295"/>
                <a:gd name="connsiteY5" fmla="*/ 77503 h 92541"/>
                <a:gd name="connsiteX6" fmla="*/ 30309 w 175295"/>
                <a:gd name="connsiteY6" fmla="*/ 91422 h 92541"/>
                <a:gd name="connsiteX7" fmla="*/ 141 w 175295"/>
                <a:gd name="connsiteY7" fmla="*/ 39510 h 92541"/>
                <a:gd name="connsiteX8" fmla="*/ 29890 w 175295"/>
                <a:gd name="connsiteY8" fmla="*/ 14481 h 92541"/>
                <a:gd name="connsiteX9" fmla="*/ 64418 w 175295"/>
                <a:gd name="connsiteY9" fmla="*/ 3429 h 92541"/>
                <a:gd name="connsiteX10" fmla="*/ 66868 w 175295"/>
                <a:gd name="connsiteY10" fmla="*/ 442 h 92541"/>
                <a:gd name="connsiteX11" fmla="*/ 109938 w 175295"/>
                <a:gd name="connsiteY11" fmla="*/ 801 h 92541"/>
                <a:gd name="connsiteX12" fmla="*/ 98648 w 175295"/>
                <a:gd name="connsiteY12" fmla="*/ 42318 h 92541"/>
                <a:gd name="connsiteX13" fmla="*/ 112805 w 175295"/>
                <a:gd name="connsiteY13" fmla="*/ 25831 h 92541"/>
                <a:gd name="connsiteX14" fmla="*/ 101814 w 175295"/>
                <a:gd name="connsiteY14" fmla="*/ 25233 h 92541"/>
                <a:gd name="connsiteX15" fmla="*/ 96975 w 175295"/>
                <a:gd name="connsiteY15" fmla="*/ 10418 h 92541"/>
                <a:gd name="connsiteX16" fmla="*/ 81443 w 175295"/>
                <a:gd name="connsiteY16" fmla="*/ 7551 h 92541"/>
                <a:gd name="connsiteX17" fmla="*/ 78636 w 175295"/>
                <a:gd name="connsiteY17" fmla="*/ 23620 h 92541"/>
                <a:gd name="connsiteX18" fmla="*/ 61909 w 175295"/>
                <a:gd name="connsiteY18" fmla="*/ 32342 h 92541"/>
                <a:gd name="connsiteX19" fmla="*/ 62626 w 175295"/>
                <a:gd name="connsiteY19" fmla="*/ 39570 h 92541"/>
                <a:gd name="connsiteX20" fmla="*/ 78277 w 175295"/>
                <a:gd name="connsiteY20" fmla="*/ 43453 h 92541"/>
                <a:gd name="connsiteX21" fmla="*/ 81443 w 175295"/>
                <a:gd name="connsiteY21" fmla="*/ 58566 h 92541"/>
                <a:gd name="connsiteX22" fmla="*/ 95960 w 175295"/>
                <a:gd name="connsiteY22" fmla="*/ 58566 h 92541"/>
                <a:gd name="connsiteX23" fmla="*/ 98648 w 175295"/>
                <a:gd name="connsiteY23" fmla="*/ 42378 h 92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5295" h="92541">
                  <a:moveTo>
                    <a:pt x="109878" y="801"/>
                  </a:moveTo>
                  <a:cubicBezTo>
                    <a:pt x="127321" y="8328"/>
                    <a:pt x="146975" y="12031"/>
                    <a:pt x="163940" y="23919"/>
                  </a:cubicBezTo>
                  <a:cubicBezTo>
                    <a:pt x="167584" y="26488"/>
                    <a:pt x="175529" y="33059"/>
                    <a:pt x="175290" y="37420"/>
                  </a:cubicBezTo>
                  <a:lnTo>
                    <a:pt x="146736" y="92318"/>
                  </a:lnTo>
                  <a:cubicBezTo>
                    <a:pt x="143928" y="94110"/>
                    <a:pt x="136879" y="84612"/>
                    <a:pt x="134311" y="82521"/>
                  </a:cubicBezTo>
                  <a:cubicBezTo>
                    <a:pt x="109639" y="62927"/>
                    <a:pt x="75529" y="61075"/>
                    <a:pt x="48588" y="77503"/>
                  </a:cubicBezTo>
                  <a:cubicBezTo>
                    <a:pt x="42077" y="81446"/>
                    <a:pt x="36939" y="88554"/>
                    <a:pt x="30309" y="91422"/>
                  </a:cubicBezTo>
                  <a:lnTo>
                    <a:pt x="141" y="39510"/>
                  </a:lnTo>
                  <a:cubicBezTo>
                    <a:pt x="-2188" y="34373"/>
                    <a:pt x="24992" y="16930"/>
                    <a:pt x="29890" y="14481"/>
                  </a:cubicBezTo>
                  <a:cubicBezTo>
                    <a:pt x="41300" y="8806"/>
                    <a:pt x="54383" y="7491"/>
                    <a:pt x="64418" y="3429"/>
                  </a:cubicBezTo>
                  <a:cubicBezTo>
                    <a:pt x="65912" y="2832"/>
                    <a:pt x="65792" y="681"/>
                    <a:pt x="66868" y="442"/>
                  </a:cubicBezTo>
                  <a:cubicBezTo>
                    <a:pt x="70034" y="-275"/>
                    <a:pt x="107967" y="-95"/>
                    <a:pt x="109938" y="801"/>
                  </a:cubicBezTo>
                  <a:close/>
                  <a:moveTo>
                    <a:pt x="98648" y="42318"/>
                  </a:moveTo>
                  <a:cubicBezTo>
                    <a:pt x="112925" y="43692"/>
                    <a:pt x="117405" y="40048"/>
                    <a:pt x="112805" y="25831"/>
                  </a:cubicBezTo>
                  <a:cubicBezTo>
                    <a:pt x="109161" y="22903"/>
                    <a:pt x="105099" y="25592"/>
                    <a:pt x="101814" y="25233"/>
                  </a:cubicBezTo>
                  <a:cubicBezTo>
                    <a:pt x="94406" y="24337"/>
                    <a:pt x="98469" y="14719"/>
                    <a:pt x="96975" y="10418"/>
                  </a:cubicBezTo>
                  <a:cubicBezTo>
                    <a:pt x="95780" y="6894"/>
                    <a:pt x="84849" y="6117"/>
                    <a:pt x="81443" y="7551"/>
                  </a:cubicBezTo>
                  <a:lnTo>
                    <a:pt x="78636" y="23620"/>
                  </a:lnTo>
                  <a:cubicBezTo>
                    <a:pt x="69496" y="27443"/>
                    <a:pt x="62626" y="19080"/>
                    <a:pt x="61909" y="32342"/>
                  </a:cubicBezTo>
                  <a:cubicBezTo>
                    <a:pt x="61790" y="34731"/>
                    <a:pt x="61730" y="37240"/>
                    <a:pt x="62626" y="39570"/>
                  </a:cubicBezTo>
                  <a:cubicBezTo>
                    <a:pt x="65135" y="44767"/>
                    <a:pt x="74872" y="40048"/>
                    <a:pt x="78277" y="43453"/>
                  </a:cubicBezTo>
                  <a:cubicBezTo>
                    <a:pt x="81981" y="47097"/>
                    <a:pt x="78636" y="56595"/>
                    <a:pt x="81443" y="58566"/>
                  </a:cubicBezTo>
                  <a:lnTo>
                    <a:pt x="95960" y="58566"/>
                  </a:lnTo>
                  <a:cubicBezTo>
                    <a:pt x="95960" y="58566"/>
                    <a:pt x="98648" y="42378"/>
                    <a:pt x="98648" y="42378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4" name="Freeform: Shape 1143">
              <a:extLst>
                <a:ext uri="{FF2B5EF4-FFF2-40B4-BE49-F238E27FC236}">
                  <a16:creationId xmlns:a16="http://schemas.microsoft.com/office/drawing/2014/main" id="{15619E44-F061-9BDA-4367-526B353C4ACA}"/>
                </a:ext>
              </a:extLst>
            </p:cNvPr>
            <p:cNvSpPr/>
            <p:nvPr/>
          </p:nvSpPr>
          <p:spPr>
            <a:xfrm>
              <a:off x="-1292669" y="3756203"/>
              <a:ext cx="144023" cy="59834"/>
            </a:xfrm>
            <a:custGeom>
              <a:avLst/>
              <a:gdLst>
                <a:gd name="connsiteX0" fmla="*/ 131963 w 144023"/>
                <a:gd name="connsiteY0" fmla="*/ 52628 h 59834"/>
                <a:gd name="connsiteX1" fmla="*/ 116073 w 144023"/>
                <a:gd name="connsiteY1" fmla="*/ 58303 h 59834"/>
                <a:gd name="connsiteX2" fmla="*/ 26527 w 144023"/>
                <a:gd name="connsiteY2" fmla="*/ 58005 h 59834"/>
                <a:gd name="connsiteX3" fmla="*/ 21330 w 144023"/>
                <a:gd name="connsiteY3" fmla="*/ 0 h 59834"/>
                <a:gd name="connsiteX4" fmla="*/ 123599 w 144023"/>
                <a:gd name="connsiteY4" fmla="*/ 0 h 59834"/>
                <a:gd name="connsiteX5" fmla="*/ 141162 w 144023"/>
                <a:gd name="connsiteY5" fmla="*/ 41696 h 59834"/>
                <a:gd name="connsiteX6" fmla="*/ 131963 w 144023"/>
                <a:gd name="connsiteY6" fmla="*/ 52628 h 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4023" h="59834">
                  <a:moveTo>
                    <a:pt x="131963" y="52628"/>
                  </a:moveTo>
                  <a:cubicBezTo>
                    <a:pt x="129155" y="54540"/>
                    <a:pt x="119597" y="57885"/>
                    <a:pt x="116073" y="58303"/>
                  </a:cubicBezTo>
                  <a:cubicBezTo>
                    <a:pt x="99406" y="60155"/>
                    <a:pt x="42118" y="60633"/>
                    <a:pt x="26527" y="58005"/>
                  </a:cubicBezTo>
                  <a:cubicBezTo>
                    <a:pt x="-5552" y="52568"/>
                    <a:pt x="-10032" y="10215"/>
                    <a:pt x="21330" y="0"/>
                  </a:cubicBezTo>
                  <a:lnTo>
                    <a:pt x="123599" y="0"/>
                  </a:lnTo>
                  <a:cubicBezTo>
                    <a:pt x="140863" y="5794"/>
                    <a:pt x="148689" y="24970"/>
                    <a:pt x="141162" y="41696"/>
                  </a:cubicBezTo>
                  <a:cubicBezTo>
                    <a:pt x="140326" y="43548"/>
                    <a:pt x="133516" y="51553"/>
                    <a:pt x="131963" y="52628"/>
                  </a:cubicBez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1" name="Freeform: Shape 1150">
              <a:extLst>
                <a:ext uri="{FF2B5EF4-FFF2-40B4-BE49-F238E27FC236}">
                  <a16:creationId xmlns:a16="http://schemas.microsoft.com/office/drawing/2014/main" id="{ACE00140-103A-8669-5D13-9FBACB8863B8}"/>
                </a:ext>
              </a:extLst>
            </p:cNvPr>
            <p:cNvSpPr/>
            <p:nvPr/>
          </p:nvSpPr>
          <p:spPr>
            <a:xfrm>
              <a:off x="-1286213" y="3228132"/>
              <a:ext cx="81114" cy="90080"/>
            </a:xfrm>
            <a:custGeom>
              <a:avLst/>
              <a:gdLst>
                <a:gd name="connsiteX0" fmla="*/ 19115 w 81114"/>
                <a:gd name="connsiteY0" fmla="*/ 62063 h 90080"/>
                <a:gd name="connsiteX1" fmla="*/ 22281 w 81114"/>
                <a:gd name="connsiteY1" fmla="*/ 63975 h 90080"/>
                <a:gd name="connsiteX2" fmla="*/ 70668 w 81114"/>
                <a:gd name="connsiteY2" fmla="*/ 41872 h 90080"/>
                <a:gd name="connsiteX3" fmla="*/ 71564 w 81114"/>
                <a:gd name="connsiteY3" fmla="*/ 62362 h 90080"/>
                <a:gd name="connsiteX4" fmla="*/ 13978 w 81114"/>
                <a:gd name="connsiteY4" fmla="*/ 89422 h 90080"/>
                <a:gd name="connsiteX5" fmla="*/ 895 w 81114"/>
                <a:gd name="connsiteY5" fmla="*/ 81597 h 90080"/>
                <a:gd name="connsiteX6" fmla="*/ 1194 w 81114"/>
                <a:gd name="connsiteY6" fmla="*/ 6328 h 90080"/>
                <a:gd name="connsiteX7" fmla="*/ 13918 w 81114"/>
                <a:gd name="connsiteY7" fmla="*/ 892 h 90080"/>
                <a:gd name="connsiteX8" fmla="*/ 19175 w 81114"/>
                <a:gd name="connsiteY8" fmla="*/ 6089 h 90080"/>
                <a:gd name="connsiteX9" fmla="*/ 19175 w 81114"/>
                <a:gd name="connsiteY9" fmla="*/ 62123 h 9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114" h="90080">
                  <a:moveTo>
                    <a:pt x="19115" y="62063"/>
                  </a:moveTo>
                  <a:cubicBezTo>
                    <a:pt x="19354" y="62899"/>
                    <a:pt x="21146" y="64154"/>
                    <a:pt x="22281" y="63975"/>
                  </a:cubicBezTo>
                  <a:lnTo>
                    <a:pt x="70668" y="41872"/>
                  </a:lnTo>
                  <a:cubicBezTo>
                    <a:pt x="85603" y="45814"/>
                    <a:pt x="83273" y="55611"/>
                    <a:pt x="71564" y="62362"/>
                  </a:cubicBezTo>
                  <a:cubicBezTo>
                    <a:pt x="54241" y="72397"/>
                    <a:pt x="31421" y="78849"/>
                    <a:pt x="13978" y="89422"/>
                  </a:cubicBezTo>
                  <a:cubicBezTo>
                    <a:pt x="6809" y="91334"/>
                    <a:pt x="1792" y="89184"/>
                    <a:pt x="895" y="81597"/>
                  </a:cubicBezTo>
                  <a:cubicBezTo>
                    <a:pt x="-1852" y="58538"/>
                    <a:pt x="2747" y="29924"/>
                    <a:pt x="1194" y="6328"/>
                  </a:cubicBezTo>
                  <a:cubicBezTo>
                    <a:pt x="2389" y="773"/>
                    <a:pt x="9079" y="-1378"/>
                    <a:pt x="13918" y="892"/>
                  </a:cubicBezTo>
                  <a:cubicBezTo>
                    <a:pt x="14575" y="1191"/>
                    <a:pt x="19175" y="5731"/>
                    <a:pt x="19175" y="6089"/>
                  </a:cubicBezTo>
                  <a:lnTo>
                    <a:pt x="19175" y="62123"/>
                  </a:lnTo>
                  <a:close/>
                </a:path>
              </a:pathLst>
            </a:custGeom>
            <a:grpFill/>
            <a:ln w="59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41824219-1D7F-A0D0-D46E-3DA33545C817}"/>
              </a:ext>
            </a:extLst>
          </p:cNvPr>
          <p:cNvSpPr txBox="1"/>
          <p:nvPr>
            <p:custDataLst>
              <p:tags r:id="rId42"/>
            </p:custDataLst>
          </p:nvPr>
        </p:nvSpPr>
        <p:spPr>
          <a:xfrm>
            <a:off x="3497606" y="5986387"/>
            <a:ext cx="83304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9281A33F-C47F-9E1B-849B-EB549C855A0F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3331530" y="1576603"/>
            <a:ext cx="7899934" cy="3818302"/>
          </a:xfrm>
          <a:custGeom>
            <a:avLst/>
            <a:gdLst>
              <a:gd name="connsiteX0" fmla="*/ 0 w 7352907"/>
              <a:gd name="connsiteY0" fmla="*/ 0 h 3553906"/>
              <a:gd name="connsiteX1" fmla="*/ 0 w 7352907"/>
              <a:gd name="connsiteY1" fmla="*/ 3553906 h 3553906"/>
              <a:gd name="connsiteX2" fmla="*/ 7352907 w 7352907"/>
              <a:gd name="connsiteY2" fmla="*/ 3553906 h 3553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52907" h="3553906">
                <a:moveTo>
                  <a:pt x="0" y="0"/>
                </a:moveTo>
                <a:lnTo>
                  <a:pt x="0" y="3553906"/>
                </a:lnTo>
                <a:lnTo>
                  <a:pt x="7352907" y="3553906"/>
                </a:lnTo>
              </a:path>
            </a:pathLst>
          </a:custGeom>
          <a:noFill/>
          <a:ln w="28575">
            <a:solidFill>
              <a:schemeClr val="bg1"/>
            </a:solidFill>
          </a:ln>
          <a:effectLst>
            <a:outerShdw blurRad="152400" algn="ctr" rotWithShape="0">
              <a:prstClr val="black">
                <a:alpha val="7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BBEABB8D-9EB5-5DA0-3C48-97DB5FC3E9C2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 rot="16200000">
            <a:off x="5035625" y="4646000"/>
            <a:ext cx="1188610" cy="304841"/>
          </a:xfrm>
          <a:prstGeom prst="rightArrow">
            <a:avLst>
              <a:gd name="adj1" fmla="val 50000"/>
              <a:gd name="adj2" fmla="val 77831"/>
            </a:avLst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FC968F6D-9C6C-B401-D04E-F0CF63D9D2D2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 rot="16200000">
            <a:off x="6197082" y="4139946"/>
            <a:ext cx="2264864" cy="304841"/>
          </a:xfrm>
          <a:prstGeom prst="rightArrow">
            <a:avLst>
              <a:gd name="adj1" fmla="val 50000"/>
              <a:gd name="adj2" fmla="val 77831"/>
            </a:avLst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  <a:alpha val="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B3AC8E21-B9CD-FAA5-0A17-99D0DD387675}"/>
              </a:ext>
            </a:extLst>
          </p:cNvPr>
          <p:cNvSpPr/>
          <p:nvPr>
            <p:custDataLst>
              <p:tags r:id="rId46"/>
            </p:custDataLst>
          </p:nvPr>
        </p:nvSpPr>
        <p:spPr>
          <a:xfrm rot="16200000">
            <a:off x="9153188" y="3581157"/>
            <a:ext cx="3318295" cy="304841"/>
          </a:xfrm>
          <a:prstGeom prst="rightArrow">
            <a:avLst>
              <a:gd name="adj1" fmla="val 50000"/>
              <a:gd name="adj2" fmla="val 77831"/>
            </a:avLst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9A01EB-B7B1-15B5-472D-F9C2CAEADE1A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4127548" y="3878883"/>
            <a:ext cx="1829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>
                <a:solidFill>
                  <a:schemeClr val="bg1"/>
                </a:solidFill>
              </a:rPr>
              <a:t>Low Difficul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D13E908-F785-762E-6C18-CA53DFC4466F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5289645" y="2774470"/>
            <a:ext cx="235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>
                <a:solidFill>
                  <a:schemeClr val="bg2"/>
                </a:solidFill>
              </a:rPr>
              <a:t>Moderate Difficult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51E9FBB-5220-97ED-E1B0-015A458B7BFB}"/>
              </a:ext>
            </a:extLst>
          </p:cNvPr>
          <p:cNvSpPr txBox="1"/>
          <p:nvPr>
            <p:custDataLst>
              <p:tags r:id="rId49"/>
            </p:custDataLst>
          </p:nvPr>
        </p:nvSpPr>
        <p:spPr>
          <a:xfrm>
            <a:off x="9288035" y="1730206"/>
            <a:ext cx="18291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>
                <a:solidFill>
                  <a:schemeClr val="bg1"/>
                </a:solidFill>
              </a:rPr>
              <a:t>High Difficulty</a:t>
            </a:r>
          </a:p>
        </p:txBody>
      </p:sp>
      <p:sp>
        <p:nvSpPr>
          <p:cNvPr id="62" name="Footer Placeholder 61">
            <a:extLst>
              <a:ext uri="{FF2B5EF4-FFF2-40B4-BE49-F238E27FC236}">
                <a16:creationId xmlns:a16="http://schemas.microsoft.com/office/drawing/2014/main" id="{248DC63B-2495-E3A9-8635-FFE1C472E12F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0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6653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F6B0BC4F-3DAE-2E9B-4C78-71130B09BD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169989"/>
            <a:ext cx="12192000" cy="5688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F05EC1-3679-FD8C-9D52-C0343D28CA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180010" y="1257301"/>
            <a:ext cx="6022428" cy="5600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02E5F1-7B43-A357-FD8C-4B72D3AED0F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91989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02E5F1-7B43-A357-FD8C-4B72D3AED0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55588-91C7-1146-4884-DB085CC8D272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fld id="{EECC7194-A4D0-457B-9D3E-53681723AFF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C2198C-FC93-6648-35CF-095315106B0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The Changing Nature of Competi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573FAB-82F4-85C5-FBB0-1BAFE6BFA571}"/>
              </a:ext>
            </a:extLst>
          </p:cNvPr>
          <p:cNvSpPr>
            <a:spLocks noGrp="1"/>
          </p:cNvSpPr>
          <p:nvPr>
            <p:ph idx="4294967295"/>
            <p:custDataLst>
              <p:tags r:id="rId7"/>
            </p:custDataLst>
          </p:nvPr>
        </p:nvSpPr>
        <p:spPr>
          <a:xfrm>
            <a:off x="0" y="1819275"/>
            <a:ext cx="4803775" cy="498475"/>
          </a:xfrm>
        </p:spPr>
        <p:txBody>
          <a:bodyPr lIns="91440" tIns="45720" rIns="91440" bIns="45720"/>
          <a:lstStyle/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</a:rPr>
              <a:t>Competition is neighboring health system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D833EB7-28DF-40C6-44A9-36ADE7DA480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1257301"/>
            <a:ext cx="6022428" cy="5600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 descr="A blue and white striped background&#10;&#10;Description automatically generated">
            <a:extLst>
              <a:ext uri="{FF2B5EF4-FFF2-40B4-BE49-F238E27FC236}">
                <a16:creationId xmlns:a16="http://schemas.microsoft.com/office/drawing/2014/main" id="{C4FCFAF7-1678-CB5F-6DE8-C49A796D40C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43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81483" y="1257300"/>
            <a:ext cx="6032866" cy="5600700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F3F076E-F903-D7B5-B250-F692B264A78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90548" y="5667479"/>
            <a:ext cx="4695348" cy="979489"/>
          </a:xfrm>
          <a:prstGeom prst="rect">
            <a:avLst/>
          </a:prstGeom>
        </p:spPr>
        <p:txBody>
          <a:bodyPr vert="horz" lIns="91440" tIns="0" rIns="9144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en-US" sz="2000">
                <a:solidFill>
                  <a:schemeClr val="bg1"/>
                </a:solidFill>
              </a:rPr>
              <a:t>Inpatient market share</a:t>
            </a:r>
          </a:p>
          <a:p>
            <a:pPr marL="0" indent="0">
              <a:spcBef>
                <a:spcPts val="1200"/>
              </a:spcBef>
              <a:buNone/>
            </a:pPr>
            <a:r>
              <a:rPr lang="en-US" sz="2000">
                <a:solidFill>
                  <a:schemeClr val="bg1"/>
                </a:solidFill>
              </a:rPr>
              <a:t>Revenue growth in key service lines</a:t>
            </a:r>
          </a:p>
        </p:txBody>
      </p:sp>
      <p:pic>
        <p:nvPicPr>
          <p:cNvPr id="33" name="Picture 32" descr="A blue and white striped background&#10;&#10;Description automatically generated">
            <a:extLst>
              <a:ext uri="{FF2B5EF4-FFF2-40B4-BE49-F238E27FC236}">
                <a16:creationId xmlns:a16="http://schemas.microsoft.com/office/drawing/2014/main" id="{16F666CC-9304-A054-5FED-F1C48D3E0C68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43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69572" y="1257300"/>
            <a:ext cx="6032866" cy="560070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7F454E17-73CF-CD97-268B-BF89A664E097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0" y="1409754"/>
            <a:ext cx="2339868" cy="36576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marL="285750"/>
            <a:r>
              <a:rPr lang="en-US" sz="2400" b="1">
                <a:solidFill>
                  <a:schemeClr val="bg1"/>
                </a:solidFill>
              </a:rPr>
              <a:t>Legacy Model </a:t>
            </a:r>
            <a:endParaRPr lang="en-US" sz="240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D86051-47E4-8C6D-62B3-CCC8EA8B3149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0" y="5214408"/>
            <a:ext cx="2339868" cy="36576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marL="285750"/>
            <a:r>
              <a:rPr lang="en-US" sz="2400" b="1">
                <a:solidFill>
                  <a:schemeClr val="bg1"/>
                </a:solidFill>
              </a:rPr>
              <a:t>KPIs</a:t>
            </a:r>
            <a:endParaRPr lang="en-US" sz="240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EEBAA56-7CC6-2972-E9F8-24C1D326F7C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1409754"/>
            <a:ext cx="266700" cy="36576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7" name="TextBox 1046">
            <a:extLst>
              <a:ext uri="{FF2B5EF4-FFF2-40B4-BE49-F238E27FC236}">
                <a16:creationId xmlns:a16="http://schemas.microsoft.com/office/drawing/2014/main" id="{D2CAFFB7-B99D-449A-7B8F-BE57E38E998C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6582833" y="1818600"/>
            <a:ext cx="5478590" cy="70788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etition is any entity targeting the healthcare consumer.</a:t>
            </a:r>
          </a:p>
        </p:txBody>
      </p:sp>
      <p:sp>
        <p:nvSpPr>
          <p:cNvPr id="1048" name="TextBox 1047">
            <a:extLst>
              <a:ext uri="{FF2B5EF4-FFF2-40B4-BE49-F238E27FC236}">
                <a16:creationId xmlns:a16="http://schemas.microsoft.com/office/drawing/2014/main" id="{12579286-8A18-D728-D547-73A76F7343E0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6180010" y="1409754"/>
            <a:ext cx="3059240" cy="36576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marL="285750"/>
            <a:r>
              <a:rPr lang="en-US" sz="2400" b="1">
                <a:solidFill>
                  <a:schemeClr val="bg1"/>
                </a:solidFill>
              </a:rPr>
              <a:t>Emerging Model </a:t>
            </a:r>
            <a:endParaRPr lang="en-US" sz="2400"/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DF2C2F95-C742-D31D-09C5-614537FBFD82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6180010" y="1409754"/>
            <a:ext cx="266700" cy="36576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2" name="Content Placeholder 2">
            <a:extLst>
              <a:ext uri="{FF2B5EF4-FFF2-40B4-BE49-F238E27FC236}">
                <a16:creationId xmlns:a16="http://schemas.microsoft.com/office/drawing/2014/main" id="{8C44E0C9-962F-D4E5-AEA0-364232C5DF70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6582833" y="5677518"/>
            <a:ext cx="2792540" cy="979489"/>
          </a:xfrm>
          <a:prstGeom prst="rect">
            <a:avLst/>
          </a:prstGeom>
        </p:spPr>
        <p:txBody>
          <a:bodyPr vert="horz" lIns="91440" tIns="0" rIns="9144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pulation market share</a:t>
            </a:r>
            <a:endParaRPr lang="en-US" sz="2000">
              <a:solidFill>
                <a:schemeClr val="bg1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>
                <a:solidFill>
                  <a:schemeClr val="bg1"/>
                </a:solidFill>
                <a:latin typeface="Calibri"/>
              </a:rPr>
              <a:t>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re of wallet</a:t>
            </a:r>
            <a:endParaRPr lang="en-US" sz="200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1083" name="TextBox 1082">
            <a:extLst>
              <a:ext uri="{FF2B5EF4-FFF2-40B4-BE49-F238E27FC236}">
                <a16:creationId xmlns:a16="http://schemas.microsoft.com/office/drawing/2014/main" id="{47A24320-9863-1D0E-DF23-437C82A302F5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179097" y="5214408"/>
            <a:ext cx="2339868" cy="365760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marL="285750"/>
            <a:r>
              <a:rPr lang="en-US" sz="2400" b="1">
                <a:solidFill>
                  <a:schemeClr val="bg1"/>
                </a:solidFill>
              </a:rPr>
              <a:t>KPIs</a:t>
            </a:r>
            <a:endParaRPr lang="en-US" sz="2400"/>
          </a:p>
        </p:txBody>
      </p:sp>
      <p:sp>
        <p:nvSpPr>
          <p:cNvPr id="1084" name="Rectangle 1083">
            <a:extLst>
              <a:ext uri="{FF2B5EF4-FFF2-40B4-BE49-F238E27FC236}">
                <a16:creationId xmlns:a16="http://schemas.microsoft.com/office/drawing/2014/main" id="{77D76C1C-55B2-96A7-130D-333EEA8E9B09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6179097" y="5214408"/>
            <a:ext cx="266700" cy="36576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02" name="Content Placeholder 2">
            <a:extLst>
              <a:ext uri="{FF2B5EF4-FFF2-40B4-BE49-F238E27FC236}">
                <a16:creationId xmlns:a16="http://schemas.microsoft.com/office/drawing/2014/main" id="{F09DB504-5589-B2E6-A9E6-5CE36EBA719A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9629500" y="5677518"/>
            <a:ext cx="1986164" cy="979489"/>
          </a:xfrm>
          <a:prstGeom prst="rect">
            <a:avLst/>
          </a:prstGeom>
        </p:spPr>
        <p:txBody>
          <a:bodyPr vert="horz" lIns="91440" tIns="0" rIns="9144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ickin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2000">
                <a:solidFill>
                  <a:schemeClr val="bg1"/>
                </a:solidFill>
                <a:latin typeface="Calibri"/>
              </a:rPr>
              <a:t>L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gins</a:t>
            </a:r>
            <a:endParaRPr lang="en-US" sz="2000">
              <a:solidFill>
                <a:schemeClr val="bg1"/>
              </a:solidFill>
            </a:endParaRPr>
          </a:p>
        </p:txBody>
      </p:sp>
      <p:pic>
        <p:nvPicPr>
          <p:cNvPr id="1106" name="Picture 18" descr="BFA Website">
            <a:extLst>
              <a:ext uri="{FF2B5EF4-FFF2-40B4-BE49-F238E27FC236}">
                <a16:creationId xmlns:a16="http://schemas.microsoft.com/office/drawing/2014/main" id="{BD717BCE-1C0C-13BE-7247-2FB33E8FA527}"/>
              </a:ext>
            </a:extLst>
          </p:cNvPr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 rotWithShape="1"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629691" y="3483668"/>
            <a:ext cx="1314659" cy="618334"/>
          </a:xfrm>
          <a:prstGeom prst="rect">
            <a:avLst/>
          </a:prstGeom>
          <a:solidFill>
            <a:schemeClr val="bg1"/>
          </a:solidFill>
          <a:ln w="149225" cap="sq">
            <a:noFill/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  <p:pic>
        <p:nvPicPr>
          <p:cNvPr id="1108" name="Picture 22" descr="Noom Rebrand — CYEN CREATIVE">
            <a:extLst>
              <a:ext uri="{FF2B5EF4-FFF2-40B4-BE49-F238E27FC236}">
                <a16:creationId xmlns:a16="http://schemas.microsoft.com/office/drawing/2014/main" id="{604A5BC0-92FB-08DA-D45F-2AF0205B4867}"/>
              </a:ext>
            </a:extLst>
          </p:cNvPr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3305" y="2594180"/>
            <a:ext cx="1321045" cy="743282"/>
          </a:xfrm>
          <a:prstGeom prst="rect">
            <a:avLst/>
          </a:prstGeom>
          <a:solidFill>
            <a:srgbClr val="000000">
              <a:shade val="95000"/>
            </a:srgbClr>
          </a:solidFill>
          <a:ln w="149225" cap="sq">
            <a:noFill/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  <p:pic>
        <p:nvPicPr>
          <p:cNvPr id="1109" name="Picture 24" descr="The History Of The Amazon Logo - Hatchwise">
            <a:extLst>
              <a:ext uri="{FF2B5EF4-FFF2-40B4-BE49-F238E27FC236}">
                <a16:creationId xmlns:a16="http://schemas.microsoft.com/office/drawing/2014/main" id="{C2AB2BB2-2D18-9850-325E-1B212E401939}"/>
              </a:ext>
            </a:extLst>
          </p:cNvPr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 rotWithShape="1"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081884" y="2590255"/>
            <a:ext cx="1416034" cy="743283"/>
          </a:xfrm>
          <a:prstGeom prst="rect">
            <a:avLst/>
          </a:prstGeom>
          <a:solidFill>
            <a:srgbClr val="000000">
              <a:shade val="95000"/>
            </a:srgbClr>
          </a:solidFill>
          <a:ln w="149225" cap="sq">
            <a:noFill/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  <p:pic>
        <p:nvPicPr>
          <p:cNvPr id="1110" name="Picture 26" descr="Calm Free Trial 2024 — Get 7 Days Access">
            <a:extLst>
              <a:ext uri="{FF2B5EF4-FFF2-40B4-BE49-F238E27FC236}">
                <a16:creationId xmlns:a16="http://schemas.microsoft.com/office/drawing/2014/main" id="{FD09D14B-9932-0F74-FD3E-C606517038AB}"/>
              </a:ext>
            </a:extLst>
          </p:cNvPr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1884" y="3483668"/>
            <a:ext cx="1416033" cy="618334"/>
          </a:xfrm>
          <a:prstGeom prst="rect">
            <a:avLst/>
          </a:prstGeom>
          <a:solidFill>
            <a:srgbClr val="000000">
              <a:shade val="95000"/>
            </a:srgbClr>
          </a:solidFill>
          <a:ln w="149225" cap="sq">
            <a:noFill/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  <p:sp>
        <p:nvSpPr>
          <p:cNvPr id="1115" name="Rectangle 1114">
            <a:extLst>
              <a:ext uri="{FF2B5EF4-FFF2-40B4-BE49-F238E27FC236}">
                <a16:creationId xmlns:a16="http://schemas.microsoft.com/office/drawing/2014/main" id="{0AA84F6B-1276-2240-CB70-1AFB67C81E71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0" y="5214408"/>
            <a:ext cx="266700" cy="36576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4" name="Rectangle 1123">
            <a:extLst>
              <a:ext uri="{FF2B5EF4-FFF2-40B4-BE49-F238E27FC236}">
                <a16:creationId xmlns:a16="http://schemas.microsoft.com/office/drawing/2014/main" id="{851CC476-9ACE-7733-6DCE-8AC876D22008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266700" y="5775751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5" name="Rectangle 1124">
            <a:extLst>
              <a:ext uri="{FF2B5EF4-FFF2-40B4-BE49-F238E27FC236}">
                <a16:creationId xmlns:a16="http://schemas.microsoft.com/office/drawing/2014/main" id="{4368F187-1ABD-06D8-1E76-B05E0A0A112B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266700" y="6211359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6" name="Rectangle 1125">
            <a:extLst>
              <a:ext uri="{FF2B5EF4-FFF2-40B4-BE49-F238E27FC236}">
                <a16:creationId xmlns:a16="http://schemas.microsoft.com/office/drawing/2014/main" id="{BFFB991A-5B79-170C-A890-F957D896C4C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6456472" y="5775751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7" name="Rectangle 1126">
            <a:extLst>
              <a:ext uri="{FF2B5EF4-FFF2-40B4-BE49-F238E27FC236}">
                <a16:creationId xmlns:a16="http://schemas.microsoft.com/office/drawing/2014/main" id="{EC051F3B-A10C-4196-4405-7E5D8C0E46CD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456472" y="6211359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0" name="Rectangle 1129">
            <a:extLst>
              <a:ext uri="{FF2B5EF4-FFF2-40B4-BE49-F238E27FC236}">
                <a16:creationId xmlns:a16="http://schemas.microsoft.com/office/drawing/2014/main" id="{AEFDC53A-9A81-B212-1164-EE7391E9ADF1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9479810" y="5775751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1" name="Rectangle 1130">
            <a:extLst>
              <a:ext uri="{FF2B5EF4-FFF2-40B4-BE49-F238E27FC236}">
                <a16:creationId xmlns:a16="http://schemas.microsoft.com/office/drawing/2014/main" id="{94D3E6F7-6D7D-5F40-F6B1-971906A5FA0C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9479810" y="6234644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2" name="Rectangle 1131">
            <a:extLst>
              <a:ext uri="{FF2B5EF4-FFF2-40B4-BE49-F238E27FC236}">
                <a16:creationId xmlns:a16="http://schemas.microsoft.com/office/drawing/2014/main" id="{0CDEE4C1-CA01-CE72-015E-42BBC568A35B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6456472" y="1965908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3" name="Rectangle 1132">
            <a:extLst>
              <a:ext uri="{FF2B5EF4-FFF2-40B4-BE49-F238E27FC236}">
                <a16:creationId xmlns:a16="http://schemas.microsoft.com/office/drawing/2014/main" id="{A9E2E541-86FE-E2FD-3574-6510283A4085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266700" y="1965908"/>
            <a:ext cx="126362" cy="126362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23">
            <a:extLst>
              <a:ext uri="{FF2B5EF4-FFF2-40B4-BE49-F238E27FC236}">
                <a16:creationId xmlns:a16="http://schemas.microsoft.com/office/drawing/2014/main" id="{907D1A23-4AB2-6681-3BD5-DAD4579092FB}"/>
              </a:ext>
            </a:extLst>
          </p:cNvPr>
          <p:cNvSpPr>
            <a:spLocks noChangeAspect="1" noEditPoints="1"/>
          </p:cNvSpPr>
          <p:nvPr>
            <p:custDataLst>
              <p:tags r:id="rId35"/>
            </p:custDataLst>
          </p:nvPr>
        </p:nvSpPr>
        <p:spPr bwMode="auto">
          <a:xfrm>
            <a:off x="421708" y="2580305"/>
            <a:ext cx="2146068" cy="2146068"/>
          </a:xfrm>
          <a:custGeom>
            <a:avLst/>
            <a:gdLst>
              <a:gd name="T0" fmla="*/ 1074 w 2083"/>
              <a:gd name="T1" fmla="*/ 374 h 2083"/>
              <a:gd name="T2" fmla="*/ 911 w 2083"/>
              <a:gd name="T3" fmla="*/ 244 h 2083"/>
              <a:gd name="T4" fmla="*/ 716 w 2083"/>
              <a:gd name="T5" fmla="*/ 244 h 2083"/>
              <a:gd name="T6" fmla="*/ 1546 w 2083"/>
              <a:gd name="T7" fmla="*/ 374 h 2083"/>
              <a:gd name="T8" fmla="*/ 1237 w 2083"/>
              <a:gd name="T9" fmla="*/ 374 h 2083"/>
              <a:gd name="T10" fmla="*/ 391 w 2083"/>
              <a:gd name="T11" fmla="*/ 391 h 2083"/>
              <a:gd name="T12" fmla="*/ 1399 w 2083"/>
              <a:gd name="T13" fmla="*/ 456 h 2083"/>
              <a:gd name="T14" fmla="*/ 1058 w 2083"/>
              <a:gd name="T15" fmla="*/ 456 h 2083"/>
              <a:gd name="T16" fmla="*/ 895 w 2083"/>
              <a:gd name="T17" fmla="*/ 586 h 2083"/>
              <a:gd name="T18" fmla="*/ 732 w 2083"/>
              <a:gd name="T19" fmla="*/ 586 h 2083"/>
              <a:gd name="T20" fmla="*/ 1237 w 2083"/>
              <a:gd name="T21" fmla="*/ 586 h 2083"/>
              <a:gd name="T22" fmla="*/ 553 w 2083"/>
              <a:gd name="T23" fmla="*/ 456 h 2083"/>
              <a:gd name="T24" fmla="*/ 1692 w 2083"/>
              <a:gd name="T25" fmla="*/ 439 h 2083"/>
              <a:gd name="T26" fmla="*/ 1383 w 2083"/>
              <a:gd name="T27" fmla="*/ 797 h 2083"/>
              <a:gd name="T28" fmla="*/ 1074 w 2083"/>
              <a:gd name="T29" fmla="*/ 797 h 2083"/>
              <a:gd name="T30" fmla="*/ 732 w 2083"/>
              <a:gd name="T31" fmla="*/ 797 h 2083"/>
              <a:gd name="T32" fmla="*/ 1562 w 2083"/>
              <a:gd name="T33" fmla="*/ 667 h 2083"/>
              <a:gd name="T34" fmla="*/ 1220 w 2083"/>
              <a:gd name="T35" fmla="*/ 667 h 2083"/>
              <a:gd name="T36" fmla="*/ 537 w 2083"/>
              <a:gd name="T37" fmla="*/ 797 h 2083"/>
              <a:gd name="T38" fmla="*/ 391 w 2083"/>
              <a:gd name="T39" fmla="*/ 814 h 2083"/>
              <a:gd name="T40" fmla="*/ 1074 w 2083"/>
              <a:gd name="T41" fmla="*/ 1009 h 2083"/>
              <a:gd name="T42" fmla="*/ 911 w 2083"/>
              <a:gd name="T43" fmla="*/ 879 h 2083"/>
              <a:gd name="T44" fmla="*/ 716 w 2083"/>
              <a:gd name="T45" fmla="*/ 879 h 2083"/>
              <a:gd name="T46" fmla="*/ 1546 w 2083"/>
              <a:gd name="T47" fmla="*/ 1009 h 2083"/>
              <a:gd name="T48" fmla="*/ 1237 w 2083"/>
              <a:gd name="T49" fmla="*/ 1009 h 2083"/>
              <a:gd name="T50" fmla="*/ 391 w 2083"/>
              <a:gd name="T51" fmla="*/ 1025 h 2083"/>
              <a:gd name="T52" fmla="*/ 1237 w 2083"/>
              <a:gd name="T53" fmla="*/ 1090 h 2083"/>
              <a:gd name="T54" fmla="*/ 1058 w 2083"/>
              <a:gd name="T55" fmla="*/ 1090 h 2083"/>
              <a:gd name="T56" fmla="*/ 895 w 2083"/>
              <a:gd name="T57" fmla="*/ 1155 h 2083"/>
              <a:gd name="T58" fmla="*/ 1399 w 2083"/>
              <a:gd name="T59" fmla="*/ 1221 h 2083"/>
              <a:gd name="T60" fmla="*/ 1562 w 2083"/>
              <a:gd name="T61" fmla="*/ 1221 h 2083"/>
              <a:gd name="T62" fmla="*/ 553 w 2083"/>
              <a:gd name="T63" fmla="*/ 1090 h 2083"/>
              <a:gd name="T64" fmla="*/ 391 w 2083"/>
              <a:gd name="T65" fmla="*/ 1237 h 2083"/>
              <a:gd name="T66" fmla="*/ 1709 w 2083"/>
              <a:gd name="T67" fmla="*/ 1269 h 2083"/>
              <a:gd name="T68" fmla="*/ 830 w 2083"/>
              <a:gd name="T69" fmla="*/ 1269 h 2083"/>
              <a:gd name="T70" fmla="*/ 1985 w 2083"/>
              <a:gd name="T71" fmla="*/ 1400 h 2083"/>
              <a:gd name="T72" fmla="*/ 98 w 2083"/>
              <a:gd name="T73" fmla="*/ 1400 h 2083"/>
              <a:gd name="T74" fmla="*/ 830 w 2083"/>
              <a:gd name="T75" fmla="*/ 1432 h 2083"/>
              <a:gd name="T76" fmla="*/ 993 w 2083"/>
              <a:gd name="T77" fmla="*/ 1237 h 2083"/>
              <a:gd name="T78" fmla="*/ 1090 w 2083"/>
              <a:gd name="T79" fmla="*/ 1497 h 2083"/>
              <a:gd name="T80" fmla="*/ 1204 w 2083"/>
              <a:gd name="T81" fmla="*/ 1530 h 2083"/>
              <a:gd name="T82" fmla="*/ 1692 w 2083"/>
              <a:gd name="T83" fmla="*/ 1953 h 2083"/>
              <a:gd name="T84" fmla="*/ 716 w 2083"/>
              <a:gd name="T85" fmla="*/ 1920 h 2083"/>
              <a:gd name="T86" fmla="*/ 195 w 2083"/>
              <a:gd name="T87" fmla="*/ 1920 h 2083"/>
              <a:gd name="T88" fmla="*/ 862 w 2083"/>
              <a:gd name="T89" fmla="*/ 1953 h 2083"/>
              <a:gd name="T90" fmla="*/ 1920 w 2083"/>
              <a:gd name="T91" fmla="*/ 2018 h 2083"/>
              <a:gd name="T92" fmla="*/ 716 w 2083"/>
              <a:gd name="T93" fmla="*/ 2018 h 2083"/>
              <a:gd name="T94" fmla="*/ 244 w 2083"/>
              <a:gd name="T95" fmla="*/ 1985 h 2083"/>
              <a:gd name="T96" fmla="*/ 1725 w 2083"/>
              <a:gd name="T97" fmla="*/ 1497 h 2083"/>
              <a:gd name="T98" fmla="*/ 1253 w 2083"/>
              <a:gd name="T99" fmla="*/ 1579 h 2083"/>
              <a:gd name="T100" fmla="*/ 862 w 2083"/>
              <a:gd name="T101" fmla="*/ 1985 h 2083"/>
              <a:gd name="T102" fmla="*/ 749 w 2083"/>
              <a:gd name="T103" fmla="*/ 2018 h 2083"/>
              <a:gd name="T104" fmla="*/ 358 w 2083"/>
              <a:gd name="T105" fmla="*/ 2018 h 2083"/>
              <a:gd name="T106" fmla="*/ 309 w 2083"/>
              <a:gd name="T107" fmla="*/ 217 h 2083"/>
              <a:gd name="T108" fmla="*/ 2083 w 2083"/>
              <a:gd name="T109" fmla="*/ 1497 h 2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083" h="2083">
                <a:moveTo>
                  <a:pt x="1399" y="374"/>
                </a:moveTo>
                <a:lnTo>
                  <a:pt x="1399" y="244"/>
                </a:lnTo>
                <a:lnTo>
                  <a:pt x="1383" y="244"/>
                </a:lnTo>
                <a:lnTo>
                  <a:pt x="1383" y="374"/>
                </a:lnTo>
                <a:lnTo>
                  <a:pt x="1399" y="374"/>
                </a:lnTo>
                <a:close/>
                <a:moveTo>
                  <a:pt x="1074" y="374"/>
                </a:moveTo>
                <a:lnTo>
                  <a:pt x="1074" y="244"/>
                </a:lnTo>
                <a:lnTo>
                  <a:pt x="1058" y="244"/>
                </a:lnTo>
                <a:lnTo>
                  <a:pt x="1058" y="374"/>
                </a:lnTo>
                <a:lnTo>
                  <a:pt x="1074" y="374"/>
                </a:lnTo>
                <a:close/>
                <a:moveTo>
                  <a:pt x="911" y="374"/>
                </a:moveTo>
                <a:lnTo>
                  <a:pt x="911" y="244"/>
                </a:lnTo>
                <a:lnTo>
                  <a:pt x="895" y="244"/>
                </a:lnTo>
                <a:lnTo>
                  <a:pt x="895" y="374"/>
                </a:lnTo>
                <a:lnTo>
                  <a:pt x="911" y="374"/>
                </a:lnTo>
                <a:close/>
                <a:moveTo>
                  <a:pt x="732" y="374"/>
                </a:moveTo>
                <a:lnTo>
                  <a:pt x="732" y="244"/>
                </a:lnTo>
                <a:lnTo>
                  <a:pt x="716" y="244"/>
                </a:lnTo>
                <a:lnTo>
                  <a:pt x="716" y="374"/>
                </a:lnTo>
                <a:lnTo>
                  <a:pt x="732" y="374"/>
                </a:lnTo>
                <a:close/>
                <a:moveTo>
                  <a:pt x="1562" y="374"/>
                </a:moveTo>
                <a:lnTo>
                  <a:pt x="1562" y="244"/>
                </a:lnTo>
                <a:lnTo>
                  <a:pt x="1546" y="244"/>
                </a:lnTo>
                <a:lnTo>
                  <a:pt x="1546" y="374"/>
                </a:lnTo>
                <a:lnTo>
                  <a:pt x="1562" y="374"/>
                </a:lnTo>
                <a:close/>
                <a:moveTo>
                  <a:pt x="1237" y="374"/>
                </a:moveTo>
                <a:lnTo>
                  <a:pt x="1237" y="244"/>
                </a:lnTo>
                <a:lnTo>
                  <a:pt x="1220" y="244"/>
                </a:lnTo>
                <a:lnTo>
                  <a:pt x="1220" y="374"/>
                </a:lnTo>
                <a:lnTo>
                  <a:pt x="1237" y="374"/>
                </a:lnTo>
                <a:close/>
                <a:moveTo>
                  <a:pt x="553" y="374"/>
                </a:moveTo>
                <a:lnTo>
                  <a:pt x="553" y="244"/>
                </a:lnTo>
                <a:lnTo>
                  <a:pt x="537" y="244"/>
                </a:lnTo>
                <a:lnTo>
                  <a:pt x="537" y="374"/>
                </a:lnTo>
                <a:lnTo>
                  <a:pt x="553" y="374"/>
                </a:lnTo>
                <a:close/>
                <a:moveTo>
                  <a:pt x="391" y="391"/>
                </a:moveTo>
                <a:lnTo>
                  <a:pt x="391" y="228"/>
                </a:lnTo>
                <a:lnTo>
                  <a:pt x="1692" y="228"/>
                </a:lnTo>
                <a:lnTo>
                  <a:pt x="1692" y="391"/>
                </a:lnTo>
                <a:lnTo>
                  <a:pt x="391" y="391"/>
                </a:lnTo>
                <a:close/>
                <a:moveTo>
                  <a:pt x="1399" y="586"/>
                </a:moveTo>
                <a:lnTo>
                  <a:pt x="1399" y="456"/>
                </a:lnTo>
                <a:lnTo>
                  <a:pt x="1383" y="456"/>
                </a:lnTo>
                <a:lnTo>
                  <a:pt x="1383" y="586"/>
                </a:lnTo>
                <a:lnTo>
                  <a:pt x="1399" y="586"/>
                </a:lnTo>
                <a:close/>
                <a:moveTo>
                  <a:pt x="1074" y="586"/>
                </a:moveTo>
                <a:lnTo>
                  <a:pt x="1074" y="456"/>
                </a:lnTo>
                <a:lnTo>
                  <a:pt x="1058" y="456"/>
                </a:lnTo>
                <a:lnTo>
                  <a:pt x="1058" y="586"/>
                </a:lnTo>
                <a:lnTo>
                  <a:pt x="1074" y="586"/>
                </a:lnTo>
                <a:close/>
                <a:moveTo>
                  <a:pt x="911" y="586"/>
                </a:moveTo>
                <a:lnTo>
                  <a:pt x="911" y="456"/>
                </a:lnTo>
                <a:lnTo>
                  <a:pt x="895" y="456"/>
                </a:lnTo>
                <a:lnTo>
                  <a:pt x="895" y="586"/>
                </a:lnTo>
                <a:lnTo>
                  <a:pt x="911" y="586"/>
                </a:lnTo>
                <a:close/>
                <a:moveTo>
                  <a:pt x="732" y="586"/>
                </a:moveTo>
                <a:lnTo>
                  <a:pt x="732" y="456"/>
                </a:lnTo>
                <a:lnTo>
                  <a:pt x="716" y="456"/>
                </a:lnTo>
                <a:lnTo>
                  <a:pt x="716" y="586"/>
                </a:lnTo>
                <a:lnTo>
                  <a:pt x="732" y="586"/>
                </a:lnTo>
                <a:close/>
                <a:moveTo>
                  <a:pt x="1562" y="586"/>
                </a:moveTo>
                <a:lnTo>
                  <a:pt x="1562" y="456"/>
                </a:lnTo>
                <a:lnTo>
                  <a:pt x="1546" y="456"/>
                </a:lnTo>
                <a:lnTo>
                  <a:pt x="1546" y="586"/>
                </a:lnTo>
                <a:lnTo>
                  <a:pt x="1562" y="586"/>
                </a:lnTo>
                <a:close/>
                <a:moveTo>
                  <a:pt x="1237" y="586"/>
                </a:moveTo>
                <a:lnTo>
                  <a:pt x="1237" y="456"/>
                </a:lnTo>
                <a:lnTo>
                  <a:pt x="1220" y="456"/>
                </a:lnTo>
                <a:lnTo>
                  <a:pt x="1220" y="586"/>
                </a:lnTo>
                <a:lnTo>
                  <a:pt x="1237" y="586"/>
                </a:lnTo>
                <a:close/>
                <a:moveTo>
                  <a:pt x="553" y="586"/>
                </a:moveTo>
                <a:lnTo>
                  <a:pt x="553" y="456"/>
                </a:lnTo>
                <a:lnTo>
                  <a:pt x="537" y="456"/>
                </a:lnTo>
                <a:lnTo>
                  <a:pt x="537" y="586"/>
                </a:lnTo>
                <a:lnTo>
                  <a:pt x="553" y="586"/>
                </a:lnTo>
                <a:close/>
                <a:moveTo>
                  <a:pt x="391" y="602"/>
                </a:moveTo>
                <a:lnTo>
                  <a:pt x="391" y="439"/>
                </a:lnTo>
                <a:lnTo>
                  <a:pt x="1692" y="439"/>
                </a:lnTo>
                <a:lnTo>
                  <a:pt x="1692" y="602"/>
                </a:lnTo>
                <a:lnTo>
                  <a:pt x="391" y="602"/>
                </a:lnTo>
                <a:close/>
                <a:moveTo>
                  <a:pt x="1399" y="797"/>
                </a:moveTo>
                <a:lnTo>
                  <a:pt x="1399" y="667"/>
                </a:lnTo>
                <a:lnTo>
                  <a:pt x="1383" y="667"/>
                </a:lnTo>
                <a:lnTo>
                  <a:pt x="1383" y="797"/>
                </a:lnTo>
                <a:lnTo>
                  <a:pt x="1399" y="797"/>
                </a:lnTo>
                <a:close/>
                <a:moveTo>
                  <a:pt x="1074" y="797"/>
                </a:moveTo>
                <a:lnTo>
                  <a:pt x="1074" y="667"/>
                </a:lnTo>
                <a:lnTo>
                  <a:pt x="1058" y="667"/>
                </a:lnTo>
                <a:lnTo>
                  <a:pt x="1058" y="797"/>
                </a:lnTo>
                <a:lnTo>
                  <a:pt x="1074" y="797"/>
                </a:lnTo>
                <a:close/>
                <a:moveTo>
                  <a:pt x="911" y="797"/>
                </a:moveTo>
                <a:lnTo>
                  <a:pt x="911" y="667"/>
                </a:lnTo>
                <a:lnTo>
                  <a:pt x="895" y="667"/>
                </a:lnTo>
                <a:lnTo>
                  <a:pt x="895" y="797"/>
                </a:lnTo>
                <a:lnTo>
                  <a:pt x="911" y="797"/>
                </a:lnTo>
                <a:close/>
                <a:moveTo>
                  <a:pt x="732" y="797"/>
                </a:moveTo>
                <a:lnTo>
                  <a:pt x="732" y="667"/>
                </a:lnTo>
                <a:lnTo>
                  <a:pt x="716" y="667"/>
                </a:lnTo>
                <a:lnTo>
                  <a:pt x="716" y="797"/>
                </a:lnTo>
                <a:lnTo>
                  <a:pt x="732" y="797"/>
                </a:lnTo>
                <a:close/>
                <a:moveTo>
                  <a:pt x="1562" y="797"/>
                </a:moveTo>
                <a:lnTo>
                  <a:pt x="1562" y="667"/>
                </a:lnTo>
                <a:lnTo>
                  <a:pt x="1546" y="667"/>
                </a:lnTo>
                <a:lnTo>
                  <a:pt x="1546" y="797"/>
                </a:lnTo>
                <a:lnTo>
                  <a:pt x="1562" y="797"/>
                </a:lnTo>
                <a:close/>
                <a:moveTo>
                  <a:pt x="1237" y="797"/>
                </a:moveTo>
                <a:lnTo>
                  <a:pt x="1237" y="667"/>
                </a:lnTo>
                <a:lnTo>
                  <a:pt x="1220" y="667"/>
                </a:lnTo>
                <a:lnTo>
                  <a:pt x="1220" y="797"/>
                </a:lnTo>
                <a:lnTo>
                  <a:pt x="1237" y="797"/>
                </a:lnTo>
                <a:close/>
                <a:moveTo>
                  <a:pt x="553" y="797"/>
                </a:moveTo>
                <a:lnTo>
                  <a:pt x="553" y="667"/>
                </a:lnTo>
                <a:lnTo>
                  <a:pt x="537" y="667"/>
                </a:lnTo>
                <a:lnTo>
                  <a:pt x="537" y="797"/>
                </a:lnTo>
                <a:lnTo>
                  <a:pt x="553" y="797"/>
                </a:lnTo>
                <a:close/>
                <a:moveTo>
                  <a:pt x="391" y="814"/>
                </a:moveTo>
                <a:lnTo>
                  <a:pt x="391" y="651"/>
                </a:lnTo>
                <a:lnTo>
                  <a:pt x="1692" y="651"/>
                </a:lnTo>
                <a:lnTo>
                  <a:pt x="1692" y="814"/>
                </a:lnTo>
                <a:lnTo>
                  <a:pt x="391" y="814"/>
                </a:lnTo>
                <a:close/>
                <a:moveTo>
                  <a:pt x="1399" y="1009"/>
                </a:moveTo>
                <a:lnTo>
                  <a:pt x="1399" y="879"/>
                </a:lnTo>
                <a:lnTo>
                  <a:pt x="1383" y="879"/>
                </a:lnTo>
                <a:lnTo>
                  <a:pt x="1383" y="1009"/>
                </a:lnTo>
                <a:lnTo>
                  <a:pt x="1399" y="1009"/>
                </a:lnTo>
                <a:close/>
                <a:moveTo>
                  <a:pt x="1074" y="1009"/>
                </a:moveTo>
                <a:lnTo>
                  <a:pt x="1074" y="879"/>
                </a:lnTo>
                <a:lnTo>
                  <a:pt x="1058" y="879"/>
                </a:lnTo>
                <a:lnTo>
                  <a:pt x="1058" y="1009"/>
                </a:lnTo>
                <a:lnTo>
                  <a:pt x="1074" y="1009"/>
                </a:lnTo>
                <a:close/>
                <a:moveTo>
                  <a:pt x="911" y="1009"/>
                </a:moveTo>
                <a:lnTo>
                  <a:pt x="911" y="879"/>
                </a:lnTo>
                <a:lnTo>
                  <a:pt x="895" y="879"/>
                </a:lnTo>
                <a:lnTo>
                  <a:pt x="895" y="1009"/>
                </a:lnTo>
                <a:lnTo>
                  <a:pt x="911" y="1009"/>
                </a:lnTo>
                <a:close/>
                <a:moveTo>
                  <a:pt x="732" y="1009"/>
                </a:moveTo>
                <a:lnTo>
                  <a:pt x="732" y="879"/>
                </a:lnTo>
                <a:lnTo>
                  <a:pt x="716" y="879"/>
                </a:lnTo>
                <a:lnTo>
                  <a:pt x="716" y="1009"/>
                </a:lnTo>
                <a:lnTo>
                  <a:pt x="732" y="1009"/>
                </a:lnTo>
                <a:close/>
                <a:moveTo>
                  <a:pt x="1562" y="1009"/>
                </a:moveTo>
                <a:lnTo>
                  <a:pt x="1562" y="879"/>
                </a:lnTo>
                <a:lnTo>
                  <a:pt x="1546" y="879"/>
                </a:lnTo>
                <a:lnTo>
                  <a:pt x="1546" y="1009"/>
                </a:lnTo>
                <a:lnTo>
                  <a:pt x="1562" y="1009"/>
                </a:lnTo>
                <a:close/>
                <a:moveTo>
                  <a:pt x="1237" y="1009"/>
                </a:moveTo>
                <a:lnTo>
                  <a:pt x="1237" y="879"/>
                </a:lnTo>
                <a:lnTo>
                  <a:pt x="1220" y="879"/>
                </a:lnTo>
                <a:lnTo>
                  <a:pt x="1220" y="1009"/>
                </a:lnTo>
                <a:lnTo>
                  <a:pt x="1237" y="1009"/>
                </a:lnTo>
                <a:close/>
                <a:moveTo>
                  <a:pt x="553" y="1009"/>
                </a:moveTo>
                <a:lnTo>
                  <a:pt x="553" y="879"/>
                </a:lnTo>
                <a:lnTo>
                  <a:pt x="537" y="879"/>
                </a:lnTo>
                <a:lnTo>
                  <a:pt x="537" y="1009"/>
                </a:lnTo>
                <a:lnTo>
                  <a:pt x="553" y="1009"/>
                </a:lnTo>
                <a:close/>
                <a:moveTo>
                  <a:pt x="391" y="1025"/>
                </a:moveTo>
                <a:lnTo>
                  <a:pt x="391" y="863"/>
                </a:lnTo>
                <a:lnTo>
                  <a:pt x="1692" y="863"/>
                </a:lnTo>
                <a:lnTo>
                  <a:pt x="1692" y="1025"/>
                </a:lnTo>
                <a:lnTo>
                  <a:pt x="391" y="1025"/>
                </a:lnTo>
                <a:close/>
                <a:moveTo>
                  <a:pt x="1237" y="1155"/>
                </a:moveTo>
                <a:lnTo>
                  <a:pt x="1237" y="1090"/>
                </a:lnTo>
                <a:lnTo>
                  <a:pt x="1220" y="1090"/>
                </a:lnTo>
                <a:lnTo>
                  <a:pt x="1220" y="1155"/>
                </a:lnTo>
                <a:lnTo>
                  <a:pt x="1237" y="1155"/>
                </a:lnTo>
                <a:close/>
                <a:moveTo>
                  <a:pt x="1074" y="1155"/>
                </a:moveTo>
                <a:lnTo>
                  <a:pt x="1074" y="1090"/>
                </a:lnTo>
                <a:lnTo>
                  <a:pt x="1058" y="1090"/>
                </a:lnTo>
                <a:lnTo>
                  <a:pt x="1058" y="1155"/>
                </a:lnTo>
                <a:lnTo>
                  <a:pt x="1074" y="1155"/>
                </a:lnTo>
                <a:close/>
                <a:moveTo>
                  <a:pt x="911" y="1155"/>
                </a:moveTo>
                <a:lnTo>
                  <a:pt x="911" y="1090"/>
                </a:lnTo>
                <a:lnTo>
                  <a:pt x="895" y="1090"/>
                </a:lnTo>
                <a:lnTo>
                  <a:pt x="895" y="1155"/>
                </a:lnTo>
                <a:lnTo>
                  <a:pt x="911" y="1155"/>
                </a:lnTo>
                <a:close/>
                <a:moveTo>
                  <a:pt x="1399" y="1221"/>
                </a:moveTo>
                <a:lnTo>
                  <a:pt x="1399" y="1090"/>
                </a:lnTo>
                <a:lnTo>
                  <a:pt x="1383" y="1090"/>
                </a:lnTo>
                <a:lnTo>
                  <a:pt x="1383" y="1221"/>
                </a:lnTo>
                <a:lnTo>
                  <a:pt x="1399" y="1221"/>
                </a:lnTo>
                <a:close/>
                <a:moveTo>
                  <a:pt x="732" y="1221"/>
                </a:moveTo>
                <a:lnTo>
                  <a:pt x="732" y="1090"/>
                </a:lnTo>
                <a:lnTo>
                  <a:pt x="716" y="1090"/>
                </a:lnTo>
                <a:lnTo>
                  <a:pt x="716" y="1221"/>
                </a:lnTo>
                <a:lnTo>
                  <a:pt x="732" y="1221"/>
                </a:lnTo>
                <a:close/>
                <a:moveTo>
                  <a:pt x="1562" y="1221"/>
                </a:moveTo>
                <a:lnTo>
                  <a:pt x="1562" y="1090"/>
                </a:lnTo>
                <a:lnTo>
                  <a:pt x="1546" y="1090"/>
                </a:lnTo>
                <a:lnTo>
                  <a:pt x="1546" y="1221"/>
                </a:lnTo>
                <a:lnTo>
                  <a:pt x="1562" y="1221"/>
                </a:lnTo>
                <a:close/>
                <a:moveTo>
                  <a:pt x="553" y="1221"/>
                </a:moveTo>
                <a:lnTo>
                  <a:pt x="553" y="1090"/>
                </a:lnTo>
                <a:lnTo>
                  <a:pt x="537" y="1090"/>
                </a:lnTo>
                <a:lnTo>
                  <a:pt x="537" y="1221"/>
                </a:lnTo>
                <a:lnTo>
                  <a:pt x="553" y="1221"/>
                </a:lnTo>
                <a:close/>
                <a:moveTo>
                  <a:pt x="830" y="1269"/>
                </a:moveTo>
                <a:lnTo>
                  <a:pt x="830" y="1237"/>
                </a:lnTo>
                <a:lnTo>
                  <a:pt x="391" y="1237"/>
                </a:lnTo>
                <a:lnTo>
                  <a:pt x="391" y="1074"/>
                </a:lnTo>
                <a:lnTo>
                  <a:pt x="1692" y="1074"/>
                </a:lnTo>
                <a:lnTo>
                  <a:pt x="1692" y="1237"/>
                </a:lnTo>
                <a:lnTo>
                  <a:pt x="1253" y="1237"/>
                </a:lnTo>
                <a:lnTo>
                  <a:pt x="1253" y="1269"/>
                </a:lnTo>
                <a:lnTo>
                  <a:pt x="1709" y="1269"/>
                </a:lnTo>
                <a:lnTo>
                  <a:pt x="1709" y="207"/>
                </a:lnTo>
                <a:lnTo>
                  <a:pt x="1752" y="65"/>
                </a:lnTo>
                <a:lnTo>
                  <a:pt x="331" y="65"/>
                </a:lnTo>
                <a:lnTo>
                  <a:pt x="374" y="207"/>
                </a:lnTo>
                <a:lnTo>
                  <a:pt x="374" y="1269"/>
                </a:lnTo>
                <a:lnTo>
                  <a:pt x="830" y="1269"/>
                </a:lnTo>
                <a:close/>
                <a:moveTo>
                  <a:pt x="2018" y="1432"/>
                </a:moveTo>
                <a:lnTo>
                  <a:pt x="2018" y="1334"/>
                </a:lnTo>
                <a:lnTo>
                  <a:pt x="1253" y="1334"/>
                </a:lnTo>
                <a:lnTo>
                  <a:pt x="1253" y="1367"/>
                </a:lnTo>
                <a:lnTo>
                  <a:pt x="1985" y="1367"/>
                </a:lnTo>
                <a:lnTo>
                  <a:pt x="1985" y="1400"/>
                </a:lnTo>
                <a:lnTo>
                  <a:pt x="1253" y="1400"/>
                </a:lnTo>
                <a:lnTo>
                  <a:pt x="1253" y="1432"/>
                </a:lnTo>
                <a:lnTo>
                  <a:pt x="2018" y="1432"/>
                </a:lnTo>
                <a:close/>
                <a:moveTo>
                  <a:pt x="830" y="1432"/>
                </a:moveTo>
                <a:lnTo>
                  <a:pt x="830" y="1400"/>
                </a:lnTo>
                <a:lnTo>
                  <a:pt x="98" y="1400"/>
                </a:lnTo>
                <a:lnTo>
                  <a:pt x="98" y="1367"/>
                </a:lnTo>
                <a:lnTo>
                  <a:pt x="830" y="1367"/>
                </a:lnTo>
                <a:lnTo>
                  <a:pt x="830" y="1334"/>
                </a:lnTo>
                <a:lnTo>
                  <a:pt x="65" y="1334"/>
                </a:lnTo>
                <a:lnTo>
                  <a:pt x="65" y="1432"/>
                </a:lnTo>
                <a:lnTo>
                  <a:pt x="830" y="1432"/>
                </a:lnTo>
                <a:close/>
                <a:moveTo>
                  <a:pt x="993" y="1497"/>
                </a:moveTo>
                <a:lnTo>
                  <a:pt x="993" y="1416"/>
                </a:lnTo>
                <a:lnTo>
                  <a:pt x="911" y="1416"/>
                </a:lnTo>
                <a:lnTo>
                  <a:pt x="911" y="1318"/>
                </a:lnTo>
                <a:lnTo>
                  <a:pt x="993" y="1318"/>
                </a:lnTo>
                <a:lnTo>
                  <a:pt x="993" y="1237"/>
                </a:lnTo>
                <a:lnTo>
                  <a:pt x="1090" y="1237"/>
                </a:lnTo>
                <a:lnTo>
                  <a:pt x="1090" y="1318"/>
                </a:lnTo>
                <a:lnTo>
                  <a:pt x="1172" y="1318"/>
                </a:lnTo>
                <a:lnTo>
                  <a:pt x="1172" y="1416"/>
                </a:lnTo>
                <a:lnTo>
                  <a:pt x="1090" y="1416"/>
                </a:lnTo>
                <a:lnTo>
                  <a:pt x="1090" y="1497"/>
                </a:lnTo>
                <a:lnTo>
                  <a:pt x="993" y="1497"/>
                </a:lnTo>
                <a:close/>
                <a:moveTo>
                  <a:pt x="1204" y="1530"/>
                </a:moveTo>
                <a:lnTo>
                  <a:pt x="1204" y="1204"/>
                </a:lnTo>
                <a:lnTo>
                  <a:pt x="879" y="1204"/>
                </a:lnTo>
                <a:lnTo>
                  <a:pt x="879" y="1530"/>
                </a:lnTo>
                <a:lnTo>
                  <a:pt x="1204" y="1530"/>
                </a:lnTo>
                <a:close/>
                <a:moveTo>
                  <a:pt x="1888" y="1953"/>
                </a:moveTo>
                <a:lnTo>
                  <a:pt x="1888" y="1920"/>
                </a:lnTo>
                <a:lnTo>
                  <a:pt x="1839" y="1920"/>
                </a:lnTo>
                <a:lnTo>
                  <a:pt x="1839" y="1953"/>
                </a:lnTo>
                <a:lnTo>
                  <a:pt x="1888" y="1953"/>
                </a:lnTo>
                <a:close/>
                <a:moveTo>
                  <a:pt x="1692" y="1953"/>
                </a:moveTo>
                <a:lnTo>
                  <a:pt x="1692" y="1920"/>
                </a:lnTo>
                <a:lnTo>
                  <a:pt x="1367" y="1920"/>
                </a:lnTo>
                <a:lnTo>
                  <a:pt x="1367" y="1953"/>
                </a:lnTo>
                <a:lnTo>
                  <a:pt x="1692" y="1953"/>
                </a:lnTo>
                <a:close/>
                <a:moveTo>
                  <a:pt x="716" y="1953"/>
                </a:moveTo>
                <a:lnTo>
                  <a:pt x="716" y="1920"/>
                </a:lnTo>
                <a:lnTo>
                  <a:pt x="391" y="1920"/>
                </a:lnTo>
                <a:lnTo>
                  <a:pt x="391" y="1953"/>
                </a:lnTo>
                <a:lnTo>
                  <a:pt x="716" y="1953"/>
                </a:lnTo>
                <a:close/>
                <a:moveTo>
                  <a:pt x="244" y="1953"/>
                </a:moveTo>
                <a:lnTo>
                  <a:pt x="244" y="1920"/>
                </a:lnTo>
                <a:lnTo>
                  <a:pt x="195" y="1920"/>
                </a:lnTo>
                <a:lnTo>
                  <a:pt x="195" y="1953"/>
                </a:lnTo>
                <a:lnTo>
                  <a:pt x="244" y="1953"/>
                </a:lnTo>
                <a:close/>
                <a:moveTo>
                  <a:pt x="1220" y="1953"/>
                </a:moveTo>
                <a:lnTo>
                  <a:pt x="1220" y="1920"/>
                </a:lnTo>
                <a:lnTo>
                  <a:pt x="862" y="1920"/>
                </a:lnTo>
                <a:lnTo>
                  <a:pt x="862" y="1953"/>
                </a:lnTo>
                <a:lnTo>
                  <a:pt x="1220" y="1953"/>
                </a:lnTo>
                <a:close/>
                <a:moveTo>
                  <a:pt x="1920" y="2018"/>
                </a:moveTo>
                <a:lnTo>
                  <a:pt x="1920" y="1985"/>
                </a:lnTo>
                <a:lnTo>
                  <a:pt x="1839" y="1985"/>
                </a:lnTo>
                <a:lnTo>
                  <a:pt x="1839" y="2018"/>
                </a:lnTo>
                <a:lnTo>
                  <a:pt x="1920" y="2018"/>
                </a:lnTo>
                <a:close/>
                <a:moveTo>
                  <a:pt x="1692" y="2018"/>
                </a:moveTo>
                <a:lnTo>
                  <a:pt x="1692" y="1985"/>
                </a:lnTo>
                <a:lnTo>
                  <a:pt x="1367" y="1985"/>
                </a:lnTo>
                <a:lnTo>
                  <a:pt x="1367" y="2018"/>
                </a:lnTo>
                <a:lnTo>
                  <a:pt x="1692" y="2018"/>
                </a:lnTo>
                <a:close/>
                <a:moveTo>
                  <a:pt x="716" y="2018"/>
                </a:moveTo>
                <a:lnTo>
                  <a:pt x="716" y="1985"/>
                </a:lnTo>
                <a:lnTo>
                  <a:pt x="391" y="1985"/>
                </a:lnTo>
                <a:lnTo>
                  <a:pt x="391" y="2018"/>
                </a:lnTo>
                <a:lnTo>
                  <a:pt x="716" y="2018"/>
                </a:lnTo>
                <a:close/>
                <a:moveTo>
                  <a:pt x="244" y="2018"/>
                </a:moveTo>
                <a:lnTo>
                  <a:pt x="244" y="1985"/>
                </a:lnTo>
                <a:lnTo>
                  <a:pt x="163" y="1985"/>
                </a:lnTo>
                <a:lnTo>
                  <a:pt x="163" y="2018"/>
                </a:lnTo>
                <a:lnTo>
                  <a:pt x="244" y="2018"/>
                </a:lnTo>
                <a:close/>
                <a:moveTo>
                  <a:pt x="1806" y="2018"/>
                </a:moveTo>
                <a:lnTo>
                  <a:pt x="1806" y="1497"/>
                </a:lnTo>
                <a:lnTo>
                  <a:pt x="1725" y="1497"/>
                </a:lnTo>
                <a:lnTo>
                  <a:pt x="1725" y="2018"/>
                </a:lnTo>
                <a:lnTo>
                  <a:pt x="1806" y="2018"/>
                </a:lnTo>
                <a:close/>
                <a:moveTo>
                  <a:pt x="1334" y="2018"/>
                </a:moveTo>
                <a:lnTo>
                  <a:pt x="1334" y="1497"/>
                </a:lnTo>
                <a:lnTo>
                  <a:pt x="1253" y="1497"/>
                </a:lnTo>
                <a:lnTo>
                  <a:pt x="1253" y="1579"/>
                </a:lnTo>
                <a:lnTo>
                  <a:pt x="1253" y="1579"/>
                </a:lnTo>
                <a:lnTo>
                  <a:pt x="1253" y="2018"/>
                </a:lnTo>
                <a:lnTo>
                  <a:pt x="1334" y="2018"/>
                </a:lnTo>
                <a:close/>
                <a:moveTo>
                  <a:pt x="1220" y="2018"/>
                </a:moveTo>
                <a:lnTo>
                  <a:pt x="1220" y="1985"/>
                </a:lnTo>
                <a:lnTo>
                  <a:pt x="862" y="1985"/>
                </a:lnTo>
                <a:lnTo>
                  <a:pt x="862" y="2018"/>
                </a:lnTo>
                <a:lnTo>
                  <a:pt x="1220" y="2018"/>
                </a:lnTo>
                <a:close/>
                <a:moveTo>
                  <a:pt x="830" y="2018"/>
                </a:moveTo>
                <a:lnTo>
                  <a:pt x="830" y="1497"/>
                </a:lnTo>
                <a:lnTo>
                  <a:pt x="749" y="1497"/>
                </a:lnTo>
                <a:lnTo>
                  <a:pt x="749" y="2018"/>
                </a:lnTo>
                <a:lnTo>
                  <a:pt x="830" y="2018"/>
                </a:lnTo>
                <a:close/>
                <a:moveTo>
                  <a:pt x="358" y="2018"/>
                </a:moveTo>
                <a:lnTo>
                  <a:pt x="358" y="1497"/>
                </a:lnTo>
                <a:lnTo>
                  <a:pt x="277" y="1497"/>
                </a:lnTo>
                <a:lnTo>
                  <a:pt x="277" y="2018"/>
                </a:lnTo>
                <a:lnTo>
                  <a:pt x="358" y="2018"/>
                </a:lnTo>
                <a:close/>
                <a:moveTo>
                  <a:pt x="114" y="2083"/>
                </a:moveTo>
                <a:lnTo>
                  <a:pt x="114" y="1497"/>
                </a:lnTo>
                <a:lnTo>
                  <a:pt x="0" y="1497"/>
                </a:lnTo>
                <a:lnTo>
                  <a:pt x="0" y="1269"/>
                </a:lnTo>
                <a:lnTo>
                  <a:pt x="309" y="1269"/>
                </a:lnTo>
                <a:lnTo>
                  <a:pt x="309" y="217"/>
                </a:lnTo>
                <a:lnTo>
                  <a:pt x="242" y="0"/>
                </a:lnTo>
                <a:lnTo>
                  <a:pt x="1841" y="0"/>
                </a:lnTo>
                <a:lnTo>
                  <a:pt x="1774" y="217"/>
                </a:lnTo>
                <a:lnTo>
                  <a:pt x="1774" y="1269"/>
                </a:lnTo>
                <a:lnTo>
                  <a:pt x="2083" y="1269"/>
                </a:lnTo>
                <a:lnTo>
                  <a:pt x="2083" y="1497"/>
                </a:lnTo>
                <a:lnTo>
                  <a:pt x="1969" y="1497"/>
                </a:lnTo>
                <a:lnTo>
                  <a:pt x="1969" y="2083"/>
                </a:lnTo>
                <a:lnTo>
                  <a:pt x="114" y="2083"/>
                </a:lnTo>
                <a:close/>
              </a:path>
            </a:pathLst>
          </a:custGeom>
          <a:solidFill>
            <a:schemeClr val="bg1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4DF7C59-B28C-F801-ED27-AFA0E04BDA1F}"/>
              </a:ext>
            </a:extLst>
          </p:cNvPr>
          <p:cNvGrpSpPr>
            <a:grpSpLocks noChangeAspect="1"/>
          </p:cNvGrpSpPr>
          <p:nvPr>
            <p:custDataLst>
              <p:tags r:id="rId36"/>
            </p:custDataLst>
          </p:nvPr>
        </p:nvGrpSpPr>
        <p:grpSpPr>
          <a:xfrm>
            <a:off x="2885186" y="2590255"/>
            <a:ext cx="2708145" cy="2136118"/>
            <a:chOff x="5048251" y="4491038"/>
            <a:chExt cx="2036762" cy="1606549"/>
          </a:xfrm>
          <a:solidFill>
            <a:srgbClr val="BBD1E7"/>
          </a:solidFill>
        </p:grpSpPr>
        <p:sp>
          <p:nvSpPr>
            <p:cNvPr id="11" name="Freeform 107">
              <a:extLst>
                <a:ext uri="{FF2B5EF4-FFF2-40B4-BE49-F238E27FC236}">
                  <a16:creationId xmlns:a16="http://schemas.microsoft.com/office/drawing/2014/main" id="{E1053F6B-1D76-8374-F4EC-2A8E32CA9D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8251" y="4491038"/>
              <a:ext cx="2036762" cy="1606549"/>
            </a:xfrm>
            <a:custGeom>
              <a:avLst/>
              <a:gdLst>
                <a:gd name="T0" fmla="*/ 531 w 1413"/>
                <a:gd name="T1" fmla="*/ 4 h 1115"/>
                <a:gd name="T2" fmla="*/ 640 w 1413"/>
                <a:gd name="T3" fmla="*/ 67 h 1115"/>
                <a:gd name="T4" fmla="*/ 640 w 1413"/>
                <a:gd name="T5" fmla="*/ 31 h 1115"/>
                <a:gd name="T6" fmla="*/ 687 w 1413"/>
                <a:gd name="T7" fmla="*/ 70 h 1115"/>
                <a:gd name="T8" fmla="*/ 755 w 1413"/>
                <a:gd name="T9" fmla="*/ 4 h 1115"/>
                <a:gd name="T10" fmla="*/ 844 w 1413"/>
                <a:gd name="T11" fmla="*/ 11 h 1115"/>
                <a:gd name="T12" fmla="*/ 927 w 1413"/>
                <a:gd name="T13" fmla="*/ 208 h 1115"/>
                <a:gd name="T14" fmla="*/ 1354 w 1413"/>
                <a:gd name="T15" fmla="*/ 269 h 1115"/>
                <a:gd name="T16" fmla="*/ 0 w 1413"/>
                <a:gd name="T17" fmla="*/ 1115 h 1115"/>
                <a:gd name="T18" fmla="*/ 61 w 1413"/>
                <a:gd name="T19" fmla="*/ 267 h 1115"/>
                <a:gd name="T20" fmla="*/ 853 w 1413"/>
                <a:gd name="T21" fmla="*/ 849 h 1115"/>
                <a:gd name="T22" fmla="*/ 384 w 1413"/>
                <a:gd name="T23" fmla="*/ 558 h 1115"/>
                <a:gd name="T24" fmla="*/ 121 w 1413"/>
                <a:gd name="T25" fmla="*/ 969 h 1115"/>
                <a:gd name="T26" fmla="*/ 198 w 1413"/>
                <a:gd name="T27" fmla="*/ 849 h 1115"/>
                <a:gd name="T28" fmla="*/ 619 w 1413"/>
                <a:gd name="T29" fmla="*/ 738 h 1115"/>
                <a:gd name="T30" fmla="*/ 548 w 1413"/>
                <a:gd name="T31" fmla="*/ 562 h 1115"/>
                <a:gd name="T32" fmla="*/ 305 w 1413"/>
                <a:gd name="T33" fmla="*/ 915 h 1115"/>
                <a:gd name="T34" fmla="*/ 1046 w 1413"/>
                <a:gd name="T35" fmla="*/ 738 h 1115"/>
                <a:gd name="T36" fmla="*/ 979 w 1413"/>
                <a:gd name="T37" fmla="*/ 559 h 1115"/>
                <a:gd name="T38" fmla="*/ 976 w 1413"/>
                <a:gd name="T39" fmla="*/ 392 h 1115"/>
                <a:gd name="T40" fmla="*/ 619 w 1413"/>
                <a:gd name="T41" fmla="*/ 919 h 1115"/>
                <a:gd name="T42" fmla="*/ 1046 w 1413"/>
                <a:gd name="T43" fmla="*/ 913 h 1115"/>
                <a:gd name="T44" fmla="*/ 1227 w 1413"/>
                <a:gd name="T45" fmla="*/ 919 h 1115"/>
                <a:gd name="T46" fmla="*/ 126 w 1413"/>
                <a:gd name="T47" fmla="*/ 385 h 1115"/>
                <a:gd name="T48" fmla="*/ 123 w 1413"/>
                <a:gd name="T49" fmla="*/ 620 h 1115"/>
                <a:gd name="T50" fmla="*/ 183 w 1413"/>
                <a:gd name="T51" fmla="*/ 738 h 1115"/>
                <a:gd name="T52" fmla="*/ 1234 w 1413"/>
                <a:gd name="T53" fmla="*/ 732 h 1115"/>
                <a:gd name="T54" fmla="*/ 461 w 1413"/>
                <a:gd name="T55" fmla="*/ 384 h 1115"/>
                <a:gd name="T56" fmla="*/ 1311 w 1413"/>
                <a:gd name="T57" fmla="*/ 325 h 1115"/>
                <a:gd name="T58" fmla="*/ 461 w 1413"/>
                <a:gd name="T59" fmla="*/ 674 h 1115"/>
                <a:gd name="T60" fmla="*/ 630 w 1413"/>
                <a:gd name="T61" fmla="*/ 558 h 1115"/>
                <a:gd name="T62" fmla="*/ 704 w 1413"/>
                <a:gd name="T63" fmla="*/ 851 h 1115"/>
                <a:gd name="T64" fmla="*/ 1133 w 1413"/>
                <a:gd name="T65" fmla="*/ 733 h 1115"/>
                <a:gd name="T66" fmla="*/ 282 w 1413"/>
                <a:gd name="T67" fmla="*/ 323 h 1115"/>
                <a:gd name="T68" fmla="*/ 705 w 1413"/>
                <a:gd name="T69" fmla="*/ 671 h 1115"/>
                <a:gd name="T70" fmla="*/ 1057 w 1413"/>
                <a:gd name="T71" fmla="*/ 851 h 1115"/>
                <a:gd name="T72" fmla="*/ 1234 w 1413"/>
                <a:gd name="T73" fmla="*/ 797 h 1115"/>
                <a:gd name="T74" fmla="*/ 461 w 1413"/>
                <a:gd name="T75" fmla="*/ 738 h 1115"/>
                <a:gd name="T76" fmla="*/ 1152 w 1413"/>
                <a:gd name="T77" fmla="*/ 732 h 1115"/>
                <a:gd name="T78" fmla="*/ 1223 w 1413"/>
                <a:gd name="T79" fmla="*/ 325 h 1115"/>
                <a:gd name="T80" fmla="*/ 373 w 1413"/>
                <a:gd name="T81" fmla="*/ 674 h 1115"/>
                <a:gd name="T82" fmla="*/ 724 w 1413"/>
                <a:gd name="T83" fmla="*/ 558 h 1115"/>
                <a:gd name="T84" fmla="*/ 1234 w 1413"/>
                <a:gd name="T85" fmla="*/ 451 h 1115"/>
                <a:gd name="T86" fmla="*/ 630 w 1413"/>
                <a:gd name="T87" fmla="*/ 740 h 1115"/>
                <a:gd name="T88" fmla="*/ 1057 w 1413"/>
                <a:gd name="T89" fmla="*/ 797 h 1115"/>
                <a:gd name="T90" fmla="*/ 1234 w 1413"/>
                <a:gd name="T91" fmla="*/ 622 h 1115"/>
                <a:gd name="T92" fmla="*/ 205 w 1413"/>
                <a:gd name="T93" fmla="*/ 795 h 1115"/>
                <a:gd name="T94" fmla="*/ 705 w 1413"/>
                <a:gd name="T95" fmla="*/ 976 h 1115"/>
                <a:gd name="T96" fmla="*/ 281 w 1413"/>
                <a:gd name="T97" fmla="*/ 564 h 1115"/>
                <a:gd name="T98" fmla="*/ 462 w 1413"/>
                <a:gd name="T99" fmla="*/ 918 h 1115"/>
                <a:gd name="T100" fmla="*/ 1152 w 1413"/>
                <a:gd name="T101" fmla="*/ 740 h 1115"/>
                <a:gd name="T102" fmla="*/ 1057 w 1413"/>
                <a:gd name="T103" fmla="*/ 976 h 1115"/>
                <a:gd name="T104" fmla="*/ 302 w 1413"/>
                <a:gd name="T105" fmla="*/ 738 h 1115"/>
                <a:gd name="T106" fmla="*/ 302 w 1413"/>
                <a:gd name="T107" fmla="*/ 392 h 1115"/>
                <a:gd name="T108" fmla="*/ 1152 w 1413"/>
                <a:gd name="T109" fmla="*/ 566 h 1115"/>
                <a:gd name="T110" fmla="*/ 556 w 1413"/>
                <a:gd name="T111" fmla="*/ 39 h 1115"/>
                <a:gd name="T112" fmla="*/ 686 w 1413"/>
                <a:gd name="T113" fmla="*/ 12 h 1115"/>
                <a:gd name="T114" fmla="*/ 847 w 1413"/>
                <a:gd name="T115" fmla="*/ 43 h 1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3" h="1115">
                  <a:moveTo>
                    <a:pt x="478" y="230"/>
                  </a:moveTo>
                  <a:cubicBezTo>
                    <a:pt x="335" y="230"/>
                    <a:pt x="193" y="230"/>
                    <a:pt x="49" y="230"/>
                  </a:cubicBezTo>
                  <a:cubicBezTo>
                    <a:pt x="49" y="227"/>
                    <a:pt x="49" y="224"/>
                    <a:pt x="49" y="220"/>
                  </a:cubicBezTo>
                  <a:cubicBezTo>
                    <a:pt x="192" y="220"/>
                    <a:pt x="335" y="220"/>
                    <a:pt x="478" y="220"/>
                  </a:cubicBezTo>
                  <a:cubicBezTo>
                    <a:pt x="480" y="148"/>
                    <a:pt x="481" y="77"/>
                    <a:pt x="482" y="5"/>
                  </a:cubicBezTo>
                  <a:cubicBezTo>
                    <a:pt x="485" y="5"/>
                    <a:pt x="488" y="5"/>
                    <a:pt x="491" y="5"/>
                  </a:cubicBezTo>
                  <a:cubicBezTo>
                    <a:pt x="491" y="14"/>
                    <a:pt x="491" y="23"/>
                    <a:pt x="491" y="32"/>
                  </a:cubicBezTo>
                  <a:cubicBezTo>
                    <a:pt x="503" y="32"/>
                    <a:pt x="514" y="32"/>
                    <a:pt x="527" y="32"/>
                  </a:cubicBezTo>
                  <a:cubicBezTo>
                    <a:pt x="527" y="25"/>
                    <a:pt x="526" y="19"/>
                    <a:pt x="527" y="13"/>
                  </a:cubicBezTo>
                  <a:cubicBezTo>
                    <a:pt x="527" y="10"/>
                    <a:pt x="529" y="7"/>
                    <a:pt x="531" y="4"/>
                  </a:cubicBezTo>
                  <a:cubicBezTo>
                    <a:pt x="532" y="7"/>
                    <a:pt x="535" y="10"/>
                    <a:pt x="535" y="12"/>
                  </a:cubicBezTo>
                  <a:cubicBezTo>
                    <a:pt x="535" y="30"/>
                    <a:pt x="535" y="47"/>
                    <a:pt x="535" y="65"/>
                  </a:cubicBezTo>
                  <a:cubicBezTo>
                    <a:pt x="535" y="67"/>
                    <a:pt x="536" y="68"/>
                    <a:pt x="536" y="71"/>
                  </a:cubicBezTo>
                  <a:cubicBezTo>
                    <a:pt x="544" y="71"/>
                    <a:pt x="551" y="71"/>
                    <a:pt x="559" y="71"/>
                  </a:cubicBezTo>
                  <a:cubicBezTo>
                    <a:pt x="543" y="44"/>
                    <a:pt x="543" y="23"/>
                    <a:pt x="560" y="10"/>
                  </a:cubicBezTo>
                  <a:cubicBezTo>
                    <a:pt x="572" y="0"/>
                    <a:pt x="591" y="1"/>
                    <a:pt x="603" y="12"/>
                  </a:cubicBezTo>
                  <a:cubicBezTo>
                    <a:pt x="617" y="25"/>
                    <a:pt x="616" y="48"/>
                    <a:pt x="600" y="71"/>
                  </a:cubicBezTo>
                  <a:cubicBezTo>
                    <a:pt x="607" y="71"/>
                    <a:pt x="613" y="71"/>
                    <a:pt x="620" y="71"/>
                  </a:cubicBezTo>
                  <a:cubicBezTo>
                    <a:pt x="621" y="68"/>
                    <a:pt x="622" y="65"/>
                    <a:pt x="624" y="62"/>
                  </a:cubicBezTo>
                  <a:cubicBezTo>
                    <a:pt x="629" y="64"/>
                    <a:pt x="635" y="67"/>
                    <a:pt x="640" y="67"/>
                  </a:cubicBezTo>
                  <a:cubicBezTo>
                    <a:pt x="648" y="68"/>
                    <a:pt x="654" y="66"/>
                    <a:pt x="657" y="58"/>
                  </a:cubicBezTo>
                  <a:cubicBezTo>
                    <a:pt x="659" y="50"/>
                    <a:pt x="653" y="46"/>
                    <a:pt x="646" y="43"/>
                  </a:cubicBezTo>
                  <a:cubicBezTo>
                    <a:pt x="641" y="41"/>
                    <a:pt x="635" y="40"/>
                    <a:pt x="632" y="36"/>
                  </a:cubicBezTo>
                  <a:cubicBezTo>
                    <a:pt x="628" y="32"/>
                    <a:pt x="624" y="25"/>
                    <a:pt x="624" y="20"/>
                  </a:cubicBezTo>
                  <a:cubicBezTo>
                    <a:pt x="624" y="15"/>
                    <a:pt x="629" y="8"/>
                    <a:pt x="634" y="6"/>
                  </a:cubicBezTo>
                  <a:cubicBezTo>
                    <a:pt x="641" y="4"/>
                    <a:pt x="650" y="5"/>
                    <a:pt x="658" y="5"/>
                  </a:cubicBezTo>
                  <a:cubicBezTo>
                    <a:pt x="660" y="5"/>
                    <a:pt x="661" y="10"/>
                    <a:pt x="663" y="14"/>
                  </a:cubicBezTo>
                  <a:cubicBezTo>
                    <a:pt x="654" y="12"/>
                    <a:pt x="649" y="10"/>
                    <a:pt x="644" y="11"/>
                  </a:cubicBezTo>
                  <a:cubicBezTo>
                    <a:pt x="640" y="12"/>
                    <a:pt x="633" y="16"/>
                    <a:pt x="633" y="19"/>
                  </a:cubicBezTo>
                  <a:cubicBezTo>
                    <a:pt x="633" y="23"/>
                    <a:pt x="637" y="28"/>
                    <a:pt x="640" y="31"/>
                  </a:cubicBezTo>
                  <a:cubicBezTo>
                    <a:pt x="641" y="33"/>
                    <a:pt x="645" y="33"/>
                    <a:pt x="647" y="34"/>
                  </a:cubicBezTo>
                  <a:cubicBezTo>
                    <a:pt x="666" y="41"/>
                    <a:pt x="670" y="51"/>
                    <a:pt x="661" y="70"/>
                  </a:cubicBezTo>
                  <a:cubicBezTo>
                    <a:pt x="666" y="70"/>
                    <a:pt x="671" y="70"/>
                    <a:pt x="677" y="70"/>
                  </a:cubicBezTo>
                  <a:cubicBezTo>
                    <a:pt x="677" y="51"/>
                    <a:pt x="678" y="33"/>
                    <a:pt x="677" y="14"/>
                  </a:cubicBezTo>
                  <a:cubicBezTo>
                    <a:pt x="677" y="6"/>
                    <a:pt x="680" y="4"/>
                    <a:pt x="687" y="4"/>
                  </a:cubicBezTo>
                  <a:cubicBezTo>
                    <a:pt x="692" y="4"/>
                    <a:pt x="698" y="4"/>
                    <a:pt x="704" y="4"/>
                  </a:cubicBezTo>
                  <a:cubicBezTo>
                    <a:pt x="715" y="6"/>
                    <a:pt x="722" y="14"/>
                    <a:pt x="722" y="24"/>
                  </a:cubicBezTo>
                  <a:cubicBezTo>
                    <a:pt x="723" y="33"/>
                    <a:pt x="716" y="42"/>
                    <a:pt x="706" y="45"/>
                  </a:cubicBezTo>
                  <a:cubicBezTo>
                    <a:pt x="700" y="47"/>
                    <a:pt x="694" y="47"/>
                    <a:pt x="687" y="48"/>
                  </a:cubicBezTo>
                  <a:cubicBezTo>
                    <a:pt x="687" y="55"/>
                    <a:pt x="687" y="62"/>
                    <a:pt x="687" y="70"/>
                  </a:cubicBezTo>
                  <a:cubicBezTo>
                    <a:pt x="702" y="70"/>
                    <a:pt x="717" y="70"/>
                    <a:pt x="733" y="70"/>
                  </a:cubicBezTo>
                  <a:cubicBezTo>
                    <a:pt x="733" y="49"/>
                    <a:pt x="733" y="27"/>
                    <a:pt x="733" y="6"/>
                  </a:cubicBezTo>
                  <a:cubicBezTo>
                    <a:pt x="741" y="3"/>
                    <a:pt x="742" y="5"/>
                    <a:pt x="742" y="11"/>
                  </a:cubicBezTo>
                  <a:cubicBezTo>
                    <a:pt x="742" y="27"/>
                    <a:pt x="742" y="44"/>
                    <a:pt x="742" y="60"/>
                  </a:cubicBezTo>
                  <a:cubicBezTo>
                    <a:pt x="742" y="63"/>
                    <a:pt x="742" y="67"/>
                    <a:pt x="742" y="71"/>
                  </a:cubicBezTo>
                  <a:cubicBezTo>
                    <a:pt x="754" y="71"/>
                    <a:pt x="764" y="71"/>
                    <a:pt x="775" y="71"/>
                  </a:cubicBezTo>
                  <a:cubicBezTo>
                    <a:pt x="775" y="51"/>
                    <a:pt x="775" y="32"/>
                    <a:pt x="775" y="12"/>
                  </a:cubicBezTo>
                  <a:cubicBezTo>
                    <a:pt x="768" y="12"/>
                    <a:pt x="762" y="12"/>
                    <a:pt x="756" y="12"/>
                  </a:cubicBezTo>
                  <a:cubicBezTo>
                    <a:pt x="754" y="11"/>
                    <a:pt x="752" y="9"/>
                    <a:pt x="751" y="8"/>
                  </a:cubicBezTo>
                  <a:cubicBezTo>
                    <a:pt x="752" y="7"/>
                    <a:pt x="754" y="4"/>
                    <a:pt x="755" y="4"/>
                  </a:cubicBezTo>
                  <a:cubicBezTo>
                    <a:pt x="772" y="4"/>
                    <a:pt x="788" y="4"/>
                    <a:pt x="804" y="4"/>
                  </a:cubicBezTo>
                  <a:cubicBezTo>
                    <a:pt x="806" y="4"/>
                    <a:pt x="808" y="6"/>
                    <a:pt x="809" y="7"/>
                  </a:cubicBezTo>
                  <a:cubicBezTo>
                    <a:pt x="808" y="9"/>
                    <a:pt x="806" y="11"/>
                    <a:pt x="804" y="12"/>
                  </a:cubicBezTo>
                  <a:cubicBezTo>
                    <a:pt x="798" y="12"/>
                    <a:pt x="792" y="12"/>
                    <a:pt x="785" y="12"/>
                  </a:cubicBezTo>
                  <a:cubicBezTo>
                    <a:pt x="785" y="32"/>
                    <a:pt x="785" y="51"/>
                    <a:pt x="785" y="71"/>
                  </a:cubicBezTo>
                  <a:cubicBezTo>
                    <a:pt x="790" y="71"/>
                    <a:pt x="794" y="72"/>
                    <a:pt x="799" y="71"/>
                  </a:cubicBezTo>
                  <a:cubicBezTo>
                    <a:pt x="802" y="70"/>
                    <a:pt x="806" y="68"/>
                    <a:pt x="808" y="65"/>
                  </a:cubicBezTo>
                  <a:cubicBezTo>
                    <a:pt x="815" y="47"/>
                    <a:pt x="822" y="29"/>
                    <a:pt x="830" y="11"/>
                  </a:cubicBezTo>
                  <a:cubicBezTo>
                    <a:pt x="831" y="8"/>
                    <a:pt x="834" y="6"/>
                    <a:pt x="836" y="3"/>
                  </a:cubicBezTo>
                  <a:cubicBezTo>
                    <a:pt x="839" y="6"/>
                    <a:pt x="842" y="8"/>
                    <a:pt x="844" y="11"/>
                  </a:cubicBezTo>
                  <a:cubicBezTo>
                    <a:pt x="851" y="29"/>
                    <a:pt x="858" y="47"/>
                    <a:pt x="866" y="64"/>
                  </a:cubicBezTo>
                  <a:cubicBezTo>
                    <a:pt x="867" y="68"/>
                    <a:pt x="871" y="70"/>
                    <a:pt x="873" y="73"/>
                  </a:cubicBezTo>
                  <a:cubicBezTo>
                    <a:pt x="874" y="72"/>
                    <a:pt x="875" y="71"/>
                    <a:pt x="876" y="71"/>
                  </a:cubicBezTo>
                  <a:cubicBezTo>
                    <a:pt x="876" y="51"/>
                    <a:pt x="877" y="32"/>
                    <a:pt x="876" y="12"/>
                  </a:cubicBezTo>
                  <a:cubicBezTo>
                    <a:pt x="876" y="6"/>
                    <a:pt x="878" y="3"/>
                    <a:pt x="886" y="5"/>
                  </a:cubicBezTo>
                  <a:cubicBezTo>
                    <a:pt x="886" y="22"/>
                    <a:pt x="887" y="39"/>
                    <a:pt x="886" y="56"/>
                  </a:cubicBezTo>
                  <a:cubicBezTo>
                    <a:pt x="886" y="64"/>
                    <a:pt x="889" y="66"/>
                    <a:pt x="896" y="66"/>
                  </a:cubicBezTo>
                  <a:cubicBezTo>
                    <a:pt x="905" y="67"/>
                    <a:pt x="913" y="64"/>
                    <a:pt x="922" y="70"/>
                  </a:cubicBezTo>
                  <a:cubicBezTo>
                    <a:pt x="928" y="74"/>
                    <a:pt x="927" y="78"/>
                    <a:pt x="927" y="82"/>
                  </a:cubicBezTo>
                  <a:cubicBezTo>
                    <a:pt x="927" y="124"/>
                    <a:pt x="927" y="166"/>
                    <a:pt x="927" y="208"/>
                  </a:cubicBezTo>
                  <a:cubicBezTo>
                    <a:pt x="927" y="211"/>
                    <a:pt x="927" y="215"/>
                    <a:pt x="927" y="221"/>
                  </a:cubicBezTo>
                  <a:cubicBezTo>
                    <a:pt x="1071" y="221"/>
                    <a:pt x="1215" y="221"/>
                    <a:pt x="1359" y="221"/>
                  </a:cubicBezTo>
                  <a:cubicBezTo>
                    <a:pt x="1359" y="225"/>
                    <a:pt x="1359" y="228"/>
                    <a:pt x="1359" y="232"/>
                  </a:cubicBezTo>
                  <a:cubicBezTo>
                    <a:pt x="1215" y="232"/>
                    <a:pt x="1072" y="232"/>
                    <a:pt x="928" y="232"/>
                  </a:cubicBezTo>
                  <a:cubicBezTo>
                    <a:pt x="927" y="238"/>
                    <a:pt x="927" y="242"/>
                    <a:pt x="934" y="241"/>
                  </a:cubicBezTo>
                  <a:cubicBezTo>
                    <a:pt x="938" y="241"/>
                    <a:pt x="942" y="241"/>
                    <a:pt x="947" y="241"/>
                  </a:cubicBezTo>
                  <a:cubicBezTo>
                    <a:pt x="1078" y="241"/>
                    <a:pt x="1210" y="241"/>
                    <a:pt x="1342" y="241"/>
                  </a:cubicBezTo>
                  <a:cubicBezTo>
                    <a:pt x="1347" y="241"/>
                    <a:pt x="1353" y="241"/>
                    <a:pt x="1359" y="241"/>
                  </a:cubicBezTo>
                  <a:cubicBezTo>
                    <a:pt x="1359" y="249"/>
                    <a:pt x="1360" y="257"/>
                    <a:pt x="1359" y="264"/>
                  </a:cubicBezTo>
                  <a:cubicBezTo>
                    <a:pt x="1359" y="266"/>
                    <a:pt x="1356" y="268"/>
                    <a:pt x="1354" y="269"/>
                  </a:cubicBezTo>
                  <a:cubicBezTo>
                    <a:pt x="1352" y="269"/>
                    <a:pt x="1349" y="269"/>
                    <a:pt x="1346" y="269"/>
                  </a:cubicBezTo>
                  <a:cubicBezTo>
                    <a:pt x="1211" y="269"/>
                    <a:pt x="1076" y="269"/>
                    <a:pt x="940" y="269"/>
                  </a:cubicBezTo>
                  <a:cubicBezTo>
                    <a:pt x="936" y="269"/>
                    <a:pt x="928" y="272"/>
                    <a:pt x="928" y="272"/>
                  </a:cubicBezTo>
                  <a:cubicBezTo>
                    <a:pt x="929" y="281"/>
                    <a:pt x="936" y="277"/>
                    <a:pt x="940" y="277"/>
                  </a:cubicBezTo>
                  <a:cubicBezTo>
                    <a:pt x="1077" y="277"/>
                    <a:pt x="1213" y="277"/>
                    <a:pt x="1350" y="277"/>
                  </a:cubicBezTo>
                  <a:cubicBezTo>
                    <a:pt x="1353" y="277"/>
                    <a:pt x="1356" y="277"/>
                    <a:pt x="1360" y="277"/>
                  </a:cubicBezTo>
                  <a:cubicBezTo>
                    <a:pt x="1360" y="544"/>
                    <a:pt x="1360" y="811"/>
                    <a:pt x="1360" y="1078"/>
                  </a:cubicBezTo>
                  <a:cubicBezTo>
                    <a:pt x="1378" y="1078"/>
                    <a:pt x="1395" y="1078"/>
                    <a:pt x="1413" y="1078"/>
                  </a:cubicBezTo>
                  <a:cubicBezTo>
                    <a:pt x="1413" y="1091"/>
                    <a:pt x="1413" y="1102"/>
                    <a:pt x="1413" y="1115"/>
                  </a:cubicBezTo>
                  <a:cubicBezTo>
                    <a:pt x="942" y="1115"/>
                    <a:pt x="471" y="1115"/>
                    <a:pt x="0" y="1115"/>
                  </a:cubicBezTo>
                  <a:cubicBezTo>
                    <a:pt x="0" y="1103"/>
                    <a:pt x="0" y="1091"/>
                    <a:pt x="0" y="1079"/>
                  </a:cubicBezTo>
                  <a:cubicBezTo>
                    <a:pt x="16" y="1079"/>
                    <a:pt x="32" y="1079"/>
                    <a:pt x="49" y="1079"/>
                  </a:cubicBezTo>
                  <a:cubicBezTo>
                    <a:pt x="49" y="811"/>
                    <a:pt x="49" y="544"/>
                    <a:pt x="49" y="275"/>
                  </a:cubicBezTo>
                  <a:cubicBezTo>
                    <a:pt x="54" y="275"/>
                    <a:pt x="58" y="275"/>
                    <a:pt x="62" y="275"/>
                  </a:cubicBezTo>
                  <a:cubicBezTo>
                    <a:pt x="197" y="275"/>
                    <a:pt x="332" y="275"/>
                    <a:pt x="467" y="275"/>
                  </a:cubicBezTo>
                  <a:cubicBezTo>
                    <a:pt x="469" y="275"/>
                    <a:pt x="472" y="276"/>
                    <a:pt x="475" y="275"/>
                  </a:cubicBezTo>
                  <a:cubicBezTo>
                    <a:pt x="476" y="275"/>
                    <a:pt x="478" y="273"/>
                    <a:pt x="479" y="272"/>
                  </a:cubicBezTo>
                  <a:cubicBezTo>
                    <a:pt x="478" y="270"/>
                    <a:pt x="476" y="268"/>
                    <a:pt x="475" y="267"/>
                  </a:cubicBezTo>
                  <a:cubicBezTo>
                    <a:pt x="472" y="266"/>
                    <a:pt x="469" y="267"/>
                    <a:pt x="466" y="267"/>
                  </a:cubicBezTo>
                  <a:cubicBezTo>
                    <a:pt x="331" y="267"/>
                    <a:pt x="196" y="267"/>
                    <a:pt x="61" y="267"/>
                  </a:cubicBezTo>
                  <a:cubicBezTo>
                    <a:pt x="58" y="267"/>
                    <a:pt x="54" y="267"/>
                    <a:pt x="49" y="267"/>
                  </a:cubicBezTo>
                  <a:cubicBezTo>
                    <a:pt x="49" y="257"/>
                    <a:pt x="49" y="249"/>
                    <a:pt x="49" y="240"/>
                  </a:cubicBezTo>
                  <a:cubicBezTo>
                    <a:pt x="54" y="240"/>
                    <a:pt x="58" y="240"/>
                    <a:pt x="62" y="240"/>
                  </a:cubicBezTo>
                  <a:cubicBezTo>
                    <a:pt x="198" y="240"/>
                    <a:pt x="333" y="240"/>
                    <a:pt x="469" y="240"/>
                  </a:cubicBezTo>
                  <a:cubicBezTo>
                    <a:pt x="474" y="240"/>
                    <a:pt x="482" y="241"/>
                    <a:pt x="478" y="230"/>
                  </a:cubicBezTo>
                  <a:close/>
                  <a:moveTo>
                    <a:pt x="853" y="849"/>
                  </a:moveTo>
                  <a:cubicBezTo>
                    <a:pt x="822" y="849"/>
                    <a:pt x="791" y="849"/>
                    <a:pt x="760" y="849"/>
                  </a:cubicBezTo>
                  <a:cubicBezTo>
                    <a:pt x="760" y="911"/>
                    <a:pt x="760" y="973"/>
                    <a:pt x="760" y="1035"/>
                  </a:cubicBezTo>
                  <a:cubicBezTo>
                    <a:pt x="791" y="1035"/>
                    <a:pt x="822" y="1035"/>
                    <a:pt x="853" y="1035"/>
                  </a:cubicBezTo>
                  <a:cubicBezTo>
                    <a:pt x="853" y="973"/>
                    <a:pt x="853" y="911"/>
                    <a:pt x="853" y="849"/>
                  </a:cubicBezTo>
                  <a:close/>
                  <a:moveTo>
                    <a:pt x="892" y="283"/>
                  </a:moveTo>
                  <a:cubicBezTo>
                    <a:pt x="893" y="237"/>
                    <a:pt x="877" y="196"/>
                    <a:pt x="844" y="164"/>
                  </a:cubicBezTo>
                  <a:cubicBezTo>
                    <a:pt x="782" y="102"/>
                    <a:pt x="696" y="91"/>
                    <a:pt x="620" y="134"/>
                  </a:cubicBezTo>
                  <a:cubicBezTo>
                    <a:pt x="526" y="186"/>
                    <a:pt x="504" y="312"/>
                    <a:pt x="574" y="393"/>
                  </a:cubicBezTo>
                  <a:cubicBezTo>
                    <a:pt x="625" y="452"/>
                    <a:pt x="706" y="472"/>
                    <a:pt x="781" y="443"/>
                  </a:cubicBezTo>
                  <a:cubicBezTo>
                    <a:pt x="847" y="418"/>
                    <a:pt x="892" y="353"/>
                    <a:pt x="892" y="283"/>
                  </a:cubicBezTo>
                  <a:close/>
                  <a:moveTo>
                    <a:pt x="461" y="621"/>
                  </a:moveTo>
                  <a:cubicBezTo>
                    <a:pt x="461" y="578"/>
                    <a:pt x="461" y="537"/>
                    <a:pt x="461" y="495"/>
                  </a:cubicBezTo>
                  <a:cubicBezTo>
                    <a:pt x="435" y="495"/>
                    <a:pt x="409" y="495"/>
                    <a:pt x="384" y="495"/>
                  </a:cubicBezTo>
                  <a:cubicBezTo>
                    <a:pt x="384" y="516"/>
                    <a:pt x="384" y="536"/>
                    <a:pt x="384" y="558"/>
                  </a:cubicBezTo>
                  <a:cubicBezTo>
                    <a:pt x="397" y="558"/>
                    <a:pt x="410" y="558"/>
                    <a:pt x="422" y="558"/>
                  </a:cubicBezTo>
                  <a:cubicBezTo>
                    <a:pt x="435" y="558"/>
                    <a:pt x="447" y="558"/>
                    <a:pt x="459" y="558"/>
                  </a:cubicBezTo>
                  <a:cubicBezTo>
                    <a:pt x="459" y="560"/>
                    <a:pt x="459" y="561"/>
                    <a:pt x="459" y="563"/>
                  </a:cubicBezTo>
                  <a:cubicBezTo>
                    <a:pt x="434" y="563"/>
                    <a:pt x="409" y="563"/>
                    <a:pt x="383" y="563"/>
                  </a:cubicBezTo>
                  <a:cubicBezTo>
                    <a:pt x="383" y="584"/>
                    <a:pt x="383" y="602"/>
                    <a:pt x="383" y="621"/>
                  </a:cubicBezTo>
                  <a:cubicBezTo>
                    <a:pt x="410" y="621"/>
                    <a:pt x="435" y="621"/>
                    <a:pt x="461" y="621"/>
                  </a:cubicBezTo>
                  <a:close/>
                  <a:moveTo>
                    <a:pt x="198" y="849"/>
                  </a:moveTo>
                  <a:cubicBezTo>
                    <a:pt x="172" y="849"/>
                    <a:pt x="147" y="849"/>
                    <a:pt x="123" y="849"/>
                  </a:cubicBezTo>
                  <a:cubicBezTo>
                    <a:pt x="122" y="850"/>
                    <a:pt x="122" y="851"/>
                    <a:pt x="122" y="851"/>
                  </a:cubicBezTo>
                  <a:cubicBezTo>
                    <a:pt x="121" y="891"/>
                    <a:pt x="122" y="930"/>
                    <a:pt x="121" y="969"/>
                  </a:cubicBezTo>
                  <a:cubicBezTo>
                    <a:pt x="121" y="976"/>
                    <a:pt x="125" y="975"/>
                    <a:pt x="130" y="975"/>
                  </a:cubicBezTo>
                  <a:cubicBezTo>
                    <a:pt x="147" y="975"/>
                    <a:pt x="164" y="975"/>
                    <a:pt x="182" y="975"/>
                  </a:cubicBezTo>
                  <a:cubicBezTo>
                    <a:pt x="187" y="975"/>
                    <a:pt x="193" y="975"/>
                    <a:pt x="198" y="975"/>
                  </a:cubicBezTo>
                  <a:cubicBezTo>
                    <a:pt x="198" y="955"/>
                    <a:pt x="198" y="937"/>
                    <a:pt x="198" y="917"/>
                  </a:cubicBezTo>
                  <a:cubicBezTo>
                    <a:pt x="194" y="917"/>
                    <a:pt x="190" y="917"/>
                    <a:pt x="187" y="917"/>
                  </a:cubicBezTo>
                  <a:cubicBezTo>
                    <a:pt x="168" y="917"/>
                    <a:pt x="150" y="917"/>
                    <a:pt x="132" y="917"/>
                  </a:cubicBezTo>
                  <a:cubicBezTo>
                    <a:pt x="129" y="917"/>
                    <a:pt x="127" y="916"/>
                    <a:pt x="124" y="915"/>
                  </a:cubicBezTo>
                  <a:cubicBezTo>
                    <a:pt x="124" y="914"/>
                    <a:pt x="124" y="912"/>
                    <a:pt x="125" y="911"/>
                  </a:cubicBezTo>
                  <a:cubicBezTo>
                    <a:pt x="149" y="911"/>
                    <a:pt x="174" y="911"/>
                    <a:pt x="198" y="911"/>
                  </a:cubicBezTo>
                  <a:cubicBezTo>
                    <a:pt x="198" y="890"/>
                    <a:pt x="198" y="870"/>
                    <a:pt x="198" y="849"/>
                  </a:cubicBezTo>
                  <a:close/>
                  <a:moveTo>
                    <a:pt x="620" y="735"/>
                  </a:moveTo>
                  <a:cubicBezTo>
                    <a:pt x="620" y="713"/>
                    <a:pt x="620" y="694"/>
                    <a:pt x="620" y="676"/>
                  </a:cubicBezTo>
                  <a:cubicBezTo>
                    <a:pt x="620" y="670"/>
                    <a:pt x="617" y="670"/>
                    <a:pt x="612" y="670"/>
                  </a:cubicBezTo>
                  <a:cubicBezTo>
                    <a:pt x="593" y="670"/>
                    <a:pt x="574" y="670"/>
                    <a:pt x="555" y="670"/>
                  </a:cubicBezTo>
                  <a:cubicBezTo>
                    <a:pt x="547" y="670"/>
                    <a:pt x="544" y="672"/>
                    <a:pt x="545" y="680"/>
                  </a:cubicBezTo>
                  <a:cubicBezTo>
                    <a:pt x="545" y="711"/>
                    <a:pt x="545" y="741"/>
                    <a:pt x="545" y="772"/>
                  </a:cubicBezTo>
                  <a:cubicBezTo>
                    <a:pt x="545" y="780"/>
                    <a:pt x="542" y="791"/>
                    <a:pt x="546" y="795"/>
                  </a:cubicBezTo>
                  <a:cubicBezTo>
                    <a:pt x="550" y="800"/>
                    <a:pt x="561" y="797"/>
                    <a:pt x="569" y="797"/>
                  </a:cubicBezTo>
                  <a:cubicBezTo>
                    <a:pt x="586" y="797"/>
                    <a:pt x="603" y="797"/>
                    <a:pt x="619" y="797"/>
                  </a:cubicBezTo>
                  <a:cubicBezTo>
                    <a:pt x="619" y="777"/>
                    <a:pt x="619" y="758"/>
                    <a:pt x="619" y="738"/>
                  </a:cubicBezTo>
                  <a:cubicBezTo>
                    <a:pt x="595" y="738"/>
                    <a:pt x="572" y="738"/>
                    <a:pt x="548" y="738"/>
                  </a:cubicBezTo>
                  <a:cubicBezTo>
                    <a:pt x="548" y="736"/>
                    <a:pt x="549" y="735"/>
                    <a:pt x="549" y="735"/>
                  </a:cubicBezTo>
                  <a:cubicBezTo>
                    <a:pt x="572" y="735"/>
                    <a:pt x="595" y="735"/>
                    <a:pt x="620" y="735"/>
                  </a:cubicBezTo>
                  <a:close/>
                  <a:moveTo>
                    <a:pt x="620" y="497"/>
                  </a:moveTo>
                  <a:cubicBezTo>
                    <a:pt x="594" y="497"/>
                    <a:pt x="570" y="497"/>
                    <a:pt x="545" y="497"/>
                  </a:cubicBezTo>
                  <a:cubicBezTo>
                    <a:pt x="545" y="539"/>
                    <a:pt x="545" y="580"/>
                    <a:pt x="545" y="622"/>
                  </a:cubicBezTo>
                  <a:cubicBezTo>
                    <a:pt x="570" y="622"/>
                    <a:pt x="595" y="622"/>
                    <a:pt x="619" y="622"/>
                  </a:cubicBezTo>
                  <a:cubicBezTo>
                    <a:pt x="619" y="603"/>
                    <a:pt x="619" y="585"/>
                    <a:pt x="619" y="566"/>
                  </a:cubicBezTo>
                  <a:cubicBezTo>
                    <a:pt x="599" y="566"/>
                    <a:pt x="580" y="566"/>
                    <a:pt x="561" y="565"/>
                  </a:cubicBezTo>
                  <a:cubicBezTo>
                    <a:pt x="556" y="565"/>
                    <a:pt x="552" y="563"/>
                    <a:pt x="548" y="562"/>
                  </a:cubicBezTo>
                  <a:cubicBezTo>
                    <a:pt x="552" y="561"/>
                    <a:pt x="556" y="559"/>
                    <a:pt x="560" y="559"/>
                  </a:cubicBezTo>
                  <a:cubicBezTo>
                    <a:pt x="580" y="559"/>
                    <a:pt x="600" y="559"/>
                    <a:pt x="620" y="559"/>
                  </a:cubicBezTo>
                  <a:cubicBezTo>
                    <a:pt x="620" y="538"/>
                    <a:pt x="620" y="518"/>
                    <a:pt x="620" y="497"/>
                  </a:cubicBezTo>
                  <a:close/>
                  <a:moveTo>
                    <a:pt x="302" y="848"/>
                  </a:moveTo>
                  <a:cubicBezTo>
                    <a:pt x="302" y="891"/>
                    <a:pt x="302" y="932"/>
                    <a:pt x="302" y="974"/>
                  </a:cubicBezTo>
                  <a:cubicBezTo>
                    <a:pt x="327" y="974"/>
                    <a:pt x="352" y="974"/>
                    <a:pt x="376" y="974"/>
                  </a:cubicBezTo>
                  <a:cubicBezTo>
                    <a:pt x="376" y="954"/>
                    <a:pt x="376" y="936"/>
                    <a:pt x="376" y="917"/>
                  </a:cubicBezTo>
                  <a:cubicBezTo>
                    <a:pt x="372" y="917"/>
                    <a:pt x="368" y="917"/>
                    <a:pt x="365" y="917"/>
                  </a:cubicBezTo>
                  <a:cubicBezTo>
                    <a:pt x="347" y="917"/>
                    <a:pt x="330" y="917"/>
                    <a:pt x="313" y="917"/>
                  </a:cubicBezTo>
                  <a:cubicBezTo>
                    <a:pt x="310" y="917"/>
                    <a:pt x="307" y="915"/>
                    <a:pt x="305" y="915"/>
                  </a:cubicBezTo>
                  <a:cubicBezTo>
                    <a:pt x="305" y="914"/>
                    <a:pt x="305" y="913"/>
                    <a:pt x="305" y="911"/>
                  </a:cubicBezTo>
                  <a:cubicBezTo>
                    <a:pt x="308" y="911"/>
                    <a:pt x="312" y="911"/>
                    <a:pt x="315" y="911"/>
                  </a:cubicBezTo>
                  <a:cubicBezTo>
                    <a:pt x="333" y="911"/>
                    <a:pt x="351" y="911"/>
                    <a:pt x="369" y="911"/>
                  </a:cubicBezTo>
                  <a:cubicBezTo>
                    <a:pt x="372" y="911"/>
                    <a:pt x="377" y="908"/>
                    <a:pt x="377" y="906"/>
                  </a:cubicBezTo>
                  <a:cubicBezTo>
                    <a:pt x="377" y="887"/>
                    <a:pt x="377" y="868"/>
                    <a:pt x="377" y="848"/>
                  </a:cubicBezTo>
                  <a:cubicBezTo>
                    <a:pt x="352" y="848"/>
                    <a:pt x="327" y="848"/>
                    <a:pt x="302" y="848"/>
                  </a:cubicBezTo>
                  <a:close/>
                  <a:moveTo>
                    <a:pt x="973" y="670"/>
                  </a:moveTo>
                  <a:cubicBezTo>
                    <a:pt x="973" y="713"/>
                    <a:pt x="973" y="754"/>
                    <a:pt x="973" y="797"/>
                  </a:cubicBezTo>
                  <a:cubicBezTo>
                    <a:pt x="997" y="797"/>
                    <a:pt x="1022" y="797"/>
                    <a:pt x="1046" y="797"/>
                  </a:cubicBezTo>
                  <a:cubicBezTo>
                    <a:pt x="1046" y="777"/>
                    <a:pt x="1046" y="759"/>
                    <a:pt x="1046" y="738"/>
                  </a:cubicBezTo>
                  <a:cubicBezTo>
                    <a:pt x="1022" y="738"/>
                    <a:pt x="999" y="738"/>
                    <a:pt x="975" y="738"/>
                  </a:cubicBezTo>
                  <a:cubicBezTo>
                    <a:pt x="979" y="733"/>
                    <a:pt x="979" y="733"/>
                    <a:pt x="1009" y="733"/>
                  </a:cubicBezTo>
                  <a:cubicBezTo>
                    <a:pt x="1022" y="733"/>
                    <a:pt x="1034" y="733"/>
                    <a:pt x="1047" y="733"/>
                  </a:cubicBezTo>
                  <a:cubicBezTo>
                    <a:pt x="1047" y="711"/>
                    <a:pt x="1047" y="691"/>
                    <a:pt x="1047" y="670"/>
                  </a:cubicBezTo>
                  <a:cubicBezTo>
                    <a:pt x="1021" y="670"/>
                    <a:pt x="997" y="670"/>
                    <a:pt x="973" y="670"/>
                  </a:cubicBezTo>
                  <a:close/>
                  <a:moveTo>
                    <a:pt x="1047" y="566"/>
                  </a:moveTo>
                  <a:cubicBezTo>
                    <a:pt x="1031" y="566"/>
                    <a:pt x="1015" y="566"/>
                    <a:pt x="999" y="566"/>
                  </a:cubicBezTo>
                  <a:cubicBezTo>
                    <a:pt x="993" y="566"/>
                    <a:pt x="986" y="566"/>
                    <a:pt x="980" y="565"/>
                  </a:cubicBezTo>
                  <a:cubicBezTo>
                    <a:pt x="978" y="565"/>
                    <a:pt x="977" y="563"/>
                    <a:pt x="976" y="562"/>
                  </a:cubicBezTo>
                  <a:cubicBezTo>
                    <a:pt x="977" y="561"/>
                    <a:pt x="978" y="559"/>
                    <a:pt x="979" y="559"/>
                  </a:cubicBezTo>
                  <a:cubicBezTo>
                    <a:pt x="982" y="559"/>
                    <a:pt x="985" y="559"/>
                    <a:pt x="988" y="559"/>
                  </a:cubicBezTo>
                  <a:cubicBezTo>
                    <a:pt x="1008" y="559"/>
                    <a:pt x="1027" y="559"/>
                    <a:pt x="1047" y="559"/>
                  </a:cubicBezTo>
                  <a:cubicBezTo>
                    <a:pt x="1047" y="537"/>
                    <a:pt x="1047" y="517"/>
                    <a:pt x="1047" y="497"/>
                  </a:cubicBezTo>
                  <a:cubicBezTo>
                    <a:pt x="1022" y="497"/>
                    <a:pt x="997" y="497"/>
                    <a:pt x="973" y="497"/>
                  </a:cubicBezTo>
                  <a:cubicBezTo>
                    <a:pt x="973" y="539"/>
                    <a:pt x="973" y="581"/>
                    <a:pt x="973" y="622"/>
                  </a:cubicBezTo>
                  <a:cubicBezTo>
                    <a:pt x="998" y="622"/>
                    <a:pt x="1022" y="622"/>
                    <a:pt x="1047" y="622"/>
                  </a:cubicBezTo>
                  <a:cubicBezTo>
                    <a:pt x="1047" y="603"/>
                    <a:pt x="1047" y="585"/>
                    <a:pt x="1047" y="566"/>
                  </a:cubicBezTo>
                  <a:close/>
                  <a:moveTo>
                    <a:pt x="1046" y="450"/>
                  </a:moveTo>
                  <a:cubicBezTo>
                    <a:pt x="1046" y="431"/>
                    <a:pt x="1046" y="412"/>
                    <a:pt x="1046" y="392"/>
                  </a:cubicBezTo>
                  <a:cubicBezTo>
                    <a:pt x="1022" y="392"/>
                    <a:pt x="999" y="392"/>
                    <a:pt x="976" y="392"/>
                  </a:cubicBezTo>
                  <a:cubicBezTo>
                    <a:pt x="976" y="391"/>
                    <a:pt x="976" y="390"/>
                    <a:pt x="976" y="388"/>
                  </a:cubicBezTo>
                  <a:cubicBezTo>
                    <a:pt x="999" y="385"/>
                    <a:pt x="1023" y="388"/>
                    <a:pt x="1046" y="387"/>
                  </a:cubicBezTo>
                  <a:cubicBezTo>
                    <a:pt x="1046" y="366"/>
                    <a:pt x="1046" y="345"/>
                    <a:pt x="1046" y="325"/>
                  </a:cubicBezTo>
                  <a:cubicBezTo>
                    <a:pt x="1021" y="325"/>
                    <a:pt x="997" y="325"/>
                    <a:pt x="973" y="325"/>
                  </a:cubicBezTo>
                  <a:cubicBezTo>
                    <a:pt x="973" y="367"/>
                    <a:pt x="973" y="409"/>
                    <a:pt x="973" y="450"/>
                  </a:cubicBezTo>
                  <a:cubicBezTo>
                    <a:pt x="998" y="450"/>
                    <a:pt x="1022" y="450"/>
                    <a:pt x="1046" y="450"/>
                  </a:cubicBezTo>
                  <a:close/>
                  <a:moveTo>
                    <a:pt x="545" y="851"/>
                  </a:moveTo>
                  <a:cubicBezTo>
                    <a:pt x="545" y="893"/>
                    <a:pt x="545" y="935"/>
                    <a:pt x="545" y="976"/>
                  </a:cubicBezTo>
                  <a:cubicBezTo>
                    <a:pt x="570" y="976"/>
                    <a:pt x="595" y="976"/>
                    <a:pt x="619" y="976"/>
                  </a:cubicBezTo>
                  <a:cubicBezTo>
                    <a:pt x="619" y="957"/>
                    <a:pt x="619" y="938"/>
                    <a:pt x="619" y="919"/>
                  </a:cubicBezTo>
                  <a:cubicBezTo>
                    <a:pt x="606" y="919"/>
                    <a:pt x="594" y="919"/>
                    <a:pt x="582" y="919"/>
                  </a:cubicBezTo>
                  <a:cubicBezTo>
                    <a:pt x="570" y="919"/>
                    <a:pt x="559" y="919"/>
                    <a:pt x="547" y="919"/>
                  </a:cubicBezTo>
                  <a:cubicBezTo>
                    <a:pt x="547" y="917"/>
                    <a:pt x="547" y="915"/>
                    <a:pt x="547" y="914"/>
                  </a:cubicBezTo>
                  <a:cubicBezTo>
                    <a:pt x="571" y="914"/>
                    <a:pt x="595" y="914"/>
                    <a:pt x="619" y="914"/>
                  </a:cubicBezTo>
                  <a:cubicBezTo>
                    <a:pt x="619" y="891"/>
                    <a:pt x="619" y="871"/>
                    <a:pt x="619" y="851"/>
                  </a:cubicBezTo>
                  <a:cubicBezTo>
                    <a:pt x="594" y="851"/>
                    <a:pt x="570" y="851"/>
                    <a:pt x="545" y="851"/>
                  </a:cubicBezTo>
                  <a:close/>
                  <a:moveTo>
                    <a:pt x="1046" y="918"/>
                  </a:moveTo>
                  <a:cubicBezTo>
                    <a:pt x="1022" y="918"/>
                    <a:pt x="998" y="918"/>
                    <a:pt x="975" y="918"/>
                  </a:cubicBezTo>
                  <a:cubicBezTo>
                    <a:pt x="975" y="917"/>
                    <a:pt x="975" y="915"/>
                    <a:pt x="975" y="914"/>
                  </a:cubicBezTo>
                  <a:cubicBezTo>
                    <a:pt x="998" y="912"/>
                    <a:pt x="1022" y="914"/>
                    <a:pt x="1046" y="913"/>
                  </a:cubicBezTo>
                  <a:cubicBezTo>
                    <a:pt x="1046" y="892"/>
                    <a:pt x="1046" y="871"/>
                    <a:pt x="1046" y="851"/>
                  </a:cubicBezTo>
                  <a:cubicBezTo>
                    <a:pt x="1021" y="851"/>
                    <a:pt x="997" y="851"/>
                    <a:pt x="972" y="851"/>
                  </a:cubicBezTo>
                  <a:cubicBezTo>
                    <a:pt x="972" y="893"/>
                    <a:pt x="972" y="934"/>
                    <a:pt x="972" y="976"/>
                  </a:cubicBezTo>
                  <a:cubicBezTo>
                    <a:pt x="997" y="976"/>
                    <a:pt x="1021" y="976"/>
                    <a:pt x="1046" y="976"/>
                  </a:cubicBezTo>
                  <a:cubicBezTo>
                    <a:pt x="1046" y="957"/>
                    <a:pt x="1046" y="939"/>
                    <a:pt x="1046" y="918"/>
                  </a:cubicBezTo>
                  <a:close/>
                  <a:moveTo>
                    <a:pt x="1227" y="850"/>
                  </a:moveTo>
                  <a:cubicBezTo>
                    <a:pt x="1202" y="850"/>
                    <a:pt x="1178" y="850"/>
                    <a:pt x="1153" y="850"/>
                  </a:cubicBezTo>
                  <a:cubicBezTo>
                    <a:pt x="1153" y="893"/>
                    <a:pt x="1153" y="934"/>
                    <a:pt x="1153" y="976"/>
                  </a:cubicBezTo>
                  <a:cubicBezTo>
                    <a:pt x="1178" y="976"/>
                    <a:pt x="1202" y="976"/>
                    <a:pt x="1227" y="976"/>
                  </a:cubicBezTo>
                  <a:cubicBezTo>
                    <a:pt x="1227" y="956"/>
                    <a:pt x="1227" y="938"/>
                    <a:pt x="1227" y="919"/>
                  </a:cubicBezTo>
                  <a:cubicBezTo>
                    <a:pt x="1207" y="919"/>
                    <a:pt x="1187" y="919"/>
                    <a:pt x="1168" y="918"/>
                  </a:cubicBezTo>
                  <a:cubicBezTo>
                    <a:pt x="1163" y="918"/>
                    <a:pt x="1159" y="917"/>
                    <a:pt x="1155" y="916"/>
                  </a:cubicBezTo>
                  <a:cubicBezTo>
                    <a:pt x="1159" y="915"/>
                    <a:pt x="1164" y="913"/>
                    <a:pt x="1168" y="912"/>
                  </a:cubicBezTo>
                  <a:cubicBezTo>
                    <a:pt x="1187" y="912"/>
                    <a:pt x="1207" y="912"/>
                    <a:pt x="1227" y="912"/>
                  </a:cubicBezTo>
                  <a:cubicBezTo>
                    <a:pt x="1227" y="891"/>
                    <a:pt x="1227" y="871"/>
                    <a:pt x="1227" y="850"/>
                  </a:cubicBezTo>
                  <a:close/>
                  <a:moveTo>
                    <a:pt x="195" y="392"/>
                  </a:moveTo>
                  <a:cubicBezTo>
                    <a:pt x="191" y="392"/>
                    <a:pt x="189" y="391"/>
                    <a:pt x="186" y="391"/>
                  </a:cubicBezTo>
                  <a:cubicBezTo>
                    <a:pt x="168" y="391"/>
                    <a:pt x="150" y="391"/>
                    <a:pt x="132" y="391"/>
                  </a:cubicBezTo>
                  <a:cubicBezTo>
                    <a:pt x="130" y="391"/>
                    <a:pt x="127" y="389"/>
                    <a:pt x="125" y="388"/>
                  </a:cubicBezTo>
                  <a:cubicBezTo>
                    <a:pt x="125" y="387"/>
                    <a:pt x="126" y="386"/>
                    <a:pt x="126" y="385"/>
                  </a:cubicBezTo>
                  <a:cubicBezTo>
                    <a:pt x="149" y="385"/>
                    <a:pt x="171" y="385"/>
                    <a:pt x="194" y="385"/>
                  </a:cubicBezTo>
                  <a:cubicBezTo>
                    <a:pt x="194" y="364"/>
                    <a:pt x="194" y="344"/>
                    <a:pt x="194" y="323"/>
                  </a:cubicBezTo>
                  <a:cubicBezTo>
                    <a:pt x="170" y="323"/>
                    <a:pt x="146" y="323"/>
                    <a:pt x="122" y="323"/>
                  </a:cubicBezTo>
                  <a:cubicBezTo>
                    <a:pt x="122" y="365"/>
                    <a:pt x="122" y="407"/>
                    <a:pt x="122" y="449"/>
                  </a:cubicBezTo>
                  <a:cubicBezTo>
                    <a:pt x="147" y="449"/>
                    <a:pt x="171" y="449"/>
                    <a:pt x="195" y="449"/>
                  </a:cubicBezTo>
                  <a:cubicBezTo>
                    <a:pt x="195" y="430"/>
                    <a:pt x="195" y="411"/>
                    <a:pt x="195" y="392"/>
                  </a:cubicBezTo>
                  <a:close/>
                  <a:moveTo>
                    <a:pt x="194" y="557"/>
                  </a:moveTo>
                  <a:cubicBezTo>
                    <a:pt x="194" y="536"/>
                    <a:pt x="194" y="516"/>
                    <a:pt x="194" y="495"/>
                  </a:cubicBezTo>
                  <a:cubicBezTo>
                    <a:pt x="170" y="495"/>
                    <a:pt x="147" y="495"/>
                    <a:pt x="123" y="495"/>
                  </a:cubicBezTo>
                  <a:cubicBezTo>
                    <a:pt x="123" y="537"/>
                    <a:pt x="123" y="579"/>
                    <a:pt x="123" y="620"/>
                  </a:cubicBezTo>
                  <a:cubicBezTo>
                    <a:pt x="147" y="620"/>
                    <a:pt x="171" y="620"/>
                    <a:pt x="194" y="620"/>
                  </a:cubicBezTo>
                  <a:cubicBezTo>
                    <a:pt x="194" y="601"/>
                    <a:pt x="194" y="582"/>
                    <a:pt x="194" y="563"/>
                  </a:cubicBezTo>
                  <a:cubicBezTo>
                    <a:pt x="171" y="563"/>
                    <a:pt x="148" y="563"/>
                    <a:pt x="125" y="563"/>
                  </a:cubicBezTo>
                  <a:cubicBezTo>
                    <a:pt x="125" y="561"/>
                    <a:pt x="125" y="560"/>
                    <a:pt x="125" y="558"/>
                  </a:cubicBezTo>
                  <a:cubicBezTo>
                    <a:pt x="147" y="556"/>
                    <a:pt x="170" y="558"/>
                    <a:pt x="194" y="557"/>
                  </a:cubicBezTo>
                  <a:close/>
                  <a:moveTo>
                    <a:pt x="123" y="669"/>
                  </a:moveTo>
                  <a:cubicBezTo>
                    <a:pt x="123" y="712"/>
                    <a:pt x="123" y="753"/>
                    <a:pt x="123" y="795"/>
                  </a:cubicBezTo>
                  <a:cubicBezTo>
                    <a:pt x="147" y="795"/>
                    <a:pt x="170" y="795"/>
                    <a:pt x="194" y="795"/>
                  </a:cubicBezTo>
                  <a:cubicBezTo>
                    <a:pt x="194" y="776"/>
                    <a:pt x="194" y="757"/>
                    <a:pt x="194" y="738"/>
                  </a:cubicBezTo>
                  <a:cubicBezTo>
                    <a:pt x="190" y="738"/>
                    <a:pt x="187" y="738"/>
                    <a:pt x="183" y="738"/>
                  </a:cubicBezTo>
                  <a:cubicBezTo>
                    <a:pt x="166" y="738"/>
                    <a:pt x="149" y="738"/>
                    <a:pt x="131" y="738"/>
                  </a:cubicBezTo>
                  <a:cubicBezTo>
                    <a:pt x="129" y="738"/>
                    <a:pt x="127" y="735"/>
                    <a:pt x="125" y="734"/>
                  </a:cubicBezTo>
                  <a:cubicBezTo>
                    <a:pt x="127" y="733"/>
                    <a:pt x="129" y="732"/>
                    <a:pt x="132" y="731"/>
                  </a:cubicBezTo>
                  <a:cubicBezTo>
                    <a:pt x="135" y="731"/>
                    <a:pt x="139" y="731"/>
                    <a:pt x="143" y="731"/>
                  </a:cubicBezTo>
                  <a:cubicBezTo>
                    <a:pt x="160" y="731"/>
                    <a:pt x="177" y="731"/>
                    <a:pt x="194" y="731"/>
                  </a:cubicBezTo>
                  <a:cubicBezTo>
                    <a:pt x="194" y="710"/>
                    <a:pt x="194" y="690"/>
                    <a:pt x="194" y="669"/>
                  </a:cubicBezTo>
                  <a:cubicBezTo>
                    <a:pt x="170" y="669"/>
                    <a:pt x="147" y="669"/>
                    <a:pt x="123" y="669"/>
                  </a:cubicBezTo>
                  <a:close/>
                  <a:moveTo>
                    <a:pt x="1311" y="671"/>
                  </a:moveTo>
                  <a:cubicBezTo>
                    <a:pt x="1285" y="671"/>
                    <a:pt x="1260" y="671"/>
                    <a:pt x="1234" y="671"/>
                  </a:cubicBezTo>
                  <a:cubicBezTo>
                    <a:pt x="1234" y="692"/>
                    <a:pt x="1234" y="712"/>
                    <a:pt x="1234" y="732"/>
                  </a:cubicBezTo>
                  <a:cubicBezTo>
                    <a:pt x="1260" y="732"/>
                    <a:pt x="1286" y="732"/>
                    <a:pt x="1311" y="732"/>
                  </a:cubicBezTo>
                  <a:cubicBezTo>
                    <a:pt x="1311" y="712"/>
                    <a:pt x="1311" y="692"/>
                    <a:pt x="1311" y="671"/>
                  </a:cubicBezTo>
                  <a:close/>
                  <a:moveTo>
                    <a:pt x="884" y="558"/>
                  </a:moveTo>
                  <a:cubicBezTo>
                    <a:pt x="884" y="538"/>
                    <a:pt x="884" y="517"/>
                    <a:pt x="884" y="497"/>
                  </a:cubicBezTo>
                  <a:cubicBezTo>
                    <a:pt x="858" y="497"/>
                    <a:pt x="832" y="497"/>
                    <a:pt x="806" y="497"/>
                  </a:cubicBezTo>
                  <a:cubicBezTo>
                    <a:pt x="806" y="517"/>
                    <a:pt x="806" y="537"/>
                    <a:pt x="806" y="558"/>
                  </a:cubicBezTo>
                  <a:cubicBezTo>
                    <a:pt x="832" y="558"/>
                    <a:pt x="858" y="558"/>
                    <a:pt x="884" y="558"/>
                  </a:cubicBezTo>
                  <a:close/>
                  <a:moveTo>
                    <a:pt x="384" y="323"/>
                  </a:moveTo>
                  <a:cubicBezTo>
                    <a:pt x="384" y="344"/>
                    <a:pt x="384" y="364"/>
                    <a:pt x="384" y="384"/>
                  </a:cubicBezTo>
                  <a:cubicBezTo>
                    <a:pt x="409" y="384"/>
                    <a:pt x="435" y="384"/>
                    <a:pt x="461" y="384"/>
                  </a:cubicBezTo>
                  <a:cubicBezTo>
                    <a:pt x="461" y="364"/>
                    <a:pt x="461" y="343"/>
                    <a:pt x="461" y="323"/>
                  </a:cubicBezTo>
                  <a:cubicBezTo>
                    <a:pt x="435" y="323"/>
                    <a:pt x="410" y="323"/>
                    <a:pt x="384" y="323"/>
                  </a:cubicBezTo>
                  <a:close/>
                  <a:moveTo>
                    <a:pt x="884" y="732"/>
                  </a:moveTo>
                  <a:cubicBezTo>
                    <a:pt x="884" y="711"/>
                    <a:pt x="884" y="691"/>
                    <a:pt x="884" y="671"/>
                  </a:cubicBezTo>
                  <a:cubicBezTo>
                    <a:pt x="858" y="671"/>
                    <a:pt x="832" y="671"/>
                    <a:pt x="806" y="671"/>
                  </a:cubicBezTo>
                  <a:cubicBezTo>
                    <a:pt x="806" y="692"/>
                    <a:pt x="806" y="712"/>
                    <a:pt x="806" y="732"/>
                  </a:cubicBezTo>
                  <a:cubicBezTo>
                    <a:pt x="832" y="732"/>
                    <a:pt x="858" y="732"/>
                    <a:pt x="884" y="732"/>
                  </a:cubicBezTo>
                  <a:close/>
                  <a:moveTo>
                    <a:pt x="1234" y="387"/>
                  </a:moveTo>
                  <a:cubicBezTo>
                    <a:pt x="1260" y="387"/>
                    <a:pt x="1286" y="387"/>
                    <a:pt x="1311" y="387"/>
                  </a:cubicBezTo>
                  <a:cubicBezTo>
                    <a:pt x="1311" y="366"/>
                    <a:pt x="1311" y="345"/>
                    <a:pt x="1311" y="325"/>
                  </a:cubicBezTo>
                  <a:cubicBezTo>
                    <a:pt x="1285" y="325"/>
                    <a:pt x="1259" y="325"/>
                    <a:pt x="1234" y="325"/>
                  </a:cubicBezTo>
                  <a:cubicBezTo>
                    <a:pt x="1234" y="346"/>
                    <a:pt x="1234" y="366"/>
                    <a:pt x="1234" y="387"/>
                  </a:cubicBezTo>
                  <a:close/>
                  <a:moveTo>
                    <a:pt x="1312" y="497"/>
                  </a:moveTo>
                  <a:cubicBezTo>
                    <a:pt x="1285" y="497"/>
                    <a:pt x="1259" y="497"/>
                    <a:pt x="1234" y="497"/>
                  </a:cubicBezTo>
                  <a:cubicBezTo>
                    <a:pt x="1234" y="518"/>
                    <a:pt x="1234" y="538"/>
                    <a:pt x="1234" y="558"/>
                  </a:cubicBezTo>
                  <a:cubicBezTo>
                    <a:pt x="1260" y="558"/>
                    <a:pt x="1286" y="558"/>
                    <a:pt x="1312" y="558"/>
                  </a:cubicBezTo>
                  <a:cubicBezTo>
                    <a:pt x="1312" y="537"/>
                    <a:pt x="1312" y="517"/>
                    <a:pt x="1312" y="497"/>
                  </a:cubicBezTo>
                  <a:close/>
                  <a:moveTo>
                    <a:pt x="383" y="731"/>
                  </a:moveTo>
                  <a:cubicBezTo>
                    <a:pt x="410" y="731"/>
                    <a:pt x="435" y="731"/>
                    <a:pt x="461" y="731"/>
                  </a:cubicBezTo>
                  <a:cubicBezTo>
                    <a:pt x="461" y="711"/>
                    <a:pt x="462" y="693"/>
                    <a:pt x="461" y="674"/>
                  </a:cubicBezTo>
                  <a:cubicBezTo>
                    <a:pt x="461" y="672"/>
                    <a:pt x="458" y="669"/>
                    <a:pt x="456" y="669"/>
                  </a:cubicBezTo>
                  <a:cubicBezTo>
                    <a:pt x="432" y="668"/>
                    <a:pt x="408" y="669"/>
                    <a:pt x="383" y="669"/>
                  </a:cubicBezTo>
                  <a:cubicBezTo>
                    <a:pt x="383" y="690"/>
                    <a:pt x="383" y="710"/>
                    <a:pt x="383" y="731"/>
                  </a:cubicBezTo>
                  <a:close/>
                  <a:moveTo>
                    <a:pt x="1057" y="497"/>
                  </a:moveTo>
                  <a:cubicBezTo>
                    <a:pt x="1057" y="518"/>
                    <a:pt x="1057" y="538"/>
                    <a:pt x="1057" y="558"/>
                  </a:cubicBezTo>
                  <a:cubicBezTo>
                    <a:pt x="1082" y="558"/>
                    <a:pt x="1107" y="558"/>
                    <a:pt x="1133" y="558"/>
                  </a:cubicBezTo>
                  <a:cubicBezTo>
                    <a:pt x="1133" y="537"/>
                    <a:pt x="1133" y="517"/>
                    <a:pt x="1133" y="497"/>
                  </a:cubicBezTo>
                  <a:cubicBezTo>
                    <a:pt x="1107" y="497"/>
                    <a:pt x="1082" y="497"/>
                    <a:pt x="1057" y="497"/>
                  </a:cubicBezTo>
                  <a:close/>
                  <a:moveTo>
                    <a:pt x="630" y="497"/>
                  </a:moveTo>
                  <a:cubicBezTo>
                    <a:pt x="630" y="517"/>
                    <a:pt x="630" y="538"/>
                    <a:pt x="630" y="558"/>
                  </a:cubicBezTo>
                  <a:cubicBezTo>
                    <a:pt x="655" y="558"/>
                    <a:pt x="680" y="558"/>
                    <a:pt x="705" y="558"/>
                  </a:cubicBezTo>
                  <a:cubicBezTo>
                    <a:pt x="705" y="537"/>
                    <a:pt x="705" y="517"/>
                    <a:pt x="705" y="497"/>
                  </a:cubicBezTo>
                  <a:cubicBezTo>
                    <a:pt x="680" y="497"/>
                    <a:pt x="655" y="497"/>
                    <a:pt x="630" y="497"/>
                  </a:cubicBezTo>
                  <a:close/>
                  <a:moveTo>
                    <a:pt x="205" y="669"/>
                  </a:moveTo>
                  <a:cubicBezTo>
                    <a:pt x="205" y="690"/>
                    <a:pt x="205" y="710"/>
                    <a:pt x="205" y="731"/>
                  </a:cubicBezTo>
                  <a:cubicBezTo>
                    <a:pt x="231" y="731"/>
                    <a:pt x="256" y="731"/>
                    <a:pt x="282" y="731"/>
                  </a:cubicBezTo>
                  <a:cubicBezTo>
                    <a:pt x="282" y="710"/>
                    <a:pt x="282" y="690"/>
                    <a:pt x="282" y="669"/>
                  </a:cubicBezTo>
                  <a:cubicBezTo>
                    <a:pt x="255" y="669"/>
                    <a:pt x="231" y="669"/>
                    <a:pt x="205" y="669"/>
                  </a:cubicBezTo>
                  <a:close/>
                  <a:moveTo>
                    <a:pt x="704" y="913"/>
                  </a:moveTo>
                  <a:cubicBezTo>
                    <a:pt x="704" y="891"/>
                    <a:pt x="704" y="871"/>
                    <a:pt x="704" y="851"/>
                  </a:cubicBezTo>
                  <a:cubicBezTo>
                    <a:pt x="679" y="851"/>
                    <a:pt x="654" y="851"/>
                    <a:pt x="629" y="851"/>
                  </a:cubicBezTo>
                  <a:cubicBezTo>
                    <a:pt x="629" y="872"/>
                    <a:pt x="629" y="892"/>
                    <a:pt x="629" y="913"/>
                  </a:cubicBezTo>
                  <a:cubicBezTo>
                    <a:pt x="654" y="913"/>
                    <a:pt x="679" y="913"/>
                    <a:pt x="704" y="913"/>
                  </a:cubicBezTo>
                  <a:close/>
                  <a:moveTo>
                    <a:pt x="1132" y="325"/>
                  </a:moveTo>
                  <a:cubicBezTo>
                    <a:pt x="1107" y="325"/>
                    <a:pt x="1082" y="325"/>
                    <a:pt x="1057" y="325"/>
                  </a:cubicBezTo>
                  <a:cubicBezTo>
                    <a:pt x="1057" y="346"/>
                    <a:pt x="1057" y="366"/>
                    <a:pt x="1057" y="386"/>
                  </a:cubicBezTo>
                  <a:cubicBezTo>
                    <a:pt x="1083" y="386"/>
                    <a:pt x="1107" y="386"/>
                    <a:pt x="1132" y="386"/>
                  </a:cubicBezTo>
                  <a:cubicBezTo>
                    <a:pt x="1132" y="366"/>
                    <a:pt x="1132" y="345"/>
                    <a:pt x="1132" y="325"/>
                  </a:cubicBezTo>
                  <a:close/>
                  <a:moveTo>
                    <a:pt x="1057" y="733"/>
                  </a:moveTo>
                  <a:cubicBezTo>
                    <a:pt x="1083" y="733"/>
                    <a:pt x="1107" y="733"/>
                    <a:pt x="1133" y="733"/>
                  </a:cubicBezTo>
                  <a:cubicBezTo>
                    <a:pt x="1133" y="713"/>
                    <a:pt x="1134" y="694"/>
                    <a:pt x="1133" y="675"/>
                  </a:cubicBezTo>
                  <a:cubicBezTo>
                    <a:pt x="1133" y="673"/>
                    <a:pt x="1128" y="670"/>
                    <a:pt x="1125" y="670"/>
                  </a:cubicBezTo>
                  <a:cubicBezTo>
                    <a:pt x="1109" y="669"/>
                    <a:pt x="1092" y="670"/>
                    <a:pt x="1075" y="670"/>
                  </a:cubicBezTo>
                  <a:cubicBezTo>
                    <a:pt x="1069" y="670"/>
                    <a:pt x="1063" y="670"/>
                    <a:pt x="1057" y="670"/>
                  </a:cubicBezTo>
                  <a:cubicBezTo>
                    <a:pt x="1057" y="692"/>
                    <a:pt x="1057" y="712"/>
                    <a:pt x="1057" y="733"/>
                  </a:cubicBezTo>
                  <a:close/>
                  <a:moveTo>
                    <a:pt x="282" y="323"/>
                  </a:moveTo>
                  <a:cubicBezTo>
                    <a:pt x="255" y="323"/>
                    <a:pt x="230" y="323"/>
                    <a:pt x="205" y="323"/>
                  </a:cubicBezTo>
                  <a:cubicBezTo>
                    <a:pt x="205" y="344"/>
                    <a:pt x="205" y="364"/>
                    <a:pt x="205" y="384"/>
                  </a:cubicBezTo>
                  <a:cubicBezTo>
                    <a:pt x="231" y="384"/>
                    <a:pt x="256" y="384"/>
                    <a:pt x="282" y="384"/>
                  </a:cubicBezTo>
                  <a:cubicBezTo>
                    <a:pt x="282" y="364"/>
                    <a:pt x="282" y="344"/>
                    <a:pt x="282" y="323"/>
                  </a:cubicBezTo>
                  <a:close/>
                  <a:moveTo>
                    <a:pt x="205" y="557"/>
                  </a:moveTo>
                  <a:cubicBezTo>
                    <a:pt x="231" y="557"/>
                    <a:pt x="256" y="557"/>
                    <a:pt x="281" y="557"/>
                  </a:cubicBezTo>
                  <a:cubicBezTo>
                    <a:pt x="281" y="536"/>
                    <a:pt x="281" y="516"/>
                    <a:pt x="281" y="495"/>
                  </a:cubicBezTo>
                  <a:cubicBezTo>
                    <a:pt x="255" y="495"/>
                    <a:pt x="230" y="495"/>
                    <a:pt x="205" y="495"/>
                  </a:cubicBezTo>
                  <a:cubicBezTo>
                    <a:pt x="205" y="516"/>
                    <a:pt x="205" y="536"/>
                    <a:pt x="205" y="557"/>
                  </a:cubicBezTo>
                  <a:close/>
                  <a:moveTo>
                    <a:pt x="705" y="671"/>
                  </a:moveTo>
                  <a:cubicBezTo>
                    <a:pt x="679" y="671"/>
                    <a:pt x="655" y="671"/>
                    <a:pt x="630" y="671"/>
                  </a:cubicBezTo>
                  <a:cubicBezTo>
                    <a:pt x="630" y="692"/>
                    <a:pt x="630" y="712"/>
                    <a:pt x="630" y="732"/>
                  </a:cubicBezTo>
                  <a:cubicBezTo>
                    <a:pt x="655" y="732"/>
                    <a:pt x="680" y="732"/>
                    <a:pt x="705" y="732"/>
                  </a:cubicBezTo>
                  <a:cubicBezTo>
                    <a:pt x="705" y="712"/>
                    <a:pt x="705" y="692"/>
                    <a:pt x="705" y="671"/>
                  </a:cubicBezTo>
                  <a:close/>
                  <a:moveTo>
                    <a:pt x="386" y="848"/>
                  </a:moveTo>
                  <a:cubicBezTo>
                    <a:pt x="386" y="868"/>
                    <a:pt x="386" y="887"/>
                    <a:pt x="386" y="906"/>
                  </a:cubicBezTo>
                  <a:cubicBezTo>
                    <a:pt x="386" y="908"/>
                    <a:pt x="389" y="911"/>
                    <a:pt x="391" y="911"/>
                  </a:cubicBezTo>
                  <a:cubicBezTo>
                    <a:pt x="414" y="911"/>
                    <a:pt x="438" y="911"/>
                    <a:pt x="461" y="911"/>
                  </a:cubicBezTo>
                  <a:cubicBezTo>
                    <a:pt x="461" y="889"/>
                    <a:pt x="461" y="869"/>
                    <a:pt x="461" y="848"/>
                  </a:cubicBezTo>
                  <a:cubicBezTo>
                    <a:pt x="436" y="848"/>
                    <a:pt x="412" y="848"/>
                    <a:pt x="386" y="848"/>
                  </a:cubicBezTo>
                  <a:close/>
                  <a:moveTo>
                    <a:pt x="1057" y="913"/>
                  </a:moveTo>
                  <a:cubicBezTo>
                    <a:pt x="1082" y="913"/>
                    <a:pt x="1107" y="913"/>
                    <a:pt x="1132" y="913"/>
                  </a:cubicBezTo>
                  <a:cubicBezTo>
                    <a:pt x="1132" y="892"/>
                    <a:pt x="1132" y="871"/>
                    <a:pt x="1132" y="851"/>
                  </a:cubicBezTo>
                  <a:cubicBezTo>
                    <a:pt x="1107" y="851"/>
                    <a:pt x="1082" y="851"/>
                    <a:pt x="1057" y="851"/>
                  </a:cubicBezTo>
                  <a:cubicBezTo>
                    <a:pt x="1057" y="872"/>
                    <a:pt x="1057" y="892"/>
                    <a:pt x="1057" y="913"/>
                  </a:cubicBezTo>
                  <a:close/>
                  <a:moveTo>
                    <a:pt x="1237" y="850"/>
                  </a:moveTo>
                  <a:cubicBezTo>
                    <a:pt x="1237" y="871"/>
                    <a:pt x="1237" y="891"/>
                    <a:pt x="1237" y="912"/>
                  </a:cubicBezTo>
                  <a:cubicBezTo>
                    <a:pt x="1262" y="912"/>
                    <a:pt x="1287" y="912"/>
                    <a:pt x="1312" y="912"/>
                  </a:cubicBezTo>
                  <a:cubicBezTo>
                    <a:pt x="1312" y="891"/>
                    <a:pt x="1312" y="871"/>
                    <a:pt x="1312" y="850"/>
                  </a:cubicBezTo>
                  <a:cubicBezTo>
                    <a:pt x="1287" y="850"/>
                    <a:pt x="1263" y="850"/>
                    <a:pt x="1237" y="850"/>
                  </a:cubicBezTo>
                  <a:close/>
                  <a:moveTo>
                    <a:pt x="1311" y="797"/>
                  </a:moveTo>
                  <a:cubicBezTo>
                    <a:pt x="1311" y="777"/>
                    <a:pt x="1311" y="758"/>
                    <a:pt x="1311" y="740"/>
                  </a:cubicBezTo>
                  <a:cubicBezTo>
                    <a:pt x="1285" y="740"/>
                    <a:pt x="1259" y="740"/>
                    <a:pt x="1234" y="740"/>
                  </a:cubicBezTo>
                  <a:cubicBezTo>
                    <a:pt x="1234" y="759"/>
                    <a:pt x="1234" y="778"/>
                    <a:pt x="1234" y="797"/>
                  </a:cubicBezTo>
                  <a:cubicBezTo>
                    <a:pt x="1260" y="797"/>
                    <a:pt x="1285" y="797"/>
                    <a:pt x="1311" y="797"/>
                  </a:cubicBezTo>
                  <a:close/>
                  <a:moveTo>
                    <a:pt x="884" y="740"/>
                  </a:moveTo>
                  <a:cubicBezTo>
                    <a:pt x="857" y="740"/>
                    <a:pt x="832" y="740"/>
                    <a:pt x="806" y="740"/>
                  </a:cubicBezTo>
                  <a:cubicBezTo>
                    <a:pt x="806" y="759"/>
                    <a:pt x="806" y="778"/>
                    <a:pt x="806" y="797"/>
                  </a:cubicBezTo>
                  <a:cubicBezTo>
                    <a:pt x="832" y="797"/>
                    <a:pt x="858" y="797"/>
                    <a:pt x="884" y="797"/>
                  </a:cubicBezTo>
                  <a:cubicBezTo>
                    <a:pt x="884" y="778"/>
                    <a:pt x="884" y="759"/>
                    <a:pt x="884" y="740"/>
                  </a:cubicBezTo>
                  <a:close/>
                  <a:moveTo>
                    <a:pt x="384" y="738"/>
                  </a:moveTo>
                  <a:cubicBezTo>
                    <a:pt x="384" y="758"/>
                    <a:pt x="384" y="776"/>
                    <a:pt x="384" y="795"/>
                  </a:cubicBezTo>
                  <a:cubicBezTo>
                    <a:pt x="410" y="795"/>
                    <a:pt x="435" y="795"/>
                    <a:pt x="461" y="795"/>
                  </a:cubicBezTo>
                  <a:cubicBezTo>
                    <a:pt x="461" y="775"/>
                    <a:pt x="461" y="757"/>
                    <a:pt x="461" y="738"/>
                  </a:cubicBezTo>
                  <a:cubicBezTo>
                    <a:pt x="435" y="738"/>
                    <a:pt x="410" y="738"/>
                    <a:pt x="384" y="738"/>
                  </a:cubicBezTo>
                  <a:close/>
                  <a:moveTo>
                    <a:pt x="1151" y="497"/>
                  </a:moveTo>
                  <a:cubicBezTo>
                    <a:pt x="1151" y="516"/>
                    <a:pt x="1150" y="535"/>
                    <a:pt x="1151" y="554"/>
                  </a:cubicBezTo>
                  <a:cubicBezTo>
                    <a:pt x="1151" y="556"/>
                    <a:pt x="1156" y="559"/>
                    <a:pt x="1159" y="559"/>
                  </a:cubicBezTo>
                  <a:cubicBezTo>
                    <a:pt x="1166" y="560"/>
                    <a:pt x="1174" y="559"/>
                    <a:pt x="1181" y="559"/>
                  </a:cubicBezTo>
                  <a:cubicBezTo>
                    <a:pt x="1195" y="559"/>
                    <a:pt x="1209" y="559"/>
                    <a:pt x="1223" y="559"/>
                  </a:cubicBezTo>
                  <a:cubicBezTo>
                    <a:pt x="1223" y="537"/>
                    <a:pt x="1223" y="517"/>
                    <a:pt x="1223" y="497"/>
                  </a:cubicBezTo>
                  <a:cubicBezTo>
                    <a:pt x="1199" y="497"/>
                    <a:pt x="1176" y="497"/>
                    <a:pt x="1151" y="497"/>
                  </a:cubicBezTo>
                  <a:close/>
                  <a:moveTo>
                    <a:pt x="1152" y="671"/>
                  </a:moveTo>
                  <a:cubicBezTo>
                    <a:pt x="1152" y="692"/>
                    <a:pt x="1152" y="712"/>
                    <a:pt x="1152" y="732"/>
                  </a:cubicBezTo>
                  <a:cubicBezTo>
                    <a:pt x="1176" y="732"/>
                    <a:pt x="1200" y="732"/>
                    <a:pt x="1223" y="732"/>
                  </a:cubicBezTo>
                  <a:cubicBezTo>
                    <a:pt x="1223" y="711"/>
                    <a:pt x="1223" y="691"/>
                    <a:pt x="1223" y="671"/>
                  </a:cubicBezTo>
                  <a:cubicBezTo>
                    <a:pt x="1199" y="671"/>
                    <a:pt x="1176" y="671"/>
                    <a:pt x="1152" y="671"/>
                  </a:cubicBezTo>
                  <a:close/>
                  <a:moveTo>
                    <a:pt x="301" y="384"/>
                  </a:moveTo>
                  <a:cubicBezTo>
                    <a:pt x="326" y="384"/>
                    <a:pt x="349" y="384"/>
                    <a:pt x="373" y="384"/>
                  </a:cubicBezTo>
                  <a:cubicBezTo>
                    <a:pt x="373" y="364"/>
                    <a:pt x="373" y="344"/>
                    <a:pt x="373" y="323"/>
                  </a:cubicBezTo>
                  <a:cubicBezTo>
                    <a:pt x="349" y="323"/>
                    <a:pt x="325" y="323"/>
                    <a:pt x="301" y="323"/>
                  </a:cubicBezTo>
                  <a:cubicBezTo>
                    <a:pt x="301" y="344"/>
                    <a:pt x="301" y="364"/>
                    <a:pt x="301" y="384"/>
                  </a:cubicBezTo>
                  <a:close/>
                  <a:moveTo>
                    <a:pt x="1223" y="387"/>
                  </a:moveTo>
                  <a:cubicBezTo>
                    <a:pt x="1223" y="365"/>
                    <a:pt x="1223" y="345"/>
                    <a:pt x="1223" y="325"/>
                  </a:cubicBezTo>
                  <a:cubicBezTo>
                    <a:pt x="1199" y="325"/>
                    <a:pt x="1176" y="325"/>
                    <a:pt x="1152" y="325"/>
                  </a:cubicBezTo>
                  <a:cubicBezTo>
                    <a:pt x="1152" y="346"/>
                    <a:pt x="1152" y="366"/>
                    <a:pt x="1152" y="387"/>
                  </a:cubicBezTo>
                  <a:cubicBezTo>
                    <a:pt x="1176" y="387"/>
                    <a:pt x="1199" y="387"/>
                    <a:pt x="1223" y="387"/>
                  </a:cubicBezTo>
                  <a:close/>
                  <a:moveTo>
                    <a:pt x="281" y="911"/>
                  </a:moveTo>
                  <a:cubicBezTo>
                    <a:pt x="281" y="890"/>
                    <a:pt x="281" y="869"/>
                    <a:pt x="281" y="849"/>
                  </a:cubicBezTo>
                  <a:cubicBezTo>
                    <a:pt x="256" y="849"/>
                    <a:pt x="233" y="849"/>
                    <a:pt x="209" y="849"/>
                  </a:cubicBezTo>
                  <a:cubicBezTo>
                    <a:pt x="209" y="870"/>
                    <a:pt x="209" y="890"/>
                    <a:pt x="209" y="911"/>
                  </a:cubicBezTo>
                  <a:cubicBezTo>
                    <a:pt x="233" y="911"/>
                    <a:pt x="257" y="911"/>
                    <a:pt x="281" y="911"/>
                  </a:cubicBezTo>
                  <a:close/>
                  <a:moveTo>
                    <a:pt x="373" y="731"/>
                  </a:moveTo>
                  <a:cubicBezTo>
                    <a:pt x="373" y="711"/>
                    <a:pt x="373" y="692"/>
                    <a:pt x="373" y="674"/>
                  </a:cubicBezTo>
                  <a:cubicBezTo>
                    <a:pt x="373" y="672"/>
                    <a:pt x="370" y="668"/>
                    <a:pt x="368" y="668"/>
                  </a:cubicBezTo>
                  <a:cubicBezTo>
                    <a:pt x="346" y="668"/>
                    <a:pt x="324" y="668"/>
                    <a:pt x="301" y="668"/>
                  </a:cubicBezTo>
                  <a:cubicBezTo>
                    <a:pt x="301" y="690"/>
                    <a:pt x="301" y="711"/>
                    <a:pt x="301" y="731"/>
                  </a:cubicBezTo>
                  <a:cubicBezTo>
                    <a:pt x="325" y="731"/>
                    <a:pt x="349" y="731"/>
                    <a:pt x="373" y="731"/>
                  </a:cubicBezTo>
                  <a:close/>
                  <a:moveTo>
                    <a:pt x="725" y="671"/>
                  </a:moveTo>
                  <a:cubicBezTo>
                    <a:pt x="725" y="692"/>
                    <a:pt x="725" y="712"/>
                    <a:pt x="725" y="732"/>
                  </a:cubicBezTo>
                  <a:cubicBezTo>
                    <a:pt x="749" y="732"/>
                    <a:pt x="772" y="732"/>
                    <a:pt x="796" y="732"/>
                  </a:cubicBezTo>
                  <a:cubicBezTo>
                    <a:pt x="796" y="712"/>
                    <a:pt x="796" y="691"/>
                    <a:pt x="796" y="671"/>
                  </a:cubicBezTo>
                  <a:cubicBezTo>
                    <a:pt x="772" y="671"/>
                    <a:pt x="749" y="671"/>
                    <a:pt x="725" y="671"/>
                  </a:cubicBezTo>
                  <a:close/>
                  <a:moveTo>
                    <a:pt x="724" y="558"/>
                  </a:moveTo>
                  <a:cubicBezTo>
                    <a:pt x="749" y="558"/>
                    <a:pt x="772" y="558"/>
                    <a:pt x="796" y="558"/>
                  </a:cubicBezTo>
                  <a:cubicBezTo>
                    <a:pt x="796" y="537"/>
                    <a:pt x="796" y="517"/>
                    <a:pt x="796" y="497"/>
                  </a:cubicBezTo>
                  <a:cubicBezTo>
                    <a:pt x="772" y="497"/>
                    <a:pt x="748" y="497"/>
                    <a:pt x="724" y="497"/>
                  </a:cubicBezTo>
                  <a:cubicBezTo>
                    <a:pt x="724" y="517"/>
                    <a:pt x="724" y="537"/>
                    <a:pt x="724" y="558"/>
                  </a:cubicBezTo>
                  <a:close/>
                  <a:moveTo>
                    <a:pt x="373" y="495"/>
                  </a:moveTo>
                  <a:cubicBezTo>
                    <a:pt x="349" y="495"/>
                    <a:pt x="325" y="495"/>
                    <a:pt x="302" y="495"/>
                  </a:cubicBezTo>
                  <a:cubicBezTo>
                    <a:pt x="302" y="516"/>
                    <a:pt x="302" y="536"/>
                    <a:pt x="302" y="557"/>
                  </a:cubicBezTo>
                  <a:cubicBezTo>
                    <a:pt x="326" y="557"/>
                    <a:pt x="349" y="557"/>
                    <a:pt x="373" y="557"/>
                  </a:cubicBezTo>
                  <a:cubicBezTo>
                    <a:pt x="373" y="536"/>
                    <a:pt x="373" y="516"/>
                    <a:pt x="373" y="495"/>
                  </a:cubicBezTo>
                  <a:close/>
                  <a:moveTo>
                    <a:pt x="1234" y="451"/>
                  </a:moveTo>
                  <a:cubicBezTo>
                    <a:pt x="1260" y="451"/>
                    <a:pt x="1285" y="451"/>
                    <a:pt x="1312" y="451"/>
                  </a:cubicBezTo>
                  <a:cubicBezTo>
                    <a:pt x="1312" y="431"/>
                    <a:pt x="1312" y="412"/>
                    <a:pt x="1312" y="394"/>
                  </a:cubicBezTo>
                  <a:cubicBezTo>
                    <a:pt x="1285" y="394"/>
                    <a:pt x="1260" y="394"/>
                    <a:pt x="1234" y="394"/>
                  </a:cubicBezTo>
                  <a:cubicBezTo>
                    <a:pt x="1234" y="413"/>
                    <a:pt x="1234" y="431"/>
                    <a:pt x="1234" y="451"/>
                  </a:cubicBezTo>
                  <a:close/>
                  <a:moveTo>
                    <a:pt x="281" y="449"/>
                  </a:moveTo>
                  <a:cubicBezTo>
                    <a:pt x="281" y="429"/>
                    <a:pt x="281" y="411"/>
                    <a:pt x="281" y="392"/>
                  </a:cubicBezTo>
                  <a:cubicBezTo>
                    <a:pt x="255" y="392"/>
                    <a:pt x="230" y="392"/>
                    <a:pt x="205" y="392"/>
                  </a:cubicBezTo>
                  <a:cubicBezTo>
                    <a:pt x="205" y="411"/>
                    <a:pt x="205" y="430"/>
                    <a:pt x="205" y="449"/>
                  </a:cubicBezTo>
                  <a:cubicBezTo>
                    <a:pt x="231" y="449"/>
                    <a:pt x="256" y="449"/>
                    <a:pt x="281" y="449"/>
                  </a:cubicBezTo>
                  <a:close/>
                  <a:moveTo>
                    <a:pt x="630" y="740"/>
                  </a:moveTo>
                  <a:cubicBezTo>
                    <a:pt x="630" y="759"/>
                    <a:pt x="630" y="778"/>
                    <a:pt x="630" y="796"/>
                  </a:cubicBezTo>
                  <a:cubicBezTo>
                    <a:pt x="655" y="796"/>
                    <a:pt x="680" y="796"/>
                    <a:pt x="705" y="796"/>
                  </a:cubicBezTo>
                  <a:cubicBezTo>
                    <a:pt x="705" y="777"/>
                    <a:pt x="705" y="759"/>
                    <a:pt x="705" y="740"/>
                  </a:cubicBezTo>
                  <a:cubicBezTo>
                    <a:pt x="680" y="740"/>
                    <a:pt x="655" y="740"/>
                    <a:pt x="630" y="740"/>
                  </a:cubicBezTo>
                  <a:close/>
                  <a:moveTo>
                    <a:pt x="1057" y="797"/>
                  </a:moveTo>
                  <a:cubicBezTo>
                    <a:pt x="1081" y="797"/>
                    <a:pt x="1104" y="797"/>
                    <a:pt x="1127" y="797"/>
                  </a:cubicBezTo>
                  <a:cubicBezTo>
                    <a:pt x="1129" y="797"/>
                    <a:pt x="1133" y="794"/>
                    <a:pt x="1133" y="792"/>
                  </a:cubicBezTo>
                  <a:cubicBezTo>
                    <a:pt x="1133" y="775"/>
                    <a:pt x="1133" y="758"/>
                    <a:pt x="1133" y="740"/>
                  </a:cubicBezTo>
                  <a:cubicBezTo>
                    <a:pt x="1107" y="740"/>
                    <a:pt x="1082" y="740"/>
                    <a:pt x="1057" y="740"/>
                  </a:cubicBezTo>
                  <a:cubicBezTo>
                    <a:pt x="1057" y="759"/>
                    <a:pt x="1057" y="777"/>
                    <a:pt x="1057" y="797"/>
                  </a:cubicBezTo>
                  <a:close/>
                  <a:moveTo>
                    <a:pt x="461" y="392"/>
                  </a:moveTo>
                  <a:cubicBezTo>
                    <a:pt x="434" y="392"/>
                    <a:pt x="409" y="392"/>
                    <a:pt x="384" y="392"/>
                  </a:cubicBezTo>
                  <a:cubicBezTo>
                    <a:pt x="384" y="411"/>
                    <a:pt x="384" y="429"/>
                    <a:pt x="384" y="448"/>
                  </a:cubicBezTo>
                  <a:cubicBezTo>
                    <a:pt x="410" y="448"/>
                    <a:pt x="435" y="448"/>
                    <a:pt x="461" y="448"/>
                  </a:cubicBezTo>
                  <a:cubicBezTo>
                    <a:pt x="461" y="429"/>
                    <a:pt x="461" y="411"/>
                    <a:pt x="461" y="392"/>
                  </a:cubicBezTo>
                  <a:close/>
                  <a:moveTo>
                    <a:pt x="1234" y="622"/>
                  </a:moveTo>
                  <a:cubicBezTo>
                    <a:pt x="1260" y="622"/>
                    <a:pt x="1286" y="622"/>
                    <a:pt x="1311" y="622"/>
                  </a:cubicBezTo>
                  <a:cubicBezTo>
                    <a:pt x="1311" y="603"/>
                    <a:pt x="1311" y="585"/>
                    <a:pt x="1311" y="566"/>
                  </a:cubicBezTo>
                  <a:cubicBezTo>
                    <a:pt x="1285" y="566"/>
                    <a:pt x="1260" y="566"/>
                    <a:pt x="1234" y="566"/>
                  </a:cubicBezTo>
                  <a:cubicBezTo>
                    <a:pt x="1234" y="585"/>
                    <a:pt x="1234" y="603"/>
                    <a:pt x="1234" y="622"/>
                  </a:cubicBezTo>
                  <a:close/>
                  <a:moveTo>
                    <a:pt x="883" y="622"/>
                  </a:moveTo>
                  <a:cubicBezTo>
                    <a:pt x="883" y="603"/>
                    <a:pt x="883" y="584"/>
                    <a:pt x="883" y="566"/>
                  </a:cubicBezTo>
                  <a:cubicBezTo>
                    <a:pt x="857" y="566"/>
                    <a:pt x="832" y="566"/>
                    <a:pt x="806" y="566"/>
                  </a:cubicBezTo>
                  <a:cubicBezTo>
                    <a:pt x="806" y="585"/>
                    <a:pt x="806" y="603"/>
                    <a:pt x="806" y="622"/>
                  </a:cubicBezTo>
                  <a:cubicBezTo>
                    <a:pt x="832" y="622"/>
                    <a:pt x="858" y="622"/>
                    <a:pt x="883" y="622"/>
                  </a:cubicBezTo>
                  <a:close/>
                  <a:moveTo>
                    <a:pt x="205" y="795"/>
                  </a:moveTo>
                  <a:cubicBezTo>
                    <a:pt x="231" y="795"/>
                    <a:pt x="256" y="795"/>
                    <a:pt x="282" y="795"/>
                  </a:cubicBezTo>
                  <a:cubicBezTo>
                    <a:pt x="282" y="776"/>
                    <a:pt x="282" y="757"/>
                    <a:pt x="282" y="738"/>
                  </a:cubicBezTo>
                  <a:cubicBezTo>
                    <a:pt x="256" y="738"/>
                    <a:pt x="230" y="738"/>
                    <a:pt x="205" y="738"/>
                  </a:cubicBezTo>
                  <a:cubicBezTo>
                    <a:pt x="205" y="757"/>
                    <a:pt x="205" y="776"/>
                    <a:pt x="205" y="795"/>
                  </a:cubicBezTo>
                  <a:close/>
                  <a:moveTo>
                    <a:pt x="1057" y="450"/>
                  </a:moveTo>
                  <a:cubicBezTo>
                    <a:pt x="1083" y="450"/>
                    <a:pt x="1107" y="450"/>
                    <a:pt x="1132" y="450"/>
                  </a:cubicBezTo>
                  <a:cubicBezTo>
                    <a:pt x="1132" y="431"/>
                    <a:pt x="1132" y="412"/>
                    <a:pt x="1132" y="394"/>
                  </a:cubicBezTo>
                  <a:cubicBezTo>
                    <a:pt x="1107" y="394"/>
                    <a:pt x="1082" y="394"/>
                    <a:pt x="1057" y="394"/>
                  </a:cubicBezTo>
                  <a:cubicBezTo>
                    <a:pt x="1057" y="413"/>
                    <a:pt x="1057" y="431"/>
                    <a:pt x="1057" y="450"/>
                  </a:cubicBezTo>
                  <a:close/>
                  <a:moveTo>
                    <a:pt x="705" y="976"/>
                  </a:moveTo>
                  <a:cubicBezTo>
                    <a:pt x="705" y="956"/>
                    <a:pt x="705" y="938"/>
                    <a:pt x="705" y="919"/>
                  </a:cubicBezTo>
                  <a:cubicBezTo>
                    <a:pt x="679" y="919"/>
                    <a:pt x="654" y="919"/>
                    <a:pt x="629" y="919"/>
                  </a:cubicBezTo>
                  <a:cubicBezTo>
                    <a:pt x="629" y="939"/>
                    <a:pt x="629" y="957"/>
                    <a:pt x="629" y="976"/>
                  </a:cubicBezTo>
                  <a:cubicBezTo>
                    <a:pt x="654" y="976"/>
                    <a:pt x="679" y="976"/>
                    <a:pt x="705" y="976"/>
                  </a:cubicBezTo>
                  <a:close/>
                  <a:moveTo>
                    <a:pt x="705" y="623"/>
                  </a:moveTo>
                  <a:cubicBezTo>
                    <a:pt x="705" y="603"/>
                    <a:pt x="705" y="585"/>
                    <a:pt x="705" y="566"/>
                  </a:cubicBezTo>
                  <a:cubicBezTo>
                    <a:pt x="679" y="566"/>
                    <a:pt x="655" y="566"/>
                    <a:pt x="630" y="566"/>
                  </a:cubicBezTo>
                  <a:cubicBezTo>
                    <a:pt x="630" y="585"/>
                    <a:pt x="630" y="604"/>
                    <a:pt x="630" y="623"/>
                  </a:cubicBezTo>
                  <a:cubicBezTo>
                    <a:pt x="655" y="623"/>
                    <a:pt x="679" y="623"/>
                    <a:pt x="705" y="623"/>
                  </a:cubicBezTo>
                  <a:close/>
                  <a:moveTo>
                    <a:pt x="281" y="564"/>
                  </a:moveTo>
                  <a:cubicBezTo>
                    <a:pt x="255" y="564"/>
                    <a:pt x="230" y="564"/>
                    <a:pt x="205" y="564"/>
                  </a:cubicBezTo>
                  <a:cubicBezTo>
                    <a:pt x="205" y="583"/>
                    <a:pt x="205" y="602"/>
                    <a:pt x="205" y="621"/>
                  </a:cubicBezTo>
                  <a:cubicBezTo>
                    <a:pt x="231" y="621"/>
                    <a:pt x="256" y="621"/>
                    <a:pt x="281" y="621"/>
                  </a:cubicBezTo>
                  <a:cubicBezTo>
                    <a:pt x="281" y="602"/>
                    <a:pt x="281" y="583"/>
                    <a:pt x="281" y="564"/>
                  </a:cubicBezTo>
                  <a:close/>
                  <a:moveTo>
                    <a:pt x="1132" y="566"/>
                  </a:moveTo>
                  <a:cubicBezTo>
                    <a:pt x="1107" y="566"/>
                    <a:pt x="1082" y="566"/>
                    <a:pt x="1057" y="566"/>
                  </a:cubicBezTo>
                  <a:cubicBezTo>
                    <a:pt x="1057" y="586"/>
                    <a:pt x="1057" y="604"/>
                    <a:pt x="1057" y="622"/>
                  </a:cubicBezTo>
                  <a:cubicBezTo>
                    <a:pt x="1083" y="622"/>
                    <a:pt x="1107" y="622"/>
                    <a:pt x="1132" y="622"/>
                  </a:cubicBezTo>
                  <a:cubicBezTo>
                    <a:pt x="1132" y="603"/>
                    <a:pt x="1132" y="585"/>
                    <a:pt x="1132" y="566"/>
                  </a:cubicBezTo>
                  <a:close/>
                  <a:moveTo>
                    <a:pt x="462" y="918"/>
                  </a:moveTo>
                  <a:cubicBezTo>
                    <a:pt x="436" y="918"/>
                    <a:pt x="411" y="918"/>
                    <a:pt x="387" y="918"/>
                  </a:cubicBezTo>
                  <a:cubicBezTo>
                    <a:pt x="387" y="937"/>
                    <a:pt x="387" y="955"/>
                    <a:pt x="387" y="974"/>
                  </a:cubicBezTo>
                  <a:cubicBezTo>
                    <a:pt x="412" y="974"/>
                    <a:pt x="437" y="974"/>
                    <a:pt x="462" y="974"/>
                  </a:cubicBezTo>
                  <a:cubicBezTo>
                    <a:pt x="462" y="955"/>
                    <a:pt x="462" y="937"/>
                    <a:pt x="462" y="918"/>
                  </a:cubicBezTo>
                  <a:close/>
                  <a:moveTo>
                    <a:pt x="796" y="740"/>
                  </a:moveTo>
                  <a:cubicBezTo>
                    <a:pt x="772" y="740"/>
                    <a:pt x="748" y="740"/>
                    <a:pt x="725" y="740"/>
                  </a:cubicBezTo>
                  <a:cubicBezTo>
                    <a:pt x="725" y="759"/>
                    <a:pt x="725" y="778"/>
                    <a:pt x="725" y="797"/>
                  </a:cubicBezTo>
                  <a:cubicBezTo>
                    <a:pt x="749" y="797"/>
                    <a:pt x="772" y="797"/>
                    <a:pt x="796" y="797"/>
                  </a:cubicBezTo>
                  <a:cubicBezTo>
                    <a:pt x="796" y="777"/>
                    <a:pt x="796" y="759"/>
                    <a:pt x="796" y="740"/>
                  </a:cubicBezTo>
                  <a:close/>
                  <a:moveTo>
                    <a:pt x="1152" y="740"/>
                  </a:moveTo>
                  <a:cubicBezTo>
                    <a:pt x="1152" y="759"/>
                    <a:pt x="1152" y="778"/>
                    <a:pt x="1152" y="796"/>
                  </a:cubicBezTo>
                  <a:cubicBezTo>
                    <a:pt x="1176" y="796"/>
                    <a:pt x="1199" y="796"/>
                    <a:pt x="1223" y="796"/>
                  </a:cubicBezTo>
                  <a:cubicBezTo>
                    <a:pt x="1223" y="777"/>
                    <a:pt x="1223" y="759"/>
                    <a:pt x="1223" y="740"/>
                  </a:cubicBezTo>
                  <a:cubicBezTo>
                    <a:pt x="1199" y="740"/>
                    <a:pt x="1176" y="740"/>
                    <a:pt x="1152" y="740"/>
                  </a:cubicBezTo>
                  <a:close/>
                  <a:moveTo>
                    <a:pt x="209" y="918"/>
                  </a:moveTo>
                  <a:cubicBezTo>
                    <a:pt x="209" y="937"/>
                    <a:pt x="209" y="956"/>
                    <a:pt x="209" y="975"/>
                  </a:cubicBezTo>
                  <a:cubicBezTo>
                    <a:pt x="233" y="975"/>
                    <a:pt x="257" y="975"/>
                    <a:pt x="281" y="975"/>
                  </a:cubicBezTo>
                  <a:cubicBezTo>
                    <a:pt x="281" y="955"/>
                    <a:pt x="281" y="937"/>
                    <a:pt x="281" y="918"/>
                  </a:cubicBezTo>
                  <a:cubicBezTo>
                    <a:pt x="257" y="918"/>
                    <a:pt x="233" y="918"/>
                    <a:pt x="209" y="918"/>
                  </a:cubicBezTo>
                  <a:close/>
                  <a:moveTo>
                    <a:pt x="1057" y="976"/>
                  </a:moveTo>
                  <a:cubicBezTo>
                    <a:pt x="1082" y="976"/>
                    <a:pt x="1107" y="976"/>
                    <a:pt x="1131" y="976"/>
                  </a:cubicBezTo>
                  <a:cubicBezTo>
                    <a:pt x="1131" y="957"/>
                    <a:pt x="1131" y="938"/>
                    <a:pt x="1131" y="920"/>
                  </a:cubicBezTo>
                  <a:cubicBezTo>
                    <a:pt x="1106" y="920"/>
                    <a:pt x="1082" y="920"/>
                    <a:pt x="1057" y="920"/>
                  </a:cubicBezTo>
                  <a:cubicBezTo>
                    <a:pt x="1057" y="939"/>
                    <a:pt x="1057" y="957"/>
                    <a:pt x="1057" y="976"/>
                  </a:cubicBezTo>
                  <a:close/>
                  <a:moveTo>
                    <a:pt x="1312" y="976"/>
                  </a:moveTo>
                  <a:cubicBezTo>
                    <a:pt x="1312" y="956"/>
                    <a:pt x="1312" y="938"/>
                    <a:pt x="1312" y="919"/>
                  </a:cubicBezTo>
                  <a:cubicBezTo>
                    <a:pt x="1287" y="919"/>
                    <a:pt x="1262" y="919"/>
                    <a:pt x="1238" y="919"/>
                  </a:cubicBezTo>
                  <a:cubicBezTo>
                    <a:pt x="1238" y="939"/>
                    <a:pt x="1238" y="957"/>
                    <a:pt x="1238" y="976"/>
                  </a:cubicBezTo>
                  <a:cubicBezTo>
                    <a:pt x="1263" y="976"/>
                    <a:pt x="1287" y="976"/>
                    <a:pt x="1312" y="976"/>
                  </a:cubicBezTo>
                  <a:close/>
                  <a:moveTo>
                    <a:pt x="302" y="738"/>
                  </a:moveTo>
                  <a:cubicBezTo>
                    <a:pt x="302" y="758"/>
                    <a:pt x="302" y="776"/>
                    <a:pt x="302" y="795"/>
                  </a:cubicBezTo>
                  <a:cubicBezTo>
                    <a:pt x="326" y="795"/>
                    <a:pt x="349" y="795"/>
                    <a:pt x="373" y="795"/>
                  </a:cubicBezTo>
                  <a:cubicBezTo>
                    <a:pt x="373" y="776"/>
                    <a:pt x="373" y="757"/>
                    <a:pt x="373" y="738"/>
                  </a:cubicBezTo>
                  <a:cubicBezTo>
                    <a:pt x="349" y="738"/>
                    <a:pt x="325" y="738"/>
                    <a:pt x="302" y="738"/>
                  </a:cubicBezTo>
                  <a:close/>
                  <a:moveTo>
                    <a:pt x="1223" y="450"/>
                  </a:moveTo>
                  <a:cubicBezTo>
                    <a:pt x="1223" y="431"/>
                    <a:pt x="1223" y="412"/>
                    <a:pt x="1223" y="394"/>
                  </a:cubicBezTo>
                  <a:cubicBezTo>
                    <a:pt x="1199" y="394"/>
                    <a:pt x="1175" y="394"/>
                    <a:pt x="1151" y="394"/>
                  </a:cubicBezTo>
                  <a:cubicBezTo>
                    <a:pt x="1151" y="413"/>
                    <a:pt x="1151" y="431"/>
                    <a:pt x="1151" y="450"/>
                  </a:cubicBezTo>
                  <a:cubicBezTo>
                    <a:pt x="1175" y="450"/>
                    <a:pt x="1199" y="450"/>
                    <a:pt x="1223" y="450"/>
                  </a:cubicBezTo>
                  <a:close/>
                  <a:moveTo>
                    <a:pt x="302" y="392"/>
                  </a:moveTo>
                  <a:cubicBezTo>
                    <a:pt x="302" y="411"/>
                    <a:pt x="302" y="430"/>
                    <a:pt x="302" y="448"/>
                  </a:cubicBezTo>
                  <a:cubicBezTo>
                    <a:pt x="326" y="448"/>
                    <a:pt x="349" y="448"/>
                    <a:pt x="372" y="448"/>
                  </a:cubicBezTo>
                  <a:cubicBezTo>
                    <a:pt x="372" y="429"/>
                    <a:pt x="372" y="410"/>
                    <a:pt x="372" y="392"/>
                  </a:cubicBezTo>
                  <a:cubicBezTo>
                    <a:pt x="348" y="392"/>
                    <a:pt x="325" y="392"/>
                    <a:pt x="302" y="392"/>
                  </a:cubicBezTo>
                  <a:close/>
                  <a:moveTo>
                    <a:pt x="796" y="566"/>
                  </a:moveTo>
                  <a:cubicBezTo>
                    <a:pt x="772" y="566"/>
                    <a:pt x="748" y="566"/>
                    <a:pt x="725" y="566"/>
                  </a:cubicBezTo>
                  <a:cubicBezTo>
                    <a:pt x="725" y="586"/>
                    <a:pt x="725" y="604"/>
                    <a:pt x="725" y="622"/>
                  </a:cubicBezTo>
                  <a:cubicBezTo>
                    <a:pt x="749" y="622"/>
                    <a:pt x="772" y="622"/>
                    <a:pt x="796" y="622"/>
                  </a:cubicBezTo>
                  <a:cubicBezTo>
                    <a:pt x="796" y="603"/>
                    <a:pt x="796" y="585"/>
                    <a:pt x="796" y="566"/>
                  </a:cubicBezTo>
                  <a:close/>
                  <a:moveTo>
                    <a:pt x="1152" y="566"/>
                  </a:moveTo>
                  <a:cubicBezTo>
                    <a:pt x="1152" y="585"/>
                    <a:pt x="1152" y="604"/>
                    <a:pt x="1152" y="622"/>
                  </a:cubicBezTo>
                  <a:cubicBezTo>
                    <a:pt x="1176" y="622"/>
                    <a:pt x="1199" y="622"/>
                    <a:pt x="1223" y="622"/>
                  </a:cubicBezTo>
                  <a:cubicBezTo>
                    <a:pt x="1223" y="603"/>
                    <a:pt x="1223" y="585"/>
                    <a:pt x="1223" y="566"/>
                  </a:cubicBezTo>
                  <a:cubicBezTo>
                    <a:pt x="1199" y="566"/>
                    <a:pt x="1176" y="566"/>
                    <a:pt x="1152" y="566"/>
                  </a:cubicBezTo>
                  <a:close/>
                  <a:moveTo>
                    <a:pt x="301" y="620"/>
                  </a:moveTo>
                  <a:cubicBezTo>
                    <a:pt x="326" y="620"/>
                    <a:pt x="349" y="620"/>
                    <a:pt x="373" y="620"/>
                  </a:cubicBezTo>
                  <a:cubicBezTo>
                    <a:pt x="373" y="601"/>
                    <a:pt x="373" y="583"/>
                    <a:pt x="373" y="564"/>
                  </a:cubicBezTo>
                  <a:cubicBezTo>
                    <a:pt x="348" y="564"/>
                    <a:pt x="325" y="564"/>
                    <a:pt x="301" y="564"/>
                  </a:cubicBezTo>
                  <a:cubicBezTo>
                    <a:pt x="301" y="583"/>
                    <a:pt x="301" y="601"/>
                    <a:pt x="301" y="620"/>
                  </a:cubicBezTo>
                  <a:close/>
                  <a:moveTo>
                    <a:pt x="556" y="39"/>
                  </a:moveTo>
                  <a:cubicBezTo>
                    <a:pt x="556" y="56"/>
                    <a:pt x="565" y="68"/>
                    <a:pt x="580" y="68"/>
                  </a:cubicBezTo>
                  <a:cubicBezTo>
                    <a:pt x="594" y="68"/>
                    <a:pt x="605" y="56"/>
                    <a:pt x="605" y="40"/>
                  </a:cubicBezTo>
                  <a:cubicBezTo>
                    <a:pt x="605" y="23"/>
                    <a:pt x="594" y="10"/>
                    <a:pt x="580" y="10"/>
                  </a:cubicBezTo>
                  <a:cubicBezTo>
                    <a:pt x="566" y="10"/>
                    <a:pt x="556" y="22"/>
                    <a:pt x="556" y="39"/>
                  </a:cubicBezTo>
                  <a:close/>
                  <a:moveTo>
                    <a:pt x="526" y="41"/>
                  </a:moveTo>
                  <a:cubicBezTo>
                    <a:pt x="514" y="41"/>
                    <a:pt x="503" y="41"/>
                    <a:pt x="492" y="41"/>
                  </a:cubicBezTo>
                  <a:cubicBezTo>
                    <a:pt x="492" y="52"/>
                    <a:pt x="492" y="61"/>
                    <a:pt x="492" y="71"/>
                  </a:cubicBezTo>
                  <a:cubicBezTo>
                    <a:pt x="504" y="71"/>
                    <a:pt x="515" y="71"/>
                    <a:pt x="526" y="71"/>
                  </a:cubicBezTo>
                  <a:cubicBezTo>
                    <a:pt x="526" y="61"/>
                    <a:pt x="526" y="52"/>
                    <a:pt x="526" y="41"/>
                  </a:cubicBezTo>
                  <a:close/>
                  <a:moveTo>
                    <a:pt x="857" y="71"/>
                  </a:moveTo>
                  <a:cubicBezTo>
                    <a:pt x="854" y="53"/>
                    <a:pt x="852" y="51"/>
                    <a:pt x="838" y="51"/>
                  </a:cubicBezTo>
                  <a:cubicBezTo>
                    <a:pt x="821" y="51"/>
                    <a:pt x="819" y="53"/>
                    <a:pt x="817" y="71"/>
                  </a:cubicBezTo>
                  <a:cubicBezTo>
                    <a:pt x="830" y="71"/>
                    <a:pt x="843" y="71"/>
                    <a:pt x="857" y="71"/>
                  </a:cubicBezTo>
                  <a:close/>
                  <a:moveTo>
                    <a:pt x="686" y="12"/>
                  </a:moveTo>
                  <a:cubicBezTo>
                    <a:pt x="686" y="19"/>
                    <a:pt x="685" y="26"/>
                    <a:pt x="686" y="33"/>
                  </a:cubicBezTo>
                  <a:cubicBezTo>
                    <a:pt x="686" y="35"/>
                    <a:pt x="690" y="38"/>
                    <a:pt x="692" y="39"/>
                  </a:cubicBezTo>
                  <a:cubicBezTo>
                    <a:pt x="703" y="41"/>
                    <a:pt x="713" y="35"/>
                    <a:pt x="713" y="26"/>
                  </a:cubicBezTo>
                  <a:cubicBezTo>
                    <a:pt x="714" y="16"/>
                    <a:pt x="707" y="11"/>
                    <a:pt x="694" y="11"/>
                  </a:cubicBezTo>
                  <a:cubicBezTo>
                    <a:pt x="692" y="11"/>
                    <a:pt x="689" y="12"/>
                    <a:pt x="686" y="12"/>
                  </a:cubicBezTo>
                  <a:close/>
                  <a:moveTo>
                    <a:pt x="847" y="43"/>
                  </a:moveTo>
                  <a:cubicBezTo>
                    <a:pt x="844" y="34"/>
                    <a:pt x="841" y="25"/>
                    <a:pt x="838" y="17"/>
                  </a:cubicBezTo>
                  <a:cubicBezTo>
                    <a:pt x="837" y="17"/>
                    <a:pt x="836" y="17"/>
                    <a:pt x="835" y="17"/>
                  </a:cubicBezTo>
                  <a:cubicBezTo>
                    <a:pt x="832" y="25"/>
                    <a:pt x="829" y="34"/>
                    <a:pt x="826" y="43"/>
                  </a:cubicBezTo>
                  <a:cubicBezTo>
                    <a:pt x="834" y="43"/>
                    <a:pt x="840" y="43"/>
                    <a:pt x="847" y="4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86">
              <a:extLst>
                <a:ext uri="{FF2B5EF4-FFF2-40B4-BE49-F238E27FC236}">
                  <a16:creationId xmlns:a16="http://schemas.microsoft.com/office/drawing/2014/main" id="{36D6CE04-FA30-A218-78A7-C6E80D844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975" y="4711700"/>
              <a:ext cx="365125" cy="382587"/>
            </a:xfrm>
            <a:custGeom>
              <a:avLst/>
              <a:gdLst>
                <a:gd name="T0" fmla="*/ 161 w 253"/>
                <a:gd name="T1" fmla="*/ 169 h 265"/>
                <a:gd name="T2" fmla="*/ 161 w 253"/>
                <a:gd name="T3" fmla="*/ 265 h 265"/>
                <a:gd name="T4" fmla="*/ 93 w 253"/>
                <a:gd name="T5" fmla="*/ 265 h 265"/>
                <a:gd name="T6" fmla="*/ 93 w 253"/>
                <a:gd name="T7" fmla="*/ 169 h 265"/>
                <a:gd name="T8" fmla="*/ 22 w 253"/>
                <a:gd name="T9" fmla="*/ 169 h 265"/>
                <a:gd name="T10" fmla="*/ 0 w 253"/>
                <a:gd name="T11" fmla="*/ 147 h 265"/>
                <a:gd name="T12" fmla="*/ 0 w 253"/>
                <a:gd name="T13" fmla="*/ 97 h 265"/>
                <a:gd name="T14" fmla="*/ 93 w 253"/>
                <a:gd name="T15" fmla="*/ 97 h 265"/>
                <a:gd name="T16" fmla="*/ 93 w 253"/>
                <a:gd name="T17" fmla="*/ 0 h 265"/>
                <a:gd name="T18" fmla="*/ 160 w 253"/>
                <a:gd name="T19" fmla="*/ 0 h 265"/>
                <a:gd name="T20" fmla="*/ 161 w 253"/>
                <a:gd name="T21" fmla="*/ 10 h 265"/>
                <a:gd name="T22" fmla="*/ 161 w 253"/>
                <a:gd name="T23" fmla="*/ 85 h 265"/>
                <a:gd name="T24" fmla="*/ 173 w 253"/>
                <a:gd name="T25" fmla="*/ 97 h 265"/>
                <a:gd name="T26" fmla="*/ 242 w 253"/>
                <a:gd name="T27" fmla="*/ 97 h 265"/>
                <a:gd name="T28" fmla="*/ 253 w 253"/>
                <a:gd name="T29" fmla="*/ 97 h 265"/>
                <a:gd name="T30" fmla="*/ 253 w 253"/>
                <a:gd name="T31" fmla="*/ 169 h 265"/>
                <a:gd name="T32" fmla="*/ 161 w 253"/>
                <a:gd name="T33" fmla="*/ 169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3" h="265">
                  <a:moveTo>
                    <a:pt x="161" y="169"/>
                  </a:moveTo>
                  <a:cubicBezTo>
                    <a:pt x="161" y="202"/>
                    <a:pt x="161" y="233"/>
                    <a:pt x="161" y="265"/>
                  </a:cubicBezTo>
                  <a:cubicBezTo>
                    <a:pt x="138" y="265"/>
                    <a:pt x="116" y="265"/>
                    <a:pt x="93" y="265"/>
                  </a:cubicBezTo>
                  <a:cubicBezTo>
                    <a:pt x="93" y="234"/>
                    <a:pt x="93" y="202"/>
                    <a:pt x="93" y="169"/>
                  </a:cubicBezTo>
                  <a:cubicBezTo>
                    <a:pt x="69" y="169"/>
                    <a:pt x="45" y="169"/>
                    <a:pt x="22" y="169"/>
                  </a:cubicBezTo>
                  <a:cubicBezTo>
                    <a:pt x="0" y="169"/>
                    <a:pt x="0" y="169"/>
                    <a:pt x="0" y="147"/>
                  </a:cubicBezTo>
                  <a:cubicBezTo>
                    <a:pt x="0" y="130"/>
                    <a:pt x="0" y="114"/>
                    <a:pt x="0" y="97"/>
                  </a:cubicBezTo>
                  <a:cubicBezTo>
                    <a:pt x="31" y="97"/>
                    <a:pt x="62" y="97"/>
                    <a:pt x="93" y="97"/>
                  </a:cubicBezTo>
                  <a:cubicBezTo>
                    <a:pt x="93" y="64"/>
                    <a:pt x="93" y="32"/>
                    <a:pt x="93" y="0"/>
                  </a:cubicBezTo>
                  <a:cubicBezTo>
                    <a:pt x="116" y="0"/>
                    <a:pt x="138" y="0"/>
                    <a:pt x="160" y="0"/>
                  </a:cubicBezTo>
                  <a:cubicBezTo>
                    <a:pt x="161" y="3"/>
                    <a:pt x="161" y="6"/>
                    <a:pt x="161" y="10"/>
                  </a:cubicBezTo>
                  <a:cubicBezTo>
                    <a:pt x="161" y="35"/>
                    <a:pt x="162" y="60"/>
                    <a:pt x="161" y="85"/>
                  </a:cubicBezTo>
                  <a:cubicBezTo>
                    <a:pt x="161" y="95"/>
                    <a:pt x="164" y="97"/>
                    <a:pt x="173" y="97"/>
                  </a:cubicBezTo>
                  <a:cubicBezTo>
                    <a:pt x="196" y="96"/>
                    <a:pt x="219" y="97"/>
                    <a:pt x="242" y="97"/>
                  </a:cubicBezTo>
                  <a:cubicBezTo>
                    <a:pt x="246" y="97"/>
                    <a:pt x="249" y="97"/>
                    <a:pt x="253" y="97"/>
                  </a:cubicBezTo>
                  <a:cubicBezTo>
                    <a:pt x="253" y="121"/>
                    <a:pt x="253" y="144"/>
                    <a:pt x="253" y="169"/>
                  </a:cubicBezTo>
                  <a:cubicBezTo>
                    <a:pt x="222" y="169"/>
                    <a:pt x="193" y="169"/>
                    <a:pt x="161" y="1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26" name="Freeform 23">
            <a:extLst>
              <a:ext uri="{FF2B5EF4-FFF2-40B4-BE49-F238E27FC236}">
                <a16:creationId xmlns:a16="http://schemas.microsoft.com/office/drawing/2014/main" id="{36269FDC-C442-1FE9-8947-0FA044BFF7C6}"/>
              </a:ext>
            </a:extLst>
          </p:cNvPr>
          <p:cNvSpPr>
            <a:spLocks noChangeAspect="1" noEditPoints="1"/>
          </p:cNvSpPr>
          <p:nvPr>
            <p:custDataLst>
              <p:tags r:id="rId37"/>
            </p:custDataLst>
          </p:nvPr>
        </p:nvSpPr>
        <p:spPr bwMode="auto">
          <a:xfrm>
            <a:off x="6560949" y="2573133"/>
            <a:ext cx="2146068" cy="2146068"/>
          </a:xfrm>
          <a:custGeom>
            <a:avLst/>
            <a:gdLst>
              <a:gd name="T0" fmla="*/ 1074 w 2083"/>
              <a:gd name="T1" fmla="*/ 374 h 2083"/>
              <a:gd name="T2" fmla="*/ 911 w 2083"/>
              <a:gd name="T3" fmla="*/ 244 h 2083"/>
              <a:gd name="T4" fmla="*/ 716 w 2083"/>
              <a:gd name="T5" fmla="*/ 244 h 2083"/>
              <a:gd name="T6" fmla="*/ 1546 w 2083"/>
              <a:gd name="T7" fmla="*/ 374 h 2083"/>
              <a:gd name="T8" fmla="*/ 1237 w 2083"/>
              <a:gd name="T9" fmla="*/ 374 h 2083"/>
              <a:gd name="T10" fmla="*/ 391 w 2083"/>
              <a:gd name="T11" fmla="*/ 391 h 2083"/>
              <a:gd name="T12" fmla="*/ 1399 w 2083"/>
              <a:gd name="T13" fmla="*/ 456 h 2083"/>
              <a:gd name="T14" fmla="*/ 1058 w 2083"/>
              <a:gd name="T15" fmla="*/ 456 h 2083"/>
              <a:gd name="T16" fmla="*/ 895 w 2083"/>
              <a:gd name="T17" fmla="*/ 586 h 2083"/>
              <a:gd name="T18" fmla="*/ 732 w 2083"/>
              <a:gd name="T19" fmla="*/ 586 h 2083"/>
              <a:gd name="T20" fmla="*/ 1237 w 2083"/>
              <a:gd name="T21" fmla="*/ 586 h 2083"/>
              <a:gd name="T22" fmla="*/ 553 w 2083"/>
              <a:gd name="T23" fmla="*/ 456 h 2083"/>
              <a:gd name="T24" fmla="*/ 1692 w 2083"/>
              <a:gd name="T25" fmla="*/ 439 h 2083"/>
              <a:gd name="T26" fmla="*/ 1383 w 2083"/>
              <a:gd name="T27" fmla="*/ 797 h 2083"/>
              <a:gd name="T28" fmla="*/ 1074 w 2083"/>
              <a:gd name="T29" fmla="*/ 797 h 2083"/>
              <a:gd name="T30" fmla="*/ 732 w 2083"/>
              <a:gd name="T31" fmla="*/ 797 h 2083"/>
              <a:gd name="T32" fmla="*/ 1562 w 2083"/>
              <a:gd name="T33" fmla="*/ 667 h 2083"/>
              <a:gd name="T34" fmla="*/ 1220 w 2083"/>
              <a:gd name="T35" fmla="*/ 667 h 2083"/>
              <a:gd name="T36" fmla="*/ 537 w 2083"/>
              <a:gd name="T37" fmla="*/ 797 h 2083"/>
              <a:gd name="T38" fmla="*/ 391 w 2083"/>
              <a:gd name="T39" fmla="*/ 814 h 2083"/>
              <a:gd name="T40" fmla="*/ 1074 w 2083"/>
              <a:gd name="T41" fmla="*/ 1009 h 2083"/>
              <a:gd name="T42" fmla="*/ 911 w 2083"/>
              <a:gd name="T43" fmla="*/ 879 h 2083"/>
              <a:gd name="T44" fmla="*/ 716 w 2083"/>
              <a:gd name="T45" fmla="*/ 879 h 2083"/>
              <a:gd name="T46" fmla="*/ 1546 w 2083"/>
              <a:gd name="T47" fmla="*/ 1009 h 2083"/>
              <a:gd name="T48" fmla="*/ 1237 w 2083"/>
              <a:gd name="T49" fmla="*/ 1009 h 2083"/>
              <a:gd name="T50" fmla="*/ 391 w 2083"/>
              <a:gd name="T51" fmla="*/ 1025 h 2083"/>
              <a:gd name="T52" fmla="*/ 1237 w 2083"/>
              <a:gd name="T53" fmla="*/ 1090 h 2083"/>
              <a:gd name="T54" fmla="*/ 1058 w 2083"/>
              <a:gd name="T55" fmla="*/ 1090 h 2083"/>
              <a:gd name="T56" fmla="*/ 895 w 2083"/>
              <a:gd name="T57" fmla="*/ 1155 h 2083"/>
              <a:gd name="T58" fmla="*/ 1399 w 2083"/>
              <a:gd name="T59" fmla="*/ 1221 h 2083"/>
              <a:gd name="T60" fmla="*/ 1562 w 2083"/>
              <a:gd name="T61" fmla="*/ 1221 h 2083"/>
              <a:gd name="T62" fmla="*/ 553 w 2083"/>
              <a:gd name="T63" fmla="*/ 1090 h 2083"/>
              <a:gd name="T64" fmla="*/ 391 w 2083"/>
              <a:gd name="T65" fmla="*/ 1237 h 2083"/>
              <a:gd name="T66" fmla="*/ 1709 w 2083"/>
              <a:gd name="T67" fmla="*/ 1269 h 2083"/>
              <a:gd name="T68" fmla="*/ 830 w 2083"/>
              <a:gd name="T69" fmla="*/ 1269 h 2083"/>
              <a:gd name="T70" fmla="*/ 1985 w 2083"/>
              <a:gd name="T71" fmla="*/ 1400 h 2083"/>
              <a:gd name="T72" fmla="*/ 98 w 2083"/>
              <a:gd name="T73" fmla="*/ 1400 h 2083"/>
              <a:gd name="T74" fmla="*/ 830 w 2083"/>
              <a:gd name="T75" fmla="*/ 1432 h 2083"/>
              <a:gd name="T76" fmla="*/ 993 w 2083"/>
              <a:gd name="T77" fmla="*/ 1237 h 2083"/>
              <a:gd name="T78" fmla="*/ 1090 w 2083"/>
              <a:gd name="T79" fmla="*/ 1497 h 2083"/>
              <a:gd name="T80" fmla="*/ 1204 w 2083"/>
              <a:gd name="T81" fmla="*/ 1530 h 2083"/>
              <a:gd name="T82" fmla="*/ 1692 w 2083"/>
              <a:gd name="T83" fmla="*/ 1953 h 2083"/>
              <a:gd name="T84" fmla="*/ 716 w 2083"/>
              <a:gd name="T85" fmla="*/ 1920 h 2083"/>
              <a:gd name="T86" fmla="*/ 195 w 2083"/>
              <a:gd name="T87" fmla="*/ 1920 h 2083"/>
              <a:gd name="T88" fmla="*/ 862 w 2083"/>
              <a:gd name="T89" fmla="*/ 1953 h 2083"/>
              <a:gd name="T90" fmla="*/ 1920 w 2083"/>
              <a:gd name="T91" fmla="*/ 2018 h 2083"/>
              <a:gd name="T92" fmla="*/ 716 w 2083"/>
              <a:gd name="T93" fmla="*/ 2018 h 2083"/>
              <a:gd name="T94" fmla="*/ 244 w 2083"/>
              <a:gd name="T95" fmla="*/ 1985 h 2083"/>
              <a:gd name="T96" fmla="*/ 1725 w 2083"/>
              <a:gd name="T97" fmla="*/ 1497 h 2083"/>
              <a:gd name="T98" fmla="*/ 1253 w 2083"/>
              <a:gd name="T99" fmla="*/ 1579 h 2083"/>
              <a:gd name="T100" fmla="*/ 862 w 2083"/>
              <a:gd name="T101" fmla="*/ 1985 h 2083"/>
              <a:gd name="T102" fmla="*/ 749 w 2083"/>
              <a:gd name="T103" fmla="*/ 2018 h 2083"/>
              <a:gd name="T104" fmla="*/ 358 w 2083"/>
              <a:gd name="T105" fmla="*/ 2018 h 2083"/>
              <a:gd name="T106" fmla="*/ 309 w 2083"/>
              <a:gd name="T107" fmla="*/ 217 h 2083"/>
              <a:gd name="T108" fmla="*/ 2083 w 2083"/>
              <a:gd name="T109" fmla="*/ 1497 h 2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083" h="2083">
                <a:moveTo>
                  <a:pt x="1399" y="374"/>
                </a:moveTo>
                <a:lnTo>
                  <a:pt x="1399" y="244"/>
                </a:lnTo>
                <a:lnTo>
                  <a:pt x="1383" y="244"/>
                </a:lnTo>
                <a:lnTo>
                  <a:pt x="1383" y="374"/>
                </a:lnTo>
                <a:lnTo>
                  <a:pt x="1399" y="374"/>
                </a:lnTo>
                <a:close/>
                <a:moveTo>
                  <a:pt x="1074" y="374"/>
                </a:moveTo>
                <a:lnTo>
                  <a:pt x="1074" y="244"/>
                </a:lnTo>
                <a:lnTo>
                  <a:pt x="1058" y="244"/>
                </a:lnTo>
                <a:lnTo>
                  <a:pt x="1058" y="374"/>
                </a:lnTo>
                <a:lnTo>
                  <a:pt x="1074" y="374"/>
                </a:lnTo>
                <a:close/>
                <a:moveTo>
                  <a:pt x="911" y="374"/>
                </a:moveTo>
                <a:lnTo>
                  <a:pt x="911" y="244"/>
                </a:lnTo>
                <a:lnTo>
                  <a:pt x="895" y="244"/>
                </a:lnTo>
                <a:lnTo>
                  <a:pt x="895" y="374"/>
                </a:lnTo>
                <a:lnTo>
                  <a:pt x="911" y="374"/>
                </a:lnTo>
                <a:close/>
                <a:moveTo>
                  <a:pt x="732" y="374"/>
                </a:moveTo>
                <a:lnTo>
                  <a:pt x="732" y="244"/>
                </a:lnTo>
                <a:lnTo>
                  <a:pt x="716" y="244"/>
                </a:lnTo>
                <a:lnTo>
                  <a:pt x="716" y="374"/>
                </a:lnTo>
                <a:lnTo>
                  <a:pt x="732" y="374"/>
                </a:lnTo>
                <a:close/>
                <a:moveTo>
                  <a:pt x="1562" y="374"/>
                </a:moveTo>
                <a:lnTo>
                  <a:pt x="1562" y="244"/>
                </a:lnTo>
                <a:lnTo>
                  <a:pt x="1546" y="244"/>
                </a:lnTo>
                <a:lnTo>
                  <a:pt x="1546" y="374"/>
                </a:lnTo>
                <a:lnTo>
                  <a:pt x="1562" y="374"/>
                </a:lnTo>
                <a:close/>
                <a:moveTo>
                  <a:pt x="1237" y="374"/>
                </a:moveTo>
                <a:lnTo>
                  <a:pt x="1237" y="244"/>
                </a:lnTo>
                <a:lnTo>
                  <a:pt x="1220" y="244"/>
                </a:lnTo>
                <a:lnTo>
                  <a:pt x="1220" y="374"/>
                </a:lnTo>
                <a:lnTo>
                  <a:pt x="1237" y="374"/>
                </a:lnTo>
                <a:close/>
                <a:moveTo>
                  <a:pt x="553" y="374"/>
                </a:moveTo>
                <a:lnTo>
                  <a:pt x="553" y="244"/>
                </a:lnTo>
                <a:lnTo>
                  <a:pt x="537" y="244"/>
                </a:lnTo>
                <a:lnTo>
                  <a:pt x="537" y="374"/>
                </a:lnTo>
                <a:lnTo>
                  <a:pt x="553" y="374"/>
                </a:lnTo>
                <a:close/>
                <a:moveTo>
                  <a:pt x="391" y="391"/>
                </a:moveTo>
                <a:lnTo>
                  <a:pt x="391" y="228"/>
                </a:lnTo>
                <a:lnTo>
                  <a:pt x="1692" y="228"/>
                </a:lnTo>
                <a:lnTo>
                  <a:pt x="1692" y="391"/>
                </a:lnTo>
                <a:lnTo>
                  <a:pt x="391" y="391"/>
                </a:lnTo>
                <a:close/>
                <a:moveTo>
                  <a:pt x="1399" y="586"/>
                </a:moveTo>
                <a:lnTo>
                  <a:pt x="1399" y="456"/>
                </a:lnTo>
                <a:lnTo>
                  <a:pt x="1383" y="456"/>
                </a:lnTo>
                <a:lnTo>
                  <a:pt x="1383" y="586"/>
                </a:lnTo>
                <a:lnTo>
                  <a:pt x="1399" y="586"/>
                </a:lnTo>
                <a:close/>
                <a:moveTo>
                  <a:pt x="1074" y="586"/>
                </a:moveTo>
                <a:lnTo>
                  <a:pt x="1074" y="456"/>
                </a:lnTo>
                <a:lnTo>
                  <a:pt x="1058" y="456"/>
                </a:lnTo>
                <a:lnTo>
                  <a:pt x="1058" y="586"/>
                </a:lnTo>
                <a:lnTo>
                  <a:pt x="1074" y="586"/>
                </a:lnTo>
                <a:close/>
                <a:moveTo>
                  <a:pt x="911" y="586"/>
                </a:moveTo>
                <a:lnTo>
                  <a:pt x="911" y="456"/>
                </a:lnTo>
                <a:lnTo>
                  <a:pt x="895" y="456"/>
                </a:lnTo>
                <a:lnTo>
                  <a:pt x="895" y="586"/>
                </a:lnTo>
                <a:lnTo>
                  <a:pt x="911" y="586"/>
                </a:lnTo>
                <a:close/>
                <a:moveTo>
                  <a:pt x="732" y="586"/>
                </a:moveTo>
                <a:lnTo>
                  <a:pt x="732" y="456"/>
                </a:lnTo>
                <a:lnTo>
                  <a:pt x="716" y="456"/>
                </a:lnTo>
                <a:lnTo>
                  <a:pt x="716" y="586"/>
                </a:lnTo>
                <a:lnTo>
                  <a:pt x="732" y="586"/>
                </a:lnTo>
                <a:close/>
                <a:moveTo>
                  <a:pt x="1562" y="586"/>
                </a:moveTo>
                <a:lnTo>
                  <a:pt x="1562" y="456"/>
                </a:lnTo>
                <a:lnTo>
                  <a:pt x="1546" y="456"/>
                </a:lnTo>
                <a:lnTo>
                  <a:pt x="1546" y="586"/>
                </a:lnTo>
                <a:lnTo>
                  <a:pt x="1562" y="586"/>
                </a:lnTo>
                <a:close/>
                <a:moveTo>
                  <a:pt x="1237" y="586"/>
                </a:moveTo>
                <a:lnTo>
                  <a:pt x="1237" y="456"/>
                </a:lnTo>
                <a:lnTo>
                  <a:pt x="1220" y="456"/>
                </a:lnTo>
                <a:lnTo>
                  <a:pt x="1220" y="586"/>
                </a:lnTo>
                <a:lnTo>
                  <a:pt x="1237" y="586"/>
                </a:lnTo>
                <a:close/>
                <a:moveTo>
                  <a:pt x="553" y="586"/>
                </a:moveTo>
                <a:lnTo>
                  <a:pt x="553" y="456"/>
                </a:lnTo>
                <a:lnTo>
                  <a:pt x="537" y="456"/>
                </a:lnTo>
                <a:lnTo>
                  <a:pt x="537" y="586"/>
                </a:lnTo>
                <a:lnTo>
                  <a:pt x="553" y="586"/>
                </a:lnTo>
                <a:close/>
                <a:moveTo>
                  <a:pt x="391" y="602"/>
                </a:moveTo>
                <a:lnTo>
                  <a:pt x="391" y="439"/>
                </a:lnTo>
                <a:lnTo>
                  <a:pt x="1692" y="439"/>
                </a:lnTo>
                <a:lnTo>
                  <a:pt x="1692" y="602"/>
                </a:lnTo>
                <a:lnTo>
                  <a:pt x="391" y="602"/>
                </a:lnTo>
                <a:close/>
                <a:moveTo>
                  <a:pt x="1399" y="797"/>
                </a:moveTo>
                <a:lnTo>
                  <a:pt x="1399" y="667"/>
                </a:lnTo>
                <a:lnTo>
                  <a:pt x="1383" y="667"/>
                </a:lnTo>
                <a:lnTo>
                  <a:pt x="1383" y="797"/>
                </a:lnTo>
                <a:lnTo>
                  <a:pt x="1399" y="797"/>
                </a:lnTo>
                <a:close/>
                <a:moveTo>
                  <a:pt x="1074" y="797"/>
                </a:moveTo>
                <a:lnTo>
                  <a:pt x="1074" y="667"/>
                </a:lnTo>
                <a:lnTo>
                  <a:pt x="1058" y="667"/>
                </a:lnTo>
                <a:lnTo>
                  <a:pt x="1058" y="797"/>
                </a:lnTo>
                <a:lnTo>
                  <a:pt x="1074" y="797"/>
                </a:lnTo>
                <a:close/>
                <a:moveTo>
                  <a:pt x="911" y="797"/>
                </a:moveTo>
                <a:lnTo>
                  <a:pt x="911" y="667"/>
                </a:lnTo>
                <a:lnTo>
                  <a:pt x="895" y="667"/>
                </a:lnTo>
                <a:lnTo>
                  <a:pt x="895" y="797"/>
                </a:lnTo>
                <a:lnTo>
                  <a:pt x="911" y="797"/>
                </a:lnTo>
                <a:close/>
                <a:moveTo>
                  <a:pt x="732" y="797"/>
                </a:moveTo>
                <a:lnTo>
                  <a:pt x="732" y="667"/>
                </a:lnTo>
                <a:lnTo>
                  <a:pt x="716" y="667"/>
                </a:lnTo>
                <a:lnTo>
                  <a:pt x="716" y="797"/>
                </a:lnTo>
                <a:lnTo>
                  <a:pt x="732" y="797"/>
                </a:lnTo>
                <a:close/>
                <a:moveTo>
                  <a:pt x="1562" y="797"/>
                </a:moveTo>
                <a:lnTo>
                  <a:pt x="1562" y="667"/>
                </a:lnTo>
                <a:lnTo>
                  <a:pt x="1546" y="667"/>
                </a:lnTo>
                <a:lnTo>
                  <a:pt x="1546" y="797"/>
                </a:lnTo>
                <a:lnTo>
                  <a:pt x="1562" y="797"/>
                </a:lnTo>
                <a:close/>
                <a:moveTo>
                  <a:pt x="1237" y="797"/>
                </a:moveTo>
                <a:lnTo>
                  <a:pt x="1237" y="667"/>
                </a:lnTo>
                <a:lnTo>
                  <a:pt x="1220" y="667"/>
                </a:lnTo>
                <a:lnTo>
                  <a:pt x="1220" y="797"/>
                </a:lnTo>
                <a:lnTo>
                  <a:pt x="1237" y="797"/>
                </a:lnTo>
                <a:close/>
                <a:moveTo>
                  <a:pt x="553" y="797"/>
                </a:moveTo>
                <a:lnTo>
                  <a:pt x="553" y="667"/>
                </a:lnTo>
                <a:lnTo>
                  <a:pt x="537" y="667"/>
                </a:lnTo>
                <a:lnTo>
                  <a:pt x="537" y="797"/>
                </a:lnTo>
                <a:lnTo>
                  <a:pt x="553" y="797"/>
                </a:lnTo>
                <a:close/>
                <a:moveTo>
                  <a:pt x="391" y="814"/>
                </a:moveTo>
                <a:lnTo>
                  <a:pt x="391" y="651"/>
                </a:lnTo>
                <a:lnTo>
                  <a:pt x="1692" y="651"/>
                </a:lnTo>
                <a:lnTo>
                  <a:pt x="1692" y="814"/>
                </a:lnTo>
                <a:lnTo>
                  <a:pt x="391" y="814"/>
                </a:lnTo>
                <a:close/>
                <a:moveTo>
                  <a:pt x="1399" y="1009"/>
                </a:moveTo>
                <a:lnTo>
                  <a:pt x="1399" y="879"/>
                </a:lnTo>
                <a:lnTo>
                  <a:pt x="1383" y="879"/>
                </a:lnTo>
                <a:lnTo>
                  <a:pt x="1383" y="1009"/>
                </a:lnTo>
                <a:lnTo>
                  <a:pt x="1399" y="1009"/>
                </a:lnTo>
                <a:close/>
                <a:moveTo>
                  <a:pt x="1074" y="1009"/>
                </a:moveTo>
                <a:lnTo>
                  <a:pt x="1074" y="879"/>
                </a:lnTo>
                <a:lnTo>
                  <a:pt x="1058" y="879"/>
                </a:lnTo>
                <a:lnTo>
                  <a:pt x="1058" y="1009"/>
                </a:lnTo>
                <a:lnTo>
                  <a:pt x="1074" y="1009"/>
                </a:lnTo>
                <a:close/>
                <a:moveTo>
                  <a:pt x="911" y="1009"/>
                </a:moveTo>
                <a:lnTo>
                  <a:pt x="911" y="879"/>
                </a:lnTo>
                <a:lnTo>
                  <a:pt x="895" y="879"/>
                </a:lnTo>
                <a:lnTo>
                  <a:pt x="895" y="1009"/>
                </a:lnTo>
                <a:lnTo>
                  <a:pt x="911" y="1009"/>
                </a:lnTo>
                <a:close/>
                <a:moveTo>
                  <a:pt x="732" y="1009"/>
                </a:moveTo>
                <a:lnTo>
                  <a:pt x="732" y="879"/>
                </a:lnTo>
                <a:lnTo>
                  <a:pt x="716" y="879"/>
                </a:lnTo>
                <a:lnTo>
                  <a:pt x="716" y="1009"/>
                </a:lnTo>
                <a:lnTo>
                  <a:pt x="732" y="1009"/>
                </a:lnTo>
                <a:close/>
                <a:moveTo>
                  <a:pt x="1562" y="1009"/>
                </a:moveTo>
                <a:lnTo>
                  <a:pt x="1562" y="879"/>
                </a:lnTo>
                <a:lnTo>
                  <a:pt x="1546" y="879"/>
                </a:lnTo>
                <a:lnTo>
                  <a:pt x="1546" y="1009"/>
                </a:lnTo>
                <a:lnTo>
                  <a:pt x="1562" y="1009"/>
                </a:lnTo>
                <a:close/>
                <a:moveTo>
                  <a:pt x="1237" y="1009"/>
                </a:moveTo>
                <a:lnTo>
                  <a:pt x="1237" y="879"/>
                </a:lnTo>
                <a:lnTo>
                  <a:pt x="1220" y="879"/>
                </a:lnTo>
                <a:lnTo>
                  <a:pt x="1220" y="1009"/>
                </a:lnTo>
                <a:lnTo>
                  <a:pt x="1237" y="1009"/>
                </a:lnTo>
                <a:close/>
                <a:moveTo>
                  <a:pt x="553" y="1009"/>
                </a:moveTo>
                <a:lnTo>
                  <a:pt x="553" y="879"/>
                </a:lnTo>
                <a:lnTo>
                  <a:pt x="537" y="879"/>
                </a:lnTo>
                <a:lnTo>
                  <a:pt x="537" y="1009"/>
                </a:lnTo>
                <a:lnTo>
                  <a:pt x="553" y="1009"/>
                </a:lnTo>
                <a:close/>
                <a:moveTo>
                  <a:pt x="391" y="1025"/>
                </a:moveTo>
                <a:lnTo>
                  <a:pt x="391" y="863"/>
                </a:lnTo>
                <a:lnTo>
                  <a:pt x="1692" y="863"/>
                </a:lnTo>
                <a:lnTo>
                  <a:pt x="1692" y="1025"/>
                </a:lnTo>
                <a:lnTo>
                  <a:pt x="391" y="1025"/>
                </a:lnTo>
                <a:close/>
                <a:moveTo>
                  <a:pt x="1237" y="1155"/>
                </a:moveTo>
                <a:lnTo>
                  <a:pt x="1237" y="1090"/>
                </a:lnTo>
                <a:lnTo>
                  <a:pt x="1220" y="1090"/>
                </a:lnTo>
                <a:lnTo>
                  <a:pt x="1220" y="1155"/>
                </a:lnTo>
                <a:lnTo>
                  <a:pt x="1237" y="1155"/>
                </a:lnTo>
                <a:close/>
                <a:moveTo>
                  <a:pt x="1074" y="1155"/>
                </a:moveTo>
                <a:lnTo>
                  <a:pt x="1074" y="1090"/>
                </a:lnTo>
                <a:lnTo>
                  <a:pt x="1058" y="1090"/>
                </a:lnTo>
                <a:lnTo>
                  <a:pt x="1058" y="1155"/>
                </a:lnTo>
                <a:lnTo>
                  <a:pt x="1074" y="1155"/>
                </a:lnTo>
                <a:close/>
                <a:moveTo>
                  <a:pt x="911" y="1155"/>
                </a:moveTo>
                <a:lnTo>
                  <a:pt x="911" y="1090"/>
                </a:lnTo>
                <a:lnTo>
                  <a:pt x="895" y="1090"/>
                </a:lnTo>
                <a:lnTo>
                  <a:pt x="895" y="1155"/>
                </a:lnTo>
                <a:lnTo>
                  <a:pt x="911" y="1155"/>
                </a:lnTo>
                <a:close/>
                <a:moveTo>
                  <a:pt x="1399" y="1221"/>
                </a:moveTo>
                <a:lnTo>
                  <a:pt x="1399" y="1090"/>
                </a:lnTo>
                <a:lnTo>
                  <a:pt x="1383" y="1090"/>
                </a:lnTo>
                <a:lnTo>
                  <a:pt x="1383" y="1221"/>
                </a:lnTo>
                <a:lnTo>
                  <a:pt x="1399" y="1221"/>
                </a:lnTo>
                <a:close/>
                <a:moveTo>
                  <a:pt x="732" y="1221"/>
                </a:moveTo>
                <a:lnTo>
                  <a:pt x="732" y="1090"/>
                </a:lnTo>
                <a:lnTo>
                  <a:pt x="716" y="1090"/>
                </a:lnTo>
                <a:lnTo>
                  <a:pt x="716" y="1221"/>
                </a:lnTo>
                <a:lnTo>
                  <a:pt x="732" y="1221"/>
                </a:lnTo>
                <a:close/>
                <a:moveTo>
                  <a:pt x="1562" y="1221"/>
                </a:moveTo>
                <a:lnTo>
                  <a:pt x="1562" y="1090"/>
                </a:lnTo>
                <a:lnTo>
                  <a:pt x="1546" y="1090"/>
                </a:lnTo>
                <a:lnTo>
                  <a:pt x="1546" y="1221"/>
                </a:lnTo>
                <a:lnTo>
                  <a:pt x="1562" y="1221"/>
                </a:lnTo>
                <a:close/>
                <a:moveTo>
                  <a:pt x="553" y="1221"/>
                </a:moveTo>
                <a:lnTo>
                  <a:pt x="553" y="1090"/>
                </a:lnTo>
                <a:lnTo>
                  <a:pt x="537" y="1090"/>
                </a:lnTo>
                <a:lnTo>
                  <a:pt x="537" y="1221"/>
                </a:lnTo>
                <a:lnTo>
                  <a:pt x="553" y="1221"/>
                </a:lnTo>
                <a:close/>
                <a:moveTo>
                  <a:pt x="830" y="1269"/>
                </a:moveTo>
                <a:lnTo>
                  <a:pt x="830" y="1237"/>
                </a:lnTo>
                <a:lnTo>
                  <a:pt x="391" y="1237"/>
                </a:lnTo>
                <a:lnTo>
                  <a:pt x="391" y="1074"/>
                </a:lnTo>
                <a:lnTo>
                  <a:pt x="1692" y="1074"/>
                </a:lnTo>
                <a:lnTo>
                  <a:pt x="1692" y="1237"/>
                </a:lnTo>
                <a:lnTo>
                  <a:pt x="1253" y="1237"/>
                </a:lnTo>
                <a:lnTo>
                  <a:pt x="1253" y="1269"/>
                </a:lnTo>
                <a:lnTo>
                  <a:pt x="1709" y="1269"/>
                </a:lnTo>
                <a:lnTo>
                  <a:pt x="1709" y="207"/>
                </a:lnTo>
                <a:lnTo>
                  <a:pt x="1752" y="65"/>
                </a:lnTo>
                <a:lnTo>
                  <a:pt x="331" y="65"/>
                </a:lnTo>
                <a:lnTo>
                  <a:pt x="374" y="207"/>
                </a:lnTo>
                <a:lnTo>
                  <a:pt x="374" y="1269"/>
                </a:lnTo>
                <a:lnTo>
                  <a:pt x="830" y="1269"/>
                </a:lnTo>
                <a:close/>
                <a:moveTo>
                  <a:pt x="2018" y="1432"/>
                </a:moveTo>
                <a:lnTo>
                  <a:pt x="2018" y="1334"/>
                </a:lnTo>
                <a:lnTo>
                  <a:pt x="1253" y="1334"/>
                </a:lnTo>
                <a:lnTo>
                  <a:pt x="1253" y="1367"/>
                </a:lnTo>
                <a:lnTo>
                  <a:pt x="1985" y="1367"/>
                </a:lnTo>
                <a:lnTo>
                  <a:pt x="1985" y="1400"/>
                </a:lnTo>
                <a:lnTo>
                  <a:pt x="1253" y="1400"/>
                </a:lnTo>
                <a:lnTo>
                  <a:pt x="1253" y="1432"/>
                </a:lnTo>
                <a:lnTo>
                  <a:pt x="2018" y="1432"/>
                </a:lnTo>
                <a:close/>
                <a:moveTo>
                  <a:pt x="830" y="1432"/>
                </a:moveTo>
                <a:lnTo>
                  <a:pt x="830" y="1400"/>
                </a:lnTo>
                <a:lnTo>
                  <a:pt x="98" y="1400"/>
                </a:lnTo>
                <a:lnTo>
                  <a:pt x="98" y="1367"/>
                </a:lnTo>
                <a:lnTo>
                  <a:pt x="830" y="1367"/>
                </a:lnTo>
                <a:lnTo>
                  <a:pt x="830" y="1334"/>
                </a:lnTo>
                <a:lnTo>
                  <a:pt x="65" y="1334"/>
                </a:lnTo>
                <a:lnTo>
                  <a:pt x="65" y="1432"/>
                </a:lnTo>
                <a:lnTo>
                  <a:pt x="830" y="1432"/>
                </a:lnTo>
                <a:close/>
                <a:moveTo>
                  <a:pt x="993" y="1497"/>
                </a:moveTo>
                <a:lnTo>
                  <a:pt x="993" y="1416"/>
                </a:lnTo>
                <a:lnTo>
                  <a:pt x="911" y="1416"/>
                </a:lnTo>
                <a:lnTo>
                  <a:pt x="911" y="1318"/>
                </a:lnTo>
                <a:lnTo>
                  <a:pt x="993" y="1318"/>
                </a:lnTo>
                <a:lnTo>
                  <a:pt x="993" y="1237"/>
                </a:lnTo>
                <a:lnTo>
                  <a:pt x="1090" y="1237"/>
                </a:lnTo>
                <a:lnTo>
                  <a:pt x="1090" y="1318"/>
                </a:lnTo>
                <a:lnTo>
                  <a:pt x="1172" y="1318"/>
                </a:lnTo>
                <a:lnTo>
                  <a:pt x="1172" y="1416"/>
                </a:lnTo>
                <a:lnTo>
                  <a:pt x="1090" y="1416"/>
                </a:lnTo>
                <a:lnTo>
                  <a:pt x="1090" y="1497"/>
                </a:lnTo>
                <a:lnTo>
                  <a:pt x="993" y="1497"/>
                </a:lnTo>
                <a:close/>
                <a:moveTo>
                  <a:pt x="1204" y="1530"/>
                </a:moveTo>
                <a:lnTo>
                  <a:pt x="1204" y="1204"/>
                </a:lnTo>
                <a:lnTo>
                  <a:pt x="879" y="1204"/>
                </a:lnTo>
                <a:lnTo>
                  <a:pt x="879" y="1530"/>
                </a:lnTo>
                <a:lnTo>
                  <a:pt x="1204" y="1530"/>
                </a:lnTo>
                <a:close/>
                <a:moveTo>
                  <a:pt x="1888" y="1953"/>
                </a:moveTo>
                <a:lnTo>
                  <a:pt x="1888" y="1920"/>
                </a:lnTo>
                <a:lnTo>
                  <a:pt x="1839" y="1920"/>
                </a:lnTo>
                <a:lnTo>
                  <a:pt x="1839" y="1953"/>
                </a:lnTo>
                <a:lnTo>
                  <a:pt x="1888" y="1953"/>
                </a:lnTo>
                <a:close/>
                <a:moveTo>
                  <a:pt x="1692" y="1953"/>
                </a:moveTo>
                <a:lnTo>
                  <a:pt x="1692" y="1920"/>
                </a:lnTo>
                <a:lnTo>
                  <a:pt x="1367" y="1920"/>
                </a:lnTo>
                <a:lnTo>
                  <a:pt x="1367" y="1953"/>
                </a:lnTo>
                <a:lnTo>
                  <a:pt x="1692" y="1953"/>
                </a:lnTo>
                <a:close/>
                <a:moveTo>
                  <a:pt x="716" y="1953"/>
                </a:moveTo>
                <a:lnTo>
                  <a:pt x="716" y="1920"/>
                </a:lnTo>
                <a:lnTo>
                  <a:pt x="391" y="1920"/>
                </a:lnTo>
                <a:lnTo>
                  <a:pt x="391" y="1953"/>
                </a:lnTo>
                <a:lnTo>
                  <a:pt x="716" y="1953"/>
                </a:lnTo>
                <a:close/>
                <a:moveTo>
                  <a:pt x="244" y="1953"/>
                </a:moveTo>
                <a:lnTo>
                  <a:pt x="244" y="1920"/>
                </a:lnTo>
                <a:lnTo>
                  <a:pt x="195" y="1920"/>
                </a:lnTo>
                <a:lnTo>
                  <a:pt x="195" y="1953"/>
                </a:lnTo>
                <a:lnTo>
                  <a:pt x="244" y="1953"/>
                </a:lnTo>
                <a:close/>
                <a:moveTo>
                  <a:pt x="1220" y="1953"/>
                </a:moveTo>
                <a:lnTo>
                  <a:pt x="1220" y="1920"/>
                </a:lnTo>
                <a:lnTo>
                  <a:pt x="862" y="1920"/>
                </a:lnTo>
                <a:lnTo>
                  <a:pt x="862" y="1953"/>
                </a:lnTo>
                <a:lnTo>
                  <a:pt x="1220" y="1953"/>
                </a:lnTo>
                <a:close/>
                <a:moveTo>
                  <a:pt x="1920" y="2018"/>
                </a:moveTo>
                <a:lnTo>
                  <a:pt x="1920" y="1985"/>
                </a:lnTo>
                <a:lnTo>
                  <a:pt x="1839" y="1985"/>
                </a:lnTo>
                <a:lnTo>
                  <a:pt x="1839" y="2018"/>
                </a:lnTo>
                <a:lnTo>
                  <a:pt x="1920" y="2018"/>
                </a:lnTo>
                <a:close/>
                <a:moveTo>
                  <a:pt x="1692" y="2018"/>
                </a:moveTo>
                <a:lnTo>
                  <a:pt x="1692" y="1985"/>
                </a:lnTo>
                <a:lnTo>
                  <a:pt x="1367" y="1985"/>
                </a:lnTo>
                <a:lnTo>
                  <a:pt x="1367" y="2018"/>
                </a:lnTo>
                <a:lnTo>
                  <a:pt x="1692" y="2018"/>
                </a:lnTo>
                <a:close/>
                <a:moveTo>
                  <a:pt x="716" y="2018"/>
                </a:moveTo>
                <a:lnTo>
                  <a:pt x="716" y="1985"/>
                </a:lnTo>
                <a:lnTo>
                  <a:pt x="391" y="1985"/>
                </a:lnTo>
                <a:lnTo>
                  <a:pt x="391" y="2018"/>
                </a:lnTo>
                <a:lnTo>
                  <a:pt x="716" y="2018"/>
                </a:lnTo>
                <a:close/>
                <a:moveTo>
                  <a:pt x="244" y="2018"/>
                </a:moveTo>
                <a:lnTo>
                  <a:pt x="244" y="1985"/>
                </a:lnTo>
                <a:lnTo>
                  <a:pt x="163" y="1985"/>
                </a:lnTo>
                <a:lnTo>
                  <a:pt x="163" y="2018"/>
                </a:lnTo>
                <a:lnTo>
                  <a:pt x="244" y="2018"/>
                </a:lnTo>
                <a:close/>
                <a:moveTo>
                  <a:pt x="1806" y="2018"/>
                </a:moveTo>
                <a:lnTo>
                  <a:pt x="1806" y="1497"/>
                </a:lnTo>
                <a:lnTo>
                  <a:pt x="1725" y="1497"/>
                </a:lnTo>
                <a:lnTo>
                  <a:pt x="1725" y="2018"/>
                </a:lnTo>
                <a:lnTo>
                  <a:pt x="1806" y="2018"/>
                </a:lnTo>
                <a:close/>
                <a:moveTo>
                  <a:pt x="1334" y="2018"/>
                </a:moveTo>
                <a:lnTo>
                  <a:pt x="1334" y="1497"/>
                </a:lnTo>
                <a:lnTo>
                  <a:pt x="1253" y="1497"/>
                </a:lnTo>
                <a:lnTo>
                  <a:pt x="1253" y="1579"/>
                </a:lnTo>
                <a:lnTo>
                  <a:pt x="1253" y="1579"/>
                </a:lnTo>
                <a:lnTo>
                  <a:pt x="1253" y="2018"/>
                </a:lnTo>
                <a:lnTo>
                  <a:pt x="1334" y="2018"/>
                </a:lnTo>
                <a:close/>
                <a:moveTo>
                  <a:pt x="1220" y="2018"/>
                </a:moveTo>
                <a:lnTo>
                  <a:pt x="1220" y="1985"/>
                </a:lnTo>
                <a:lnTo>
                  <a:pt x="862" y="1985"/>
                </a:lnTo>
                <a:lnTo>
                  <a:pt x="862" y="2018"/>
                </a:lnTo>
                <a:lnTo>
                  <a:pt x="1220" y="2018"/>
                </a:lnTo>
                <a:close/>
                <a:moveTo>
                  <a:pt x="830" y="2018"/>
                </a:moveTo>
                <a:lnTo>
                  <a:pt x="830" y="1497"/>
                </a:lnTo>
                <a:lnTo>
                  <a:pt x="749" y="1497"/>
                </a:lnTo>
                <a:lnTo>
                  <a:pt x="749" y="2018"/>
                </a:lnTo>
                <a:lnTo>
                  <a:pt x="830" y="2018"/>
                </a:lnTo>
                <a:close/>
                <a:moveTo>
                  <a:pt x="358" y="2018"/>
                </a:moveTo>
                <a:lnTo>
                  <a:pt x="358" y="1497"/>
                </a:lnTo>
                <a:lnTo>
                  <a:pt x="277" y="1497"/>
                </a:lnTo>
                <a:lnTo>
                  <a:pt x="277" y="2018"/>
                </a:lnTo>
                <a:lnTo>
                  <a:pt x="358" y="2018"/>
                </a:lnTo>
                <a:close/>
                <a:moveTo>
                  <a:pt x="114" y="2083"/>
                </a:moveTo>
                <a:lnTo>
                  <a:pt x="114" y="1497"/>
                </a:lnTo>
                <a:lnTo>
                  <a:pt x="0" y="1497"/>
                </a:lnTo>
                <a:lnTo>
                  <a:pt x="0" y="1269"/>
                </a:lnTo>
                <a:lnTo>
                  <a:pt x="309" y="1269"/>
                </a:lnTo>
                <a:lnTo>
                  <a:pt x="309" y="217"/>
                </a:lnTo>
                <a:lnTo>
                  <a:pt x="242" y="0"/>
                </a:lnTo>
                <a:lnTo>
                  <a:pt x="1841" y="0"/>
                </a:lnTo>
                <a:lnTo>
                  <a:pt x="1774" y="217"/>
                </a:lnTo>
                <a:lnTo>
                  <a:pt x="1774" y="1269"/>
                </a:lnTo>
                <a:lnTo>
                  <a:pt x="2083" y="1269"/>
                </a:lnTo>
                <a:lnTo>
                  <a:pt x="2083" y="1497"/>
                </a:lnTo>
                <a:lnTo>
                  <a:pt x="1969" y="1497"/>
                </a:lnTo>
                <a:lnTo>
                  <a:pt x="1969" y="2083"/>
                </a:lnTo>
                <a:lnTo>
                  <a:pt x="114" y="2083"/>
                </a:lnTo>
                <a:close/>
              </a:path>
            </a:pathLst>
          </a:custGeom>
          <a:solidFill>
            <a:schemeClr val="bg1">
              <a:alpha val="72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C5DAE1C5-1825-A73A-5CC0-D95632E07A3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264C0C3-EF64-AC20-B6CF-5CB2ACC69BDF}"/>
              </a:ext>
            </a:extLst>
          </p:cNvPr>
          <p:cNvSpPr txBox="1"/>
          <p:nvPr>
            <p:custDataLst>
              <p:tags r:id="rId39"/>
            </p:custDataLst>
          </p:nvPr>
        </p:nvSpPr>
        <p:spPr>
          <a:xfrm>
            <a:off x="421708" y="1812936"/>
            <a:ext cx="547859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petition is the neighboring health system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227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0F5E1BD-40F8-08F3-3D27-C88CA4778D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11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622" imgH="623" progId="TCLayout.ActiveDocument.1">
                  <p:embed/>
                </p:oleObj>
              </mc:Choice>
              <mc:Fallback>
                <p:oleObj name="think-cell Slide" r:id="rId36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F5E1BD-40F8-08F3-3D27-C88CA4778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1A764A-A99B-D340-9FB4-803A6A8AEAC6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fld id="{EECC7194-A4D0-457B-9D3E-53681723AFF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722D12D-4CC9-63A0-994C-89AF7DBA9B29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/>
          <a:lstStyle/>
          <a:p>
            <a:r>
              <a:rPr lang="en-US"/>
              <a:t>The future of healthcare is ambulatory—by any metric.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3EAE266-A73F-569F-E46A-6D63179E03A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14242" y="6372174"/>
            <a:ext cx="34925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>
                <a:solidFill>
                  <a:prstClr val="black"/>
                </a:solidFill>
                <a:latin typeface="Calibri"/>
              </a:rPr>
              <a:t>Source: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g2: 2024 Impact of Change Report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68F7507-6828-1AD8-5876-7B966F50504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1381125"/>
            <a:ext cx="6096000" cy="4676775"/>
          </a:xfrm>
          <a:prstGeom prst="rect">
            <a:avLst/>
          </a:prstGeom>
          <a:solidFill>
            <a:srgbClr val="333E4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5" name="Content Placeholder 7">
            <a:extLst>
              <a:ext uri="{FF2B5EF4-FFF2-40B4-BE49-F238E27FC236}">
                <a16:creationId xmlns:a16="http://schemas.microsoft.com/office/drawing/2014/main" id="{34400072-D4C9-01EA-07B2-20FDFF25A20F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49000684"/>
              </p:ext>
            </p:extLst>
          </p:nvPr>
        </p:nvGraphicFramePr>
        <p:xfrm>
          <a:off x="288000" y="2690719"/>
          <a:ext cx="5691534" cy="2875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6" name="Rectangle 25">
            <a:extLst>
              <a:ext uri="{FF2B5EF4-FFF2-40B4-BE49-F238E27FC236}">
                <a16:creationId xmlns:a16="http://schemas.microsoft.com/office/drawing/2014/main" id="{12E54625-49CB-19A3-6994-5356BBF4E4E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755195" y="3913643"/>
            <a:ext cx="657922" cy="44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6%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62CEB7F-049C-CC72-BE4E-1710572EB850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91188" y="3457452"/>
            <a:ext cx="769443" cy="44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13%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D6436E1-E9E5-1EA9-D01E-4A554C99D10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755195" y="3138526"/>
            <a:ext cx="769442" cy="44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11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503662C-4335-0964-BBAB-2CD7657488A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826062" y="2742536"/>
            <a:ext cx="769443" cy="44604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17%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9B64725-6D96-BAFD-0A99-801AFABAC1F7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288000" y="1580159"/>
            <a:ext cx="5543588" cy="51204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ult Outpatient Forecas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S Market, 2024–2034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D8F0DE1-999A-A2DD-1917-38EF132F045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88000" y="2240253"/>
            <a:ext cx="5543588" cy="51204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olum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DA6D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llion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BFD7E77-C134-3837-18C6-8E2DABD04202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1311131" y="5647806"/>
            <a:ext cx="203200" cy="203200"/>
          </a:xfrm>
          <a:prstGeom prst="rect">
            <a:avLst/>
          </a:prstGeom>
          <a:solidFill>
            <a:srgbClr val="D9253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32348CA-A2F1-3C55-95EC-EC70FC746C70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1514331" y="5647806"/>
            <a:ext cx="1783663" cy="20295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 Forecas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0CB383D-01FF-DBB6-F8D4-02516EF41749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2640071" y="5647806"/>
            <a:ext cx="203201" cy="202954"/>
          </a:xfrm>
          <a:prstGeom prst="rect">
            <a:avLst/>
          </a:prstGeom>
          <a:solidFill>
            <a:srgbClr val="1BC0D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E811600-C2B2-D316-3266-18BEBD767A3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843272" y="5647806"/>
            <a:ext cx="2282292" cy="20295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pulation Growth Rat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6462B5A-2073-EDF0-4CEC-94E7B464D48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2582970" y="2527691"/>
            <a:ext cx="1113892" cy="21220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DA6D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-Yea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71BFE68-AA1D-E583-D91F-6C68CA95D480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653837" y="2527691"/>
            <a:ext cx="1113892" cy="21220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DA6D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-Yea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903C915-43F4-D0D4-D1B4-73D0C360EFEA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6183630" y="1457268"/>
            <a:ext cx="57203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hifting Care Settings: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rom Inpatient to Outpatient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2024–2034)</a:t>
            </a: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A5483AB-1254-0D0E-5F4D-A0AEE3043A37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6183630" y="3291940"/>
            <a:ext cx="2636519" cy="905256"/>
          </a:xfrm>
          <a:prstGeom prst="rect">
            <a:avLst/>
          </a:prstGeom>
          <a:solidFill>
            <a:srgbClr val="C7C7C7">
              <a:lumMod val="20000"/>
              <a:lumOff val="80000"/>
            </a:srgbClr>
          </a:solidFill>
        </p:spPr>
        <p:txBody>
          <a:bodyPr wrap="square" rtlCol="0" anchor="ctr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Ambulatory Surgery Centers (ASCs) on the Rise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(2024–2034)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9CE5B21-DA91-2F07-2919-71469A3B9422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6183630" y="2099835"/>
            <a:ext cx="2783724" cy="854065"/>
          </a:xfrm>
          <a:prstGeom prst="rect">
            <a:avLst/>
          </a:prstGeom>
          <a:solidFill>
            <a:srgbClr val="C7C7C7">
              <a:lumMod val="20000"/>
              <a:lumOff val="80000"/>
            </a:srgbClr>
          </a:solidFill>
          <a:ln>
            <a:noFill/>
          </a:ln>
        </p:spPr>
        <p:txBody>
          <a:bodyPr wrap="square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utpatient Growth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</a:p>
          <a:p>
            <a:pPr marL="62865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+17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3ABE800-7AB9-6C88-0E2E-F191ECC7E600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9447353" y="2099835"/>
            <a:ext cx="2456647" cy="854065"/>
          </a:xfrm>
          <a:prstGeom prst="rect">
            <a:avLst/>
          </a:prstGeom>
          <a:solidFill>
            <a:srgbClr val="C7C7C7">
              <a:lumMod val="20000"/>
              <a:lumOff val="80000"/>
            </a:srgbClr>
          </a:solidFill>
          <a:ln>
            <a:noFill/>
          </a:ln>
        </p:spPr>
        <p:txBody>
          <a:bodyPr wrap="square"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patient Growth </a:t>
            </a:r>
          </a:p>
          <a:p>
            <a:pPr marL="3429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+3%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42F98663-0432-C87B-34B3-E6508464724C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6335410" y="2153681"/>
            <a:ext cx="638677" cy="800219"/>
            <a:chOff x="12841223" y="1312150"/>
            <a:chExt cx="1956065" cy="2450817"/>
          </a:xfrm>
          <a:solidFill>
            <a:srgbClr val="020C4A"/>
          </a:solidFill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413209B-1A26-55B3-390E-72815A829B9B}"/>
                </a:ext>
              </a:extLst>
            </p:cNvPr>
            <p:cNvSpPr/>
            <p:nvPr/>
          </p:nvSpPr>
          <p:spPr>
            <a:xfrm>
              <a:off x="12841223" y="1982996"/>
              <a:ext cx="579817" cy="1189672"/>
            </a:xfrm>
            <a:custGeom>
              <a:avLst/>
              <a:gdLst>
                <a:gd name="connsiteX0" fmla="*/ 579787 w 579817"/>
                <a:gd name="connsiteY0" fmla="*/ 585692 h 1189672"/>
                <a:gd name="connsiteX1" fmla="*/ 579406 w 579817"/>
                <a:gd name="connsiteY1" fmla="*/ 1152716 h 1189672"/>
                <a:gd name="connsiteX2" fmla="*/ 569881 w 579817"/>
                <a:gd name="connsiteY2" fmla="*/ 1184910 h 1189672"/>
                <a:gd name="connsiteX3" fmla="*/ 561309 w 579817"/>
                <a:gd name="connsiteY3" fmla="*/ 1189101 h 1189672"/>
                <a:gd name="connsiteX4" fmla="*/ 542640 w 579817"/>
                <a:gd name="connsiteY4" fmla="*/ 1189292 h 1189672"/>
                <a:gd name="connsiteX5" fmla="*/ 45339 w 579817"/>
                <a:gd name="connsiteY5" fmla="*/ 1189673 h 1189672"/>
                <a:gd name="connsiteX6" fmla="*/ 0 w 579817"/>
                <a:gd name="connsiteY6" fmla="*/ 1144048 h 1189672"/>
                <a:gd name="connsiteX7" fmla="*/ 286 w 579817"/>
                <a:gd name="connsiteY7" fmla="*/ 66008 h 1189672"/>
                <a:gd name="connsiteX8" fmla="*/ 286 w 579817"/>
                <a:gd name="connsiteY8" fmla="*/ 43148 h 1189672"/>
                <a:gd name="connsiteX9" fmla="*/ 41148 w 579817"/>
                <a:gd name="connsiteY9" fmla="*/ 191 h 1189672"/>
                <a:gd name="connsiteX10" fmla="*/ 49435 w 579817"/>
                <a:gd name="connsiteY10" fmla="*/ 95 h 1189672"/>
                <a:gd name="connsiteX11" fmla="*/ 560261 w 579817"/>
                <a:gd name="connsiteY11" fmla="*/ 0 h 1189672"/>
                <a:gd name="connsiteX12" fmla="*/ 579692 w 579817"/>
                <a:gd name="connsiteY12" fmla="*/ 19622 h 1189672"/>
                <a:gd name="connsiteX13" fmla="*/ 579692 w 579817"/>
                <a:gd name="connsiteY13" fmla="*/ 585597 h 1189672"/>
                <a:gd name="connsiteX14" fmla="*/ 579692 w 579817"/>
                <a:gd name="connsiteY14" fmla="*/ 585597 h 1189672"/>
                <a:gd name="connsiteX15" fmla="*/ 410052 w 579817"/>
                <a:gd name="connsiteY15" fmla="*/ 668750 h 1189672"/>
                <a:gd name="connsiteX16" fmla="*/ 449485 w 579817"/>
                <a:gd name="connsiteY16" fmla="*/ 668941 h 1189672"/>
                <a:gd name="connsiteX17" fmla="*/ 484442 w 579817"/>
                <a:gd name="connsiteY17" fmla="*/ 633794 h 1189672"/>
                <a:gd name="connsiteX18" fmla="*/ 484442 w 579817"/>
                <a:gd name="connsiteY18" fmla="*/ 555974 h 1189672"/>
                <a:gd name="connsiteX19" fmla="*/ 448723 w 579817"/>
                <a:gd name="connsiteY19" fmla="*/ 520256 h 1189672"/>
                <a:gd name="connsiteX20" fmla="*/ 375095 w 579817"/>
                <a:gd name="connsiteY20" fmla="*/ 520351 h 1189672"/>
                <a:gd name="connsiteX21" fmla="*/ 336042 w 579817"/>
                <a:gd name="connsiteY21" fmla="*/ 557308 h 1189672"/>
                <a:gd name="connsiteX22" fmla="*/ 336042 w 579817"/>
                <a:gd name="connsiteY22" fmla="*/ 634079 h 1189672"/>
                <a:gd name="connsiteX23" fmla="*/ 370618 w 579817"/>
                <a:gd name="connsiteY23" fmla="*/ 668750 h 1189672"/>
                <a:gd name="connsiteX24" fmla="*/ 410052 w 579817"/>
                <a:gd name="connsiteY24" fmla="*/ 668750 h 1189672"/>
                <a:gd name="connsiteX25" fmla="*/ 335947 w 579817"/>
                <a:gd name="connsiteY25" fmla="*/ 834961 h 1189672"/>
                <a:gd name="connsiteX26" fmla="*/ 335947 w 579817"/>
                <a:gd name="connsiteY26" fmla="*/ 834961 h 1189672"/>
                <a:gd name="connsiteX27" fmla="*/ 335947 w 579817"/>
                <a:gd name="connsiteY27" fmla="*/ 873347 h 1189672"/>
                <a:gd name="connsiteX28" fmla="*/ 369570 w 579817"/>
                <a:gd name="connsiteY28" fmla="*/ 907733 h 1189672"/>
                <a:gd name="connsiteX29" fmla="*/ 445199 w 579817"/>
                <a:gd name="connsiteY29" fmla="*/ 908304 h 1189672"/>
                <a:gd name="connsiteX30" fmla="*/ 484251 w 579817"/>
                <a:gd name="connsiteY30" fmla="*/ 872395 h 1189672"/>
                <a:gd name="connsiteX31" fmla="*/ 484251 w 579817"/>
                <a:gd name="connsiteY31" fmla="*/ 793623 h 1189672"/>
                <a:gd name="connsiteX32" fmla="*/ 451962 w 579817"/>
                <a:gd name="connsiteY32" fmla="*/ 760857 h 1189672"/>
                <a:gd name="connsiteX33" fmla="*/ 368046 w 579817"/>
                <a:gd name="connsiteY33" fmla="*/ 760857 h 1189672"/>
                <a:gd name="connsiteX34" fmla="*/ 336042 w 579817"/>
                <a:gd name="connsiteY34" fmla="*/ 793433 h 1189672"/>
                <a:gd name="connsiteX35" fmla="*/ 336042 w 579817"/>
                <a:gd name="connsiteY35" fmla="*/ 834866 h 1189672"/>
                <a:gd name="connsiteX36" fmla="*/ 243840 w 579817"/>
                <a:gd name="connsiteY36" fmla="*/ 595789 h 1189672"/>
                <a:gd name="connsiteX37" fmla="*/ 243840 w 579817"/>
                <a:gd name="connsiteY37" fmla="*/ 595789 h 1189672"/>
                <a:gd name="connsiteX38" fmla="*/ 243650 w 579817"/>
                <a:gd name="connsiteY38" fmla="*/ 548164 h 1189672"/>
                <a:gd name="connsiteX39" fmla="*/ 214027 w 579817"/>
                <a:gd name="connsiteY39" fmla="*/ 520351 h 1189672"/>
                <a:gd name="connsiteX40" fmla="*/ 130112 w 579817"/>
                <a:gd name="connsiteY40" fmla="*/ 520351 h 1189672"/>
                <a:gd name="connsiteX41" fmla="*/ 98584 w 579817"/>
                <a:gd name="connsiteY41" fmla="*/ 544735 h 1189672"/>
                <a:gd name="connsiteX42" fmla="*/ 97060 w 579817"/>
                <a:gd name="connsiteY42" fmla="*/ 567309 h 1189672"/>
                <a:gd name="connsiteX43" fmla="*/ 97060 w 579817"/>
                <a:gd name="connsiteY43" fmla="*/ 634651 h 1189672"/>
                <a:gd name="connsiteX44" fmla="*/ 127064 w 579817"/>
                <a:gd name="connsiteY44" fmla="*/ 668750 h 1189672"/>
                <a:gd name="connsiteX45" fmla="*/ 214122 w 579817"/>
                <a:gd name="connsiteY45" fmla="*/ 668560 h 1189672"/>
                <a:gd name="connsiteX46" fmla="*/ 243840 w 579817"/>
                <a:gd name="connsiteY46" fmla="*/ 639318 h 1189672"/>
                <a:gd name="connsiteX47" fmla="*/ 243936 w 579817"/>
                <a:gd name="connsiteY47" fmla="*/ 595789 h 1189672"/>
                <a:gd name="connsiteX48" fmla="*/ 411290 w 579817"/>
                <a:gd name="connsiteY48" fmla="*/ 281940 h 1189672"/>
                <a:gd name="connsiteX49" fmla="*/ 411290 w 579817"/>
                <a:gd name="connsiteY49" fmla="*/ 281940 h 1189672"/>
                <a:gd name="connsiteX50" fmla="*/ 365665 w 579817"/>
                <a:gd name="connsiteY50" fmla="*/ 282131 h 1189672"/>
                <a:gd name="connsiteX51" fmla="*/ 336328 w 579817"/>
                <a:gd name="connsiteY51" fmla="*/ 311658 h 1189672"/>
                <a:gd name="connsiteX52" fmla="*/ 336519 w 579817"/>
                <a:gd name="connsiteY52" fmla="*/ 401955 h 1189672"/>
                <a:gd name="connsiteX53" fmla="*/ 339852 w 579817"/>
                <a:gd name="connsiteY53" fmla="*/ 412528 h 1189672"/>
                <a:gd name="connsiteX54" fmla="*/ 370999 w 579817"/>
                <a:gd name="connsiteY54" fmla="*/ 428625 h 1189672"/>
                <a:gd name="connsiteX55" fmla="*/ 447771 w 579817"/>
                <a:gd name="connsiteY55" fmla="*/ 428911 h 1189672"/>
                <a:gd name="connsiteX56" fmla="*/ 482537 w 579817"/>
                <a:gd name="connsiteY56" fmla="*/ 404717 h 1189672"/>
                <a:gd name="connsiteX57" fmla="*/ 482537 w 579817"/>
                <a:gd name="connsiteY57" fmla="*/ 307277 h 1189672"/>
                <a:gd name="connsiteX58" fmla="*/ 452724 w 579817"/>
                <a:gd name="connsiteY58" fmla="*/ 281845 h 1189672"/>
                <a:gd name="connsiteX59" fmla="*/ 411195 w 579817"/>
                <a:gd name="connsiteY59" fmla="*/ 281845 h 1189672"/>
                <a:gd name="connsiteX60" fmla="*/ 244031 w 579817"/>
                <a:gd name="connsiteY60" fmla="*/ 834581 h 1189672"/>
                <a:gd name="connsiteX61" fmla="*/ 243936 w 579817"/>
                <a:gd name="connsiteY61" fmla="*/ 834581 h 1189672"/>
                <a:gd name="connsiteX62" fmla="*/ 243936 w 579817"/>
                <a:gd name="connsiteY62" fmla="*/ 793052 h 1189672"/>
                <a:gd name="connsiteX63" fmla="*/ 212027 w 579817"/>
                <a:gd name="connsiteY63" fmla="*/ 760762 h 1189672"/>
                <a:gd name="connsiteX64" fmla="*/ 131160 w 579817"/>
                <a:gd name="connsiteY64" fmla="*/ 760762 h 1189672"/>
                <a:gd name="connsiteX65" fmla="*/ 96870 w 579817"/>
                <a:gd name="connsiteY65" fmla="*/ 793528 h 1189672"/>
                <a:gd name="connsiteX66" fmla="*/ 97060 w 579817"/>
                <a:gd name="connsiteY66" fmla="*/ 877538 h 1189672"/>
                <a:gd name="connsiteX67" fmla="*/ 124206 w 579817"/>
                <a:gd name="connsiteY67" fmla="*/ 907066 h 1189672"/>
                <a:gd name="connsiteX68" fmla="*/ 216408 w 579817"/>
                <a:gd name="connsiteY68" fmla="*/ 907256 h 1189672"/>
                <a:gd name="connsiteX69" fmla="*/ 244031 w 579817"/>
                <a:gd name="connsiteY69" fmla="*/ 875157 h 1189672"/>
                <a:gd name="connsiteX70" fmla="*/ 244031 w 579817"/>
                <a:gd name="connsiteY70" fmla="*/ 834676 h 1189672"/>
                <a:gd name="connsiteX71" fmla="*/ 171165 w 579817"/>
                <a:gd name="connsiteY71" fmla="*/ 281940 h 1189672"/>
                <a:gd name="connsiteX72" fmla="*/ 171165 w 579817"/>
                <a:gd name="connsiteY72" fmla="*/ 281940 h 1189672"/>
                <a:gd name="connsiteX73" fmla="*/ 128683 w 579817"/>
                <a:gd name="connsiteY73" fmla="*/ 281750 h 1189672"/>
                <a:gd name="connsiteX74" fmla="*/ 97917 w 579817"/>
                <a:gd name="connsiteY74" fmla="*/ 307562 h 1189672"/>
                <a:gd name="connsiteX75" fmla="*/ 98203 w 579817"/>
                <a:gd name="connsiteY75" fmla="*/ 403765 h 1189672"/>
                <a:gd name="connsiteX76" fmla="*/ 129445 w 579817"/>
                <a:gd name="connsiteY76" fmla="*/ 428911 h 1189672"/>
                <a:gd name="connsiteX77" fmla="*/ 175070 w 579817"/>
                <a:gd name="connsiteY77" fmla="*/ 428530 h 1189672"/>
                <a:gd name="connsiteX78" fmla="*/ 213456 w 579817"/>
                <a:gd name="connsiteY78" fmla="*/ 428530 h 1189672"/>
                <a:gd name="connsiteX79" fmla="*/ 243840 w 579817"/>
                <a:gd name="connsiteY79" fmla="*/ 397859 h 1189672"/>
                <a:gd name="connsiteX80" fmla="*/ 243840 w 579817"/>
                <a:gd name="connsiteY80" fmla="*/ 312896 h 1189672"/>
                <a:gd name="connsiteX81" fmla="*/ 212694 w 579817"/>
                <a:gd name="connsiteY81" fmla="*/ 282131 h 1189672"/>
                <a:gd name="connsiteX82" fmla="*/ 171260 w 579817"/>
                <a:gd name="connsiteY82" fmla="*/ 282131 h 1189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579817" h="1189672">
                  <a:moveTo>
                    <a:pt x="579787" y="585692"/>
                  </a:moveTo>
                  <a:cubicBezTo>
                    <a:pt x="579787" y="774668"/>
                    <a:pt x="579978" y="963740"/>
                    <a:pt x="579406" y="1152716"/>
                  </a:cubicBezTo>
                  <a:cubicBezTo>
                    <a:pt x="579406" y="1163479"/>
                    <a:pt x="573786" y="1174433"/>
                    <a:pt x="569881" y="1184910"/>
                  </a:cubicBezTo>
                  <a:cubicBezTo>
                    <a:pt x="569024" y="1187101"/>
                    <a:pt x="564357" y="1188815"/>
                    <a:pt x="561309" y="1189101"/>
                  </a:cubicBezTo>
                  <a:cubicBezTo>
                    <a:pt x="555117" y="1189768"/>
                    <a:pt x="548831" y="1189292"/>
                    <a:pt x="542640" y="1189292"/>
                  </a:cubicBezTo>
                  <a:cubicBezTo>
                    <a:pt x="376905" y="1189292"/>
                    <a:pt x="211074" y="1189006"/>
                    <a:pt x="45339" y="1189673"/>
                  </a:cubicBezTo>
                  <a:cubicBezTo>
                    <a:pt x="20955" y="1189768"/>
                    <a:pt x="-95" y="1168432"/>
                    <a:pt x="0" y="1144048"/>
                  </a:cubicBezTo>
                  <a:cubicBezTo>
                    <a:pt x="572" y="784670"/>
                    <a:pt x="381" y="425387"/>
                    <a:pt x="286" y="66008"/>
                  </a:cubicBezTo>
                  <a:cubicBezTo>
                    <a:pt x="286" y="58388"/>
                    <a:pt x="667" y="50768"/>
                    <a:pt x="286" y="43148"/>
                  </a:cubicBezTo>
                  <a:cubicBezTo>
                    <a:pt x="-762" y="19241"/>
                    <a:pt x="16479" y="1715"/>
                    <a:pt x="41148" y="191"/>
                  </a:cubicBezTo>
                  <a:cubicBezTo>
                    <a:pt x="43911" y="0"/>
                    <a:pt x="46673" y="95"/>
                    <a:pt x="49435" y="95"/>
                  </a:cubicBezTo>
                  <a:cubicBezTo>
                    <a:pt x="219742" y="95"/>
                    <a:pt x="389954" y="0"/>
                    <a:pt x="560261" y="0"/>
                  </a:cubicBezTo>
                  <a:cubicBezTo>
                    <a:pt x="573215" y="0"/>
                    <a:pt x="579692" y="6541"/>
                    <a:pt x="579692" y="19622"/>
                  </a:cubicBezTo>
                  <a:cubicBezTo>
                    <a:pt x="579692" y="208312"/>
                    <a:pt x="579692" y="397002"/>
                    <a:pt x="579692" y="585597"/>
                  </a:cubicBezTo>
                  <a:lnTo>
                    <a:pt x="579692" y="585597"/>
                  </a:lnTo>
                  <a:close/>
                  <a:moveTo>
                    <a:pt x="410052" y="668750"/>
                  </a:moveTo>
                  <a:cubicBezTo>
                    <a:pt x="423196" y="668750"/>
                    <a:pt x="436436" y="667893"/>
                    <a:pt x="449485" y="668941"/>
                  </a:cubicBezTo>
                  <a:cubicBezTo>
                    <a:pt x="469678" y="670560"/>
                    <a:pt x="485013" y="651224"/>
                    <a:pt x="484442" y="633794"/>
                  </a:cubicBezTo>
                  <a:cubicBezTo>
                    <a:pt x="483585" y="607886"/>
                    <a:pt x="484061" y="581882"/>
                    <a:pt x="484442" y="555974"/>
                  </a:cubicBezTo>
                  <a:cubicBezTo>
                    <a:pt x="484728" y="535019"/>
                    <a:pt x="469678" y="519970"/>
                    <a:pt x="448723" y="520256"/>
                  </a:cubicBezTo>
                  <a:cubicBezTo>
                    <a:pt x="424149" y="520541"/>
                    <a:pt x="399574" y="520827"/>
                    <a:pt x="375095" y="520351"/>
                  </a:cubicBezTo>
                  <a:cubicBezTo>
                    <a:pt x="349568" y="519875"/>
                    <a:pt x="336233" y="531971"/>
                    <a:pt x="336042" y="557308"/>
                  </a:cubicBezTo>
                  <a:cubicBezTo>
                    <a:pt x="335947" y="582930"/>
                    <a:pt x="336042" y="608457"/>
                    <a:pt x="336042" y="634079"/>
                  </a:cubicBezTo>
                  <a:cubicBezTo>
                    <a:pt x="336138" y="656177"/>
                    <a:pt x="348806" y="668750"/>
                    <a:pt x="370618" y="668750"/>
                  </a:cubicBezTo>
                  <a:cubicBezTo>
                    <a:pt x="383763" y="668750"/>
                    <a:pt x="396907" y="668750"/>
                    <a:pt x="410052" y="668750"/>
                  </a:cubicBezTo>
                  <a:close/>
                  <a:moveTo>
                    <a:pt x="335947" y="834961"/>
                  </a:moveTo>
                  <a:lnTo>
                    <a:pt x="335947" y="834961"/>
                  </a:lnTo>
                  <a:cubicBezTo>
                    <a:pt x="335947" y="847725"/>
                    <a:pt x="335947" y="860489"/>
                    <a:pt x="335947" y="873347"/>
                  </a:cubicBezTo>
                  <a:cubicBezTo>
                    <a:pt x="335947" y="894874"/>
                    <a:pt x="348044" y="907542"/>
                    <a:pt x="369570" y="907733"/>
                  </a:cubicBezTo>
                  <a:cubicBezTo>
                    <a:pt x="394812" y="908018"/>
                    <a:pt x="420053" y="907542"/>
                    <a:pt x="445199" y="908304"/>
                  </a:cubicBezTo>
                  <a:cubicBezTo>
                    <a:pt x="469488" y="909066"/>
                    <a:pt x="483966" y="896493"/>
                    <a:pt x="484251" y="872395"/>
                  </a:cubicBezTo>
                  <a:cubicBezTo>
                    <a:pt x="484537" y="846106"/>
                    <a:pt x="484442" y="819912"/>
                    <a:pt x="484251" y="793623"/>
                  </a:cubicBezTo>
                  <a:cubicBezTo>
                    <a:pt x="484061" y="774287"/>
                    <a:pt x="471107" y="761048"/>
                    <a:pt x="451962" y="760857"/>
                  </a:cubicBezTo>
                  <a:cubicBezTo>
                    <a:pt x="423958" y="760667"/>
                    <a:pt x="395955" y="760667"/>
                    <a:pt x="368046" y="760857"/>
                  </a:cubicBezTo>
                  <a:cubicBezTo>
                    <a:pt x="348520" y="761048"/>
                    <a:pt x="336233" y="773811"/>
                    <a:pt x="336042" y="793433"/>
                  </a:cubicBezTo>
                  <a:cubicBezTo>
                    <a:pt x="336042" y="807244"/>
                    <a:pt x="336042" y="821055"/>
                    <a:pt x="336042" y="834866"/>
                  </a:cubicBezTo>
                  <a:close/>
                  <a:moveTo>
                    <a:pt x="243840" y="595789"/>
                  </a:moveTo>
                  <a:cubicBezTo>
                    <a:pt x="243840" y="595789"/>
                    <a:pt x="243840" y="595789"/>
                    <a:pt x="243840" y="595789"/>
                  </a:cubicBezTo>
                  <a:cubicBezTo>
                    <a:pt x="243840" y="579882"/>
                    <a:pt x="244412" y="563975"/>
                    <a:pt x="243650" y="548164"/>
                  </a:cubicBezTo>
                  <a:cubicBezTo>
                    <a:pt x="242983" y="533305"/>
                    <a:pt x="228886" y="520446"/>
                    <a:pt x="214027" y="520351"/>
                  </a:cubicBezTo>
                  <a:cubicBezTo>
                    <a:pt x="186024" y="520160"/>
                    <a:pt x="158115" y="519970"/>
                    <a:pt x="130112" y="520351"/>
                  </a:cubicBezTo>
                  <a:cubicBezTo>
                    <a:pt x="116396" y="520541"/>
                    <a:pt x="100775" y="528352"/>
                    <a:pt x="98584" y="544735"/>
                  </a:cubicBezTo>
                  <a:cubicBezTo>
                    <a:pt x="97632" y="552164"/>
                    <a:pt x="97155" y="559784"/>
                    <a:pt x="97060" y="567309"/>
                  </a:cubicBezTo>
                  <a:cubicBezTo>
                    <a:pt x="96870" y="589788"/>
                    <a:pt x="96584" y="612267"/>
                    <a:pt x="97060" y="634651"/>
                  </a:cubicBezTo>
                  <a:cubicBezTo>
                    <a:pt x="97441" y="655034"/>
                    <a:pt x="109538" y="668655"/>
                    <a:pt x="127064" y="668750"/>
                  </a:cubicBezTo>
                  <a:cubicBezTo>
                    <a:pt x="156115" y="668941"/>
                    <a:pt x="185071" y="668846"/>
                    <a:pt x="214122" y="668560"/>
                  </a:cubicBezTo>
                  <a:cubicBezTo>
                    <a:pt x="230886" y="668369"/>
                    <a:pt x="243269" y="656273"/>
                    <a:pt x="243840" y="639318"/>
                  </a:cubicBezTo>
                  <a:cubicBezTo>
                    <a:pt x="244317" y="624840"/>
                    <a:pt x="243936" y="610267"/>
                    <a:pt x="243936" y="595789"/>
                  </a:cubicBezTo>
                  <a:close/>
                  <a:moveTo>
                    <a:pt x="411290" y="281940"/>
                  </a:moveTo>
                  <a:cubicBezTo>
                    <a:pt x="411290" y="281940"/>
                    <a:pt x="411290" y="281940"/>
                    <a:pt x="411290" y="281940"/>
                  </a:cubicBezTo>
                  <a:cubicBezTo>
                    <a:pt x="396050" y="281940"/>
                    <a:pt x="380810" y="281369"/>
                    <a:pt x="365665" y="282131"/>
                  </a:cubicBezTo>
                  <a:cubicBezTo>
                    <a:pt x="347949" y="282988"/>
                    <a:pt x="336709" y="294037"/>
                    <a:pt x="336328" y="311658"/>
                  </a:cubicBezTo>
                  <a:cubicBezTo>
                    <a:pt x="335757" y="341757"/>
                    <a:pt x="336233" y="371856"/>
                    <a:pt x="336519" y="401955"/>
                  </a:cubicBezTo>
                  <a:cubicBezTo>
                    <a:pt x="336519" y="405479"/>
                    <a:pt x="338138" y="409289"/>
                    <a:pt x="339852" y="412528"/>
                  </a:cubicBezTo>
                  <a:cubicBezTo>
                    <a:pt x="346329" y="425196"/>
                    <a:pt x="357664" y="428625"/>
                    <a:pt x="370999" y="428625"/>
                  </a:cubicBezTo>
                  <a:cubicBezTo>
                    <a:pt x="396621" y="428625"/>
                    <a:pt x="422148" y="429101"/>
                    <a:pt x="447771" y="428911"/>
                  </a:cubicBezTo>
                  <a:cubicBezTo>
                    <a:pt x="467011" y="428816"/>
                    <a:pt x="481870" y="419767"/>
                    <a:pt x="482537" y="404717"/>
                  </a:cubicBezTo>
                  <a:cubicBezTo>
                    <a:pt x="483966" y="372332"/>
                    <a:pt x="484061" y="339757"/>
                    <a:pt x="482537" y="307277"/>
                  </a:cubicBezTo>
                  <a:cubicBezTo>
                    <a:pt x="481775" y="290513"/>
                    <a:pt x="469678" y="282035"/>
                    <a:pt x="452724" y="281845"/>
                  </a:cubicBezTo>
                  <a:cubicBezTo>
                    <a:pt x="438912" y="281654"/>
                    <a:pt x="425006" y="281845"/>
                    <a:pt x="411195" y="281845"/>
                  </a:cubicBezTo>
                  <a:close/>
                  <a:moveTo>
                    <a:pt x="244031" y="834581"/>
                  </a:moveTo>
                  <a:lnTo>
                    <a:pt x="243936" y="834581"/>
                  </a:lnTo>
                  <a:cubicBezTo>
                    <a:pt x="243936" y="820769"/>
                    <a:pt x="243936" y="806958"/>
                    <a:pt x="243936" y="793052"/>
                  </a:cubicBezTo>
                  <a:cubicBezTo>
                    <a:pt x="243936" y="773049"/>
                    <a:pt x="232029" y="760952"/>
                    <a:pt x="212027" y="760762"/>
                  </a:cubicBezTo>
                  <a:cubicBezTo>
                    <a:pt x="185071" y="760571"/>
                    <a:pt x="158115" y="760667"/>
                    <a:pt x="131160" y="760762"/>
                  </a:cubicBezTo>
                  <a:cubicBezTo>
                    <a:pt x="109538" y="760762"/>
                    <a:pt x="97346" y="771906"/>
                    <a:pt x="96870" y="793528"/>
                  </a:cubicBezTo>
                  <a:cubicBezTo>
                    <a:pt x="96298" y="821531"/>
                    <a:pt x="96393" y="849535"/>
                    <a:pt x="97060" y="877538"/>
                  </a:cubicBezTo>
                  <a:cubicBezTo>
                    <a:pt x="97441" y="894779"/>
                    <a:pt x="107347" y="906399"/>
                    <a:pt x="124206" y="907066"/>
                  </a:cubicBezTo>
                  <a:cubicBezTo>
                    <a:pt x="154877" y="908304"/>
                    <a:pt x="185738" y="908495"/>
                    <a:pt x="216408" y="907256"/>
                  </a:cubicBezTo>
                  <a:cubicBezTo>
                    <a:pt x="235268" y="906494"/>
                    <a:pt x="244031" y="894493"/>
                    <a:pt x="244031" y="875157"/>
                  </a:cubicBezTo>
                  <a:cubicBezTo>
                    <a:pt x="244031" y="861632"/>
                    <a:pt x="244031" y="848201"/>
                    <a:pt x="244031" y="834676"/>
                  </a:cubicBezTo>
                  <a:close/>
                  <a:moveTo>
                    <a:pt x="171165" y="281940"/>
                  </a:moveTo>
                  <a:cubicBezTo>
                    <a:pt x="171165" y="281940"/>
                    <a:pt x="171165" y="281940"/>
                    <a:pt x="171165" y="281940"/>
                  </a:cubicBezTo>
                  <a:cubicBezTo>
                    <a:pt x="156972" y="281940"/>
                    <a:pt x="142780" y="282607"/>
                    <a:pt x="128683" y="281750"/>
                  </a:cubicBezTo>
                  <a:cubicBezTo>
                    <a:pt x="113824" y="280797"/>
                    <a:pt x="98013" y="293084"/>
                    <a:pt x="97917" y="307562"/>
                  </a:cubicBezTo>
                  <a:cubicBezTo>
                    <a:pt x="97727" y="339662"/>
                    <a:pt x="96870" y="371761"/>
                    <a:pt x="98203" y="403765"/>
                  </a:cubicBezTo>
                  <a:cubicBezTo>
                    <a:pt x="98870" y="419957"/>
                    <a:pt x="112395" y="429101"/>
                    <a:pt x="129445" y="428911"/>
                  </a:cubicBezTo>
                  <a:cubicBezTo>
                    <a:pt x="144685" y="428720"/>
                    <a:pt x="159830" y="428625"/>
                    <a:pt x="175070" y="428530"/>
                  </a:cubicBezTo>
                  <a:cubicBezTo>
                    <a:pt x="187833" y="428530"/>
                    <a:pt x="200692" y="428911"/>
                    <a:pt x="213456" y="428530"/>
                  </a:cubicBezTo>
                  <a:cubicBezTo>
                    <a:pt x="232696" y="427863"/>
                    <a:pt x="243555" y="416909"/>
                    <a:pt x="243840" y="397859"/>
                  </a:cubicBezTo>
                  <a:cubicBezTo>
                    <a:pt x="244221" y="369570"/>
                    <a:pt x="244221" y="341186"/>
                    <a:pt x="243840" y="312896"/>
                  </a:cubicBezTo>
                  <a:cubicBezTo>
                    <a:pt x="243555" y="293084"/>
                    <a:pt x="232601" y="282607"/>
                    <a:pt x="212694" y="282131"/>
                  </a:cubicBezTo>
                  <a:cubicBezTo>
                    <a:pt x="198882" y="281845"/>
                    <a:pt x="185071" y="282131"/>
                    <a:pt x="171260" y="28213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A2E0FEA-57B1-F71E-39BC-1B947B713ADA}"/>
                </a:ext>
              </a:extLst>
            </p:cNvPr>
            <p:cNvSpPr/>
            <p:nvPr/>
          </p:nvSpPr>
          <p:spPr>
            <a:xfrm>
              <a:off x="14217491" y="1983091"/>
              <a:ext cx="579797" cy="1189577"/>
            </a:xfrm>
            <a:custGeom>
              <a:avLst/>
              <a:gdLst>
                <a:gd name="connsiteX0" fmla="*/ 0 w 579797"/>
                <a:gd name="connsiteY0" fmla="*/ 585407 h 1189577"/>
                <a:gd name="connsiteX1" fmla="*/ 0 w 579797"/>
                <a:gd name="connsiteY1" fmla="*/ 16288 h 1189577"/>
                <a:gd name="connsiteX2" fmla="*/ 16574 w 579797"/>
                <a:gd name="connsiteY2" fmla="*/ 0 h 1189577"/>
                <a:gd name="connsiteX3" fmla="*/ 533591 w 579797"/>
                <a:gd name="connsiteY3" fmla="*/ 0 h 1189577"/>
                <a:gd name="connsiteX4" fmla="*/ 579596 w 579797"/>
                <a:gd name="connsiteY4" fmla="*/ 47625 h 1189577"/>
                <a:gd name="connsiteX5" fmla="*/ 579311 w 579797"/>
                <a:gd name="connsiteY5" fmla="*/ 979170 h 1189577"/>
                <a:gd name="connsiteX6" fmla="*/ 579787 w 579797"/>
                <a:gd name="connsiteY6" fmla="*/ 1144238 h 1189577"/>
                <a:gd name="connsiteX7" fmla="*/ 534162 w 579797"/>
                <a:gd name="connsiteY7" fmla="*/ 1189577 h 1189577"/>
                <a:gd name="connsiteX8" fmla="*/ 31718 w 579797"/>
                <a:gd name="connsiteY8" fmla="*/ 1189196 h 1189577"/>
                <a:gd name="connsiteX9" fmla="*/ 286 w 579797"/>
                <a:gd name="connsiteY9" fmla="*/ 1160621 h 1189577"/>
                <a:gd name="connsiteX10" fmla="*/ 0 w 579797"/>
                <a:gd name="connsiteY10" fmla="*/ 1153382 h 1189577"/>
                <a:gd name="connsiteX11" fmla="*/ 0 w 579797"/>
                <a:gd name="connsiteY11" fmla="*/ 585311 h 1189577"/>
                <a:gd name="connsiteX12" fmla="*/ 0 w 579797"/>
                <a:gd name="connsiteY12" fmla="*/ 585311 h 1189577"/>
                <a:gd name="connsiteX13" fmla="*/ 169259 w 579797"/>
                <a:gd name="connsiteY13" fmla="*/ 668655 h 1189577"/>
                <a:gd name="connsiteX14" fmla="*/ 210788 w 579797"/>
                <a:gd name="connsiteY14" fmla="*/ 668655 h 1189577"/>
                <a:gd name="connsiteX15" fmla="*/ 243554 w 579797"/>
                <a:gd name="connsiteY15" fmla="*/ 637508 h 1189577"/>
                <a:gd name="connsiteX16" fmla="*/ 243554 w 579797"/>
                <a:gd name="connsiteY16" fmla="*/ 551307 h 1189577"/>
                <a:gd name="connsiteX17" fmla="*/ 210407 w 579797"/>
                <a:gd name="connsiteY17" fmla="*/ 519875 h 1189577"/>
                <a:gd name="connsiteX18" fmla="*/ 128397 w 579797"/>
                <a:gd name="connsiteY18" fmla="*/ 519970 h 1189577"/>
                <a:gd name="connsiteX19" fmla="*/ 95250 w 579797"/>
                <a:gd name="connsiteY19" fmla="*/ 553212 h 1189577"/>
                <a:gd name="connsiteX20" fmla="*/ 95250 w 579797"/>
                <a:gd name="connsiteY20" fmla="*/ 633127 h 1189577"/>
                <a:gd name="connsiteX21" fmla="*/ 129731 w 579797"/>
                <a:gd name="connsiteY21" fmla="*/ 668655 h 1189577"/>
                <a:gd name="connsiteX22" fmla="*/ 169164 w 579797"/>
                <a:gd name="connsiteY22" fmla="*/ 668465 h 1189577"/>
                <a:gd name="connsiteX23" fmla="*/ 171164 w 579797"/>
                <a:gd name="connsiteY23" fmla="*/ 760762 h 1189577"/>
                <a:gd name="connsiteX24" fmla="*/ 171164 w 579797"/>
                <a:gd name="connsiteY24" fmla="*/ 760762 h 1189577"/>
                <a:gd name="connsiteX25" fmla="*/ 126492 w 579797"/>
                <a:gd name="connsiteY25" fmla="*/ 760571 h 1189577"/>
                <a:gd name="connsiteX26" fmla="*/ 96012 w 579797"/>
                <a:gd name="connsiteY26" fmla="*/ 788575 h 1189577"/>
                <a:gd name="connsiteX27" fmla="*/ 96298 w 579797"/>
                <a:gd name="connsiteY27" fmla="*/ 878872 h 1189577"/>
                <a:gd name="connsiteX28" fmla="*/ 128016 w 579797"/>
                <a:gd name="connsiteY28" fmla="*/ 908113 h 1189577"/>
                <a:gd name="connsiteX29" fmla="*/ 214122 w 579797"/>
                <a:gd name="connsiteY29" fmla="*/ 907447 h 1189577"/>
                <a:gd name="connsiteX30" fmla="*/ 243650 w 579797"/>
                <a:gd name="connsiteY30" fmla="*/ 878396 h 1189577"/>
                <a:gd name="connsiteX31" fmla="*/ 243650 w 579797"/>
                <a:gd name="connsiteY31" fmla="*/ 790099 h 1189577"/>
                <a:gd name="connsiteX32" fmla="*/ 214694 w 579797"/>
                <a:gd name="connsiteY32" fmla="*/ 760762 h 1189577"/>
                <a:gd name="connsiteX33" fmla="*/ 171069 w 579797"/>
                <a:gd name="connsiteY33" fmla="*/ 760762 h 1189577"/>
                <a:gd name="connsiteX34" fmla="*/ 335756 w 579797"/>
                <a:gd name="connsiteY34" fmla="*/ 594836 h 1189577"/>
                <a:gd name="connsiteX35" fmla="*/ 335947 w 579797"/>
                <a:gd name="connsiteY35" fmla="*/ 594836 h 1189577"/>
                <a:gd name="connsiteX36" fmla="*/ 335947 w 579797"/>
                <a:gd name="connsiteY36" fmla="*/ 638366 h 1189577"/>
                <a:gd name="connsiteX37" fmla="*/ 366903 w 579797"/>
                <a:gd name="connsiteY37" fmla="*/ 668465 h 1189577"/>
                <a:gd name="connsiteX38" fmla="*/ 445675 w 579797"/>
                <a:gd name="connsiteY38" fmla="*/ 668465 h 1189577"/>
                <a:gd name="connsiteX39" fmla="*/ 482918 w 579797"/>
                <a:gd name="connsiteY39" fmla="*/ 632174 h 1189577"/>
                <a:gd name="connsiteX40" fmla="*/ 483013 w 579797"/>
                <a:gd name="connsiteY40" fmla="*/ 554450 h 1189577"/>
                <a:gd name="connsiteX41" fmla="*/ 447389 w 579797"/>
                <a:gd name="connsiteY41" fmla="*/ 520065 h 1189577"/>
                <a:gd name="connsiteX42" fmla="*/ 369665 w 579797"/>
                <a:gd name="connsiteY42" fmla="*/ 520160 h 1189577"/>
                <a:gd name="connsiteX43" fmla="*/ 335756 w 579797"/>
                <a:gd name="connsiteY43" fmla="*/ 552259 h 1189577"/>
                <a:gd name="connsiteX44" fmla="*/ 335756 w 579797"/>
                <a:gd name="connsiteY44" fmla="*/ 594741 h 1189577"/>
                <a:gd name="connsiteX45" fmla="*/ 169354 w 579797"/>
                <a:gd name="connsiteY45" fmla="*/ 282416 h 1189577"/>
                <a:gd name="connsiteX46" fmla="*/ 169354 w 579797"/>
                <a:gd name="connsiteY46" fmla="*/ 281654 h 1189577"/>
                <a:gd name="connsiteX47" fmla="*/ 150686 w 579797"/>
                <a:gd name="connsiteY47" fmla="*/ 281654 h 1189577"/>
                <a:gd name="connsiteX48" fmla="*/ 130969 w 579797"/>
                <a:gd name="connsiteY48" fmla="*/ 281654 h 1189577"/>
                <a:gd name="connsiteX49" fmla="*/ 95917 w 579797"/>
                <a:gd name="connsiteY49" fmla="*/ 313468 h 1189577"/>
                <a:gd name="connsiteX50" fmla="*/ 96679 w 579797"/>
                <a:gd name="connsiteY50" fmla="*/ 401669 h 1189577"/>
                <a:gd name="connsiteX51" fmla="*/ 120777 w 579797"/>
                <a:gd name="connsiteY51" fmla="*/ 427292 h 1189577"/>
                <a:gd name="connsiteX52" fmla="*/ 147638 w 579797"/>
                <a:gd name="connsiteY52" fmla="*/ 428244 h 1189577"/>
                <a:gd name="connsiteX53" fmla="*/ 220123 w 579797"/>
                <a:gd name="connsiteY53" fmla="*/ 426911 h 1189577"/>
                <a:gd name="connsiteX54" fmla="*/ 242888 w 579797"/>
                <a:gd name="connsiteY54" fmla="*/ 404813 h 1189577"/>
                <a:gd name="connsiteX55" fmla="*/ 242697 w 579797"/>
                <a:gd name="connsiteY55" fmla="*/ 305181 h 1189577"/>
                <a:gd name="connsiteX56" fmla="*/ 219170 w 579797"/>
                <a:gd name="connsiteY56" fmla="*/ 282607 h 1189577"/>
                <a:gd name="connsiteX57" fmla="*/ 169450 w 579797"/>
                <a:gd name="connsiteY57" fmla="*/ 282416 h 1189577"/>
                <a:gd name="connsiteX58" fmla="*/ 335756 w 579797"/>
                <a:gd name="connsiteY58" fmla="*/ 833152 h 1189577"/>
                <a:gd name="connsiteX59" fmla="*/ 335756 w 579797"/>
                <a:gd name="connsiteY59" fmla="*/ 833152 h 1189577"/>
                <a:gd name="connsiteX60" fmla="*/ 335756 w 579797"/>
                <a:gd name="connsiteY60" fmla="*/ 874681 h 1189577"/>
                <a:gd name="connsiteX61" fmla="*/ 365189 w 579797"/>
                <a:gd name="connsiteY61" fmla="*/ 907447 h 1189577"/>
                <a:gd name="connsiteX62" fmla="*/ 454343 w 579797"/>
                <a:gd name="connsiteY62" fmla="*/ 907161 h 1189577"/>
                <a:gd name="connsiteX63" fmla="*/ 482632 w 579797"/>
                <a:gd name="connsiteY63" fmla="*/ 878681 h 1189577"/>
                <a:gd name="connsiteX64" fmla="*/ 482632 w 579797"/>
                <a:gd name="connsiteY64" fmla="*/ 790575 h 1189577"/>
                <a:gd name="connsiteX65" fmla="*/ 452057 w 579797"/>
                <a:gd name="connsiteY65" fmla="*/ 760762 h 1189577"/>
                <a:gd name="connsiteX66" fmla="*/ 365951 w 579797"/>
                <a:gd name="connsiteY66" fmla="*/ 760762 h 1189577"/>
                <a:gd name="connsiteX67" fmla="*/ 335852 w 579797"/>
                <a:gd name="connsiteY67" fmla="*/ 791718 h 1189577"/>
                <a:gd name="connsiteX68" fmla="*/ 335852 w 579797"/>
                <a:gd name="connsiteY68" fmla="*/ 833247 h 1189577"/>
                <a:gd name="connsiteX69" fmla="*/ 410147 w 579797"/>
                <a:gd name="connsiteY69" fmla="*/ 281750 h 1189577"/>
                <a:gd name="connsiteX70" fmla="*/ 368713 w 579797"/>
                <a:gd name="connsiteY70" fmla="*/ 281750 h 1189577"/>
                <a:gd name="connsiteX71" fmla="*/ 335852 w 579797"/>
                <a:gd name="connsiteY71" fmla="*/ 315087 h 1189577"/>
                <a:gd name="connsiteX72" fmla="*/ 335566 w 579797"/>
                <a:gd name="connsiteY72" fmla="*/ 392811 h 1189577"/>
                <a:gd name="connsiteX73" fmla="*/ 372047 w 579797"/>
                <a:gd name="connsiteY73" fmla="*/ 428530 h 1189577"/>
                <a:gd name="connsiteX74" fmla="*/ 447675 w 579797"/>
                <a:gd name="connsiteY74" fmla="*/ 428530 h 1189577"/>
                <a:gd name="connsiteX75" fmla="*/ 482537 w 579797"/>
                <a:gd name="connsiteY75" fmla="*/ 397955 h 1189577"/>
                <a:gd name="connsiteX76" fmla="*/ 482727 w 579797"/>
                <a:gd name="connsiteY76" fmla="*/ 314039 h 1189577"/>
                <a:gd name="connsiteX77" fmla="*/ 447389 w 579797"/>
                <a:gd name="connsiteY77" fmla="*/ 281654 h 1189577"/>
                <a:gd name="connsiteX78" fmla="*/ 410051 w 579797"/>
                <a:gd name="connsiteY78" fmla="*/ 281654 h 1189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579797" h="1189577">
                  <a:moveTo>
                    <a:pt x="0" y="585407"/>
                  </a:moveTo>
                  <a:cubicBezTo>
                    <a:pt x="0" y="395669"/>
                    <a:pt x="0" y="206026"/>
                    <a:pt x="0" y="16288"/>
                  </a:cubicBezTo>
                  <a:cubicBezTo>
                    <a:pt x="0" y="952"/>
                    <a:pt x="762" y="0"/>
                    <a:pt x="16574" y="0"/>
                  </a:cubicBezTo>
                  <a:cubicBezTo>
                    <a:pt x="188881" y="0"/>
                    <a:pt x="361283" y="0"/>
                    <a:pt x="533591" y="0"/>
                  </a:cubicBezTo>
                  <a:cubicBezTo>
                    <a:pt x="560737" y="0"/>
                    <a:pt x="579692" y="16288"/>
                    <a:pt x="579596" y="47625"/>
                  </a:cubicBezTo>
                  <a:cubicBezTo>
                    <a:pt x="579120" y="358140"/>
                    <a:pt x="579311" y="668655"/>
                    <a:pt x="579311" y="979170"/>
                  </a:cubicBezTo>
                  <a:cubicBezTo>
                    <a:pt x="579311" y="1034225"/>
                    <a:pt x="578358" y="1089279"/>
                    <a:pt x="579787" y="1144238"/>
                  </a:cubicBezTo>
                  <a:cubicBezTo>
                    <a:pt x="580358" y="1168337"/>
                    <a:pt x="558737" y="1189673"/>
                    <a:pt x="534162" y="1189577"/>
                  </a:cubicBezTo>
                  <a:cubicBezTo>
                    <a:pt x="366713" y="1188911"/>
                    <a:pt x="199168" y="1189196"/>
                    <a:pt x="31718" y="1189196"/>
                  </a:cubicBezTo>
                  <a:cubicBezTo>
                    <a:pt x="11335" y="1189196"/>
                    <a:pt x="2477" y="1181195"/>
                    <a:pt x="286" y="1160621"/>
                  </a:cubicBezTo>
                  <a:cubicBezTo>
                    <a:pt x="0" y="1158240"/>
                    <a:pt x="0" y="1155764"/>
                    <a:pt x="0" y="1153382"/>
                  </a:cubicBezTo>
                  <a:cubicBezTo>
                    <a:pt x="0" y="964025"/>
                    <a:pt x="0" y="774668"/>
                    <a:pt x="0" y="585311"/>
                  </a:cubicBezTo>
                  <a:lnTo>
                    <a:pt x="0" y="585311"/>
                  </a:lnTo>
                  <a:close/>
                  <a:moveTo>
                    <a:pt x="169259" y="668655"/>
                  </a:moveTo>
                  <a:cubicBezTo>
                    <a:pt x="183071" y="668655"/>
                    <a:pt x="196977" y="668655"/>
                    <a:pt x="210788" y="668655"/>
                  </a:cubicBezTo>
                  <a:cubicBezTo>
                    <a:pt x="229648" y="668655"/>
                    <a:pt x="243269" y="656177"/>
                    <a:pt x="243554" y="637508"/>
                  </a:cubicBezTo>
                  <a:cubicBezTo>
                    <a:pt x="243935" y="608838"/>
                    <a:pt x="243935" y="580072"/>
                    <a:pt x="243554" y="551307"/>
                  </a:cubicBezTo>
                  <a:cubicBezTo>
                    <a:pt x="243269" y="533400"/>
                    <a:pt x="228505" y="519875"/>
                    <a:pt x="210407" y="519875"/>
                  </a:cubicBezTo>
                  <a:cubicBezTo>
                    <a:pt x="183071" y="519875"/>
                    <a:pt x="155734" y="519875"/>
                    <a:pt x="128397" y="519970"/>
                  </a:cubicBezTo>
                  <a:cubicBezTo>
                    <a:pt x="110681" y="519970"/>
                    <a:pt x="95250" y="535496"/>
                    <a:pt x="95250" y="553212"/>
                  </a:cubicBezTo>
                  <a:cubicBezTo>
                    <a:pt x="95250" y="579882"/>
                    <a:pt x="96107" y="606552"/>
                    <a:pt x="95250" y="633127"/>
                  </a:cubicBezTo>
                  <a:cubicBezTo>
                    <a:pt x="94679" y="651224"/>
                    <a:pt x="109919" y="670084"/>
                    <a:pt x="129731" y="668655"/>
                  </a:cubicBezTo>
                  <a:cubicBezTo>
                    <a:pt x="142780" y="667703"/>
                    <a:pt x="156020" y="668465"/>
                    <a:pt x="169164" y="668465"/>
                  </a:cubicBezTo>
                  <a:close/>
                  <a:moveTo>
                    <a:pt x="171164" y="760762"/>
                  </a:moveTo>
                  <a:lnTo>
                    <a:pt x="171164" y="760762"/>
                  </a:lnTo>
                  <a:cubicBezTo>
                    <a:pt x="156305" y="760667"/>
                    <a:pt x="141446" y="760762"/>
                    <a:pt x="126492" y="760571"/>
                  </a:cubicBezTo>
                  <a:cubicBezTo>
                    <a:pt x="108204" y="760381"/>
                    <a:pt x="96679" y="774287"/>
                    <a:pt x="96012" y="788575"/>
                  </a:cubicBezTo>
                  <a:cubicBezTo>
                    <a:pt x="94583" y="818579"/>
                    <a:pt x="95060" y="848773"/>
                    <a:pt x="96298" y="878872"/>
                  </a:cubicBezTo>
                  <a:cubicBezTo>
                    <a:pt x="96965" y="896207"/>
                    <a:pt x="110681" y="907923"/>
                    <a:pt x="128016" y="908113"/>
                  </a:cubicBezTo>
                  <a:cubicBezTo>
                    <a:pt x="156686" y="908304"/>
                    <a:pt x="185452" y="908113"/>
                    <a:pt x="214122" y="907447"/>
                  </a:cubicBezTo>
                  <a:cubicBezTo>
                    <a:pt x="230219" y="907066"/>
                    <a:pt x="243554" y="893826"/>
                    <a:pt x="243650" y="878396"/>
                  </a:cubicBezTo>
                  <a:cubicBezTo>
                    <a:pt x="243935" y="848963"/>
                    <a:pt x="243935" y="819531"/>
                    <a:pt x="243650" y="790099"/>
                  </a:cubicBezTo>
                  <a:cubicBezTo>
                    <a:pt x="243459" y="774192"/>
                    <a:pt x="230505" y="761143"/>
                    <a:pt x="214694" y="760762"/>
                  </a:cubicBezTo>
                  <a:cubicBezTo>
                    <a:pt x="200216" y="760381"/>
                    <a:pt x="185642" y="760762"/>
                    <a:pt x="171069" y="760762"/>
                  </a:cubicBezTo>
                  <a:close/>
                  <a:moveTo>
                    <a:pt x="335756" y="594836"/>
                  </a:moveTo>
                  <a:cubicBezTo>
                    <a:pt x="335756" y="594836"/>
                    <a:pt x="335852" y="594836"/>
                    <a:pt x="335947" y="594836"/>
                  </a:cubicBezTo>
                  <a:cubicBezTo>
                    <a:pt x="335947" y="609314"/>
                    <a:pt x="335566" y="623888"/>
                    <a:pt x="335947" y="638366"/>
                  </a:cubicBezTo>
                  <a:cubicBezTo>
                    <a:pt x="336518" y="656463"/>
                    <a:pt x="348806" y="668369"/>
                    <a:pt x="366903" y="668465"/>
                  </a:cubicBezTo>
                  <a:cubicBezTo>
                    <a:pt x="393192" y="668655"/>
                    <a:pt x="419386" y="668465"/>
                    <a:pt x="445675" y="668465"/>
                  </a:cubicBezTo>
                  <a:cubicBezTo>
                    <a:pt x="470821" y="668465"/>
                    <a:pt x="482632" y="657130"/>
                    <a:pt x="482918" y="632174"/>
                  </a:cubicBezTo>
                  <a:cubicBezTo>
                    <a:pt x="483203" y="606266"/>
                    <a:pt x="483203" y="580358"/>
                    <a:pt x="483013" y="554450"/>
                  </a:cubicBezTo>
                  <a:cubicBezTo>
                    <a:pt x="482822" y="533019"/>
                    <a:pt x="468821" y="519875"/>
                    <a:pt x="447389" y="520065"/>
                  </a:cubicBezTo>
                  <a:cubicBezTo>
                    <a:pt x="421481" y="520351"/>
                    <a:pt x="395573" y="520351"/>
                    <a:pt x="369665" y="520160"/>
                  </a:cubicBezTo>
                  <a:cubicBezTo>
                    <a:pt x="349758" y="520065"/>
                    <a:pt x="336233" y="532447"/>
                    <a:pt x="335756" y="552259"/>
                  </a:cubicBezTo>
                  <a:cubicBezTo>
                    <a:pt x="335375" y="566452"/>
                    <a:pt x="335756" y="580549"/>
                    <a:pt x="335756" y="594741"/>
                  </a:cubicBezTo>
                  <a:close/>
                  <a:moveTo>
                    <a:pt x="169354" y="282416"/>
                  </a:moveTo>
                  <a:cubicBezTo>
                    <a:pt x="169354" y="282416"/>
                    <a:pt x="169354" y="281940"/>
                    <a:pt x="169354" y="281654"/>
                  </a:cubicBezTo>
                  <a:cubicBezTo>
                    <a:pt x="163163" y="281654"/>
                    <a:pt x="156877" y="281654"/>
                    <a:pt x="150686" y="281654"/>
                  </a:cubicBezTo>
                  <a:cubicBezTo>
                    <a:pt x="144113" y="281654"/>
                    <a:pt x="137541" y="282226"/>
                    <a:pt x="130969" y="281654"/>
                  </a:cubicBezTo>
                  <a:cubicBezTo>
                    <a:pt x="108204" y="279749"/>
                    <a:pt x="96488" y="294132"/>
                    <a:pt x="95917" y="313468"/>
                  </a:cubicBezTo>
                  <a:cubicBezTo>
                    <a:pt x="94964" y="342805"/>
                    <a:pt x="95631" y="372237"/>
                    <a:pt x="96679" y="401669"/>
                  </a:cubicBezTo>
                  <a:cubicBezTo>
                    <a:pt x="97155" y="415385"/>
                    <a:pt x="107347" y="425482"/>
                    <a:pt x="120777" y="427292"/>
                  </a:cubicBezTo>
                  <a:cubicBezTo>
                    <a:pt x="129635" y="428435"/>
                    <a:pt x="138684" y="428339"/>
                    <a:pt x="147638" y="428244"/>
                  </a:cubicBezTo>
                  <a:cubicBezTo>
                    <a:pt x="171831" y="428054"/>
                    <a:pt x="196025" y="427958"/>
                    <a:pt x="220123" y="426911"/>
                  </a:cubicBezTo>
                  <a:cubicBezTo>
                    <a:pt x="230791" y="426434"/>
                    <a:pt x="242697" y="415100"/>
                    <a:pt x="242888" y="404813"/>
                  </a:cubicBezTo>
                  <a:cubicBezTo>
                    <a:pt x="243459" y="371570"/>
                    <a:pt x="243459" y="338423"/>
                    <a:pt x="242697" y="305181"/>
                  </a:cubicBezTo>
                  <a:cubicBezTo>
                    <a:pt x="242411" y="294132"/>
                    <a:pt x="230315" y="283083"/>
                    <a:pt x="219170" y="282607"/>
                  </a:cubicBezTo>
                  <a:cubicBezTo>
                    <a:pt x="202597" y="281845"/>
                    <a:pt x="186023" y="282416"/>
                    <a:pt x="169450" y="282416"/>
                  </a:cubicBezTo>
                  <a:close/>
                  <a:moveTo>
                    <a:pt x="335756" y="833152"/>
                  </a:moveTo>
                  <a:lnTo>
                    <a:pt x="335756" y="833152"/>
                  </a:lnTo>
                  <a:cubicBezTo>
                    <a:pt x="335756" y="846963"/>
                    <a:pt x="335756" y="860774"/>
                    <a:pt x="335756" y="874681"/>
                  </a:cubicBezTo>
                  <a:cubicBezTo>
                    <a:pt x="335756" y="894874"/>
                    <a:pt x="345186" y="906685"/>
                    <a:pt x="365189" y="907447"/>
                  </a:cubicBezTo>
                  <a:cubicBezTo>
                    <a:pt x="394907" y="908495"/>
                    <a:pt x="424625" y="908304"/>
                    <a:pt x="454343" y="907161"/>
                  </a:cubicBezTo>
                  <a:cubicBezTo>
                    <a:pt x="471678" y="906494"/>
                    <a:pt x="482060" y="895922"/>
                    <a:pt x="482632" y="878681"/>
                  </a:cubicBezTo>
                  <a:cubicBezTo>
                    <a:pt x="483489" y="849344"/>
                    <a:pt x="483680" y="819912"/>
                    <a:pt x="482632" y="790575"/>
                  </a:cubicBezTo>
                  <a:cubicBezTo>
                    <a:pt x="481965" y="771716"/>
                    <a:pt x="469964" y="760952"/>
                    <a:pt x="452057" y="760762"/>
                  </a:cubicBezTo>
                  <a:cubicBezTo>
                    <a:pt x="423386" y="760476"/>
                    <a:pt x="394716" y="760381"/>
                    <a:pt x="365951" y="760762"/>
                  </a:cubicBezTo>
                  <a:cubicBezTo>
                    <a:pt x="347948" y="760952"/>
                    <a:pt x="335947" y="773716"/>
                    <a:pt x="335852" y="791718"/>
                  </a:cubicBezTo>
                  <a:cubicBezTo>
                    <a:pt x="335852" y="805529"/>
                    <a:pt x="335852" y="819341"/>
                    <a:pt x="335852" y="833247"/>
                  </a:cubicBezTo>
                  <a:close/>
                  <a:moveTo>
                    <a:pt x="410147" y="281750"/>
                  </a:moveTo>
                  <a:cubicBezTo>
                    <a:pt x="396335" y="281750"/>
                    <a:pt x="382524" y="281559"/>
                    <a:pt x="368713" y="281750"/>
                  </a:cubicBezTo>
                  <a:cubicBezTo>
                    <a:pt x="346329" y="282131"/>
                    <a:pt x="336042" y="292513"/>
                    <a:pt x="335852" y="315087"/>
                  </a:cubicBezTo>
                  <a:cubicBezTo>
                    <a:pt x="335661" y="340995"/>
                    <a:pt x="336709" y="366998"/>
                    <a:pt x="335566" y="392811"/>
                  </a:cubicBezTo>
                  <a:cubicBezTo>
                    <a:pt x="334423" y="417481"/>
                    <a:pt x="351282" y="429292"/>
                    <a:pt x="372047" y="428530"/>
                  </a:cubicBezTo>
                  <a:cubicBezTo>
                    <a:pt x="397193" y="427673"/>
                    <a:pt x="422529" y="428054"/>
                    <a:pt x="447675" y="428530"/>
                  </a:cubicBezTo>
                  <a:cubicBezTo>
                    <a:pt x="469202" y="428816"/>
                    <a:pt x="481775" y="419195"/>
                    <a:pt x="482537" y="397955"/>
                  </a:cubicBezTo>
                  <a:cubicBezTo>
                    <a:pt x="483584" y="370046"/>
                    <a:pt x="483775" y="341948"/>
                    <a:pt x="482727" y="314039"/>
                  </a:cubicBezTo>
                  <a:cubicBezTo>
                    <a:pt x="481965" y="290989"/>
                    <a:pt x="470345" y="281369"/>
                    <a:pt x="447389" y="281654"/>
                  </a:cubicBezTo>
                  <a:cubicBezTo>
                    <a:pt x="434912" y="281845"/>
                    <a:pt x="422529" y="281654"/>
                    <a:pt x="410051" y="28165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1523148-B128-C9E2-D567-13FB58E957C1}"/>
                </a:ext>
              </a:extLst>
            </p:cNvPr>
            <p:cNvSpPr/>
            <p:nvPr/>
          </p:nvSpPr>
          <p:spPr>
            <a:xfrm>
              <a:off x="13501461" y="1938800"/>
              <a:ext cx="635638" cy="1084155"/>
            </a:xfrm>
            <a:custGeom>
              <a:avLst/>
              <a:gdLst>
                <a:gd name="connsiteX0" fmla="*/ 417 w 635638"/>
                <a:gd name="connsiteY0" fmla="*/ 857 h 1084155"/>
                <a:gd name="connsiteX1" fmla="*/ 10799 w 635638"/>
                <a:gd name="connsiteY1" fmla="*/ 6953 h 1084155"/>
                <a:gd name="connsiteX2" fmla="*/ 116622 w 635638"/>
                <a:gd name="connsiteY2" fmla="*/ 88868 h 1084155"/>
                <a:gd name="connsiteX3" fmla="*/ 266641 w 635638"/>
                <a:gd name="connsiteY3" fmla="*/ 136493 h 1084155"/>
                <a:gd name="connsiteX4" fmla="*/ 395704 w 635638"/>
                <a:gd name="connsiteY4" fmla="*/ 132588 h 1084155"/>
                <a:gd name="connsiteX5" fmla="*/ 509719 w 635638"/>
                <a:gd name="connsiteY5" fmla="*/ 93440 h 1084155"/>
                <a:gd name="connsiteX6" fmla="*/ 620113 w 635638"/>
                <a:gd name="connsiteY6" fmla="*/ 12478 h 1084155"/>
                <a:gd name="connsiteX7" fmla="*/ 634020 w 635638"/>
                <a:gd name="connsiteY7" fmla="*/ 0 h 1084155"/>
                <a:gd name="connsiteX8" fmla="*/ 635544 w 635638"/>
                <a:gd name="connsiteY8" fmla="*/ 10001 h 1084155"/>
                <a:gd name="connsiteX9" fmla="*/ 635353 w 635638"/>
                <a:gd name="connsiteY9" fmla="*/ 1063943 h 1084155"/>
                <a:gd name="connsiteX10" fmla="*/ 635449 w 635638"/>
                <a:gd name="connsiteY10" fmla="*/ 1077373 h 1084155"/>
                <a:gd name="connsiteX11" fmla="*/ 631924 w 635638"/>
                <a:gd name="connsiteY11" fmla="*/ 1083945 h 1084155"/>
                <a:gd name="connsiteX12" fmla="*/ 624876 w 635638"/>
                <a:gd name="connsiteY12" fmla="*/ 1081659 h 1084155"/>
                <a:gd name="connsiteX13" fmla="*/ 523530 w 635638"/>
                <a:gd name="connsiteY13" fmla="*/ 1007364 h 1084155"/>
                <a:gd name="connsiteX14" fmla="*/ 508766 w 635638"/>
                <a:gd name="connsiteY14" fmla="*/ 1000030 h 1084155"/>
                <a:gd name="connsiteX15" fmla="*/ 506194 w 635638"/>
                <a:gd name="connsiteY15" fmla="*/ 986981 h 1084155"/>
                <a:gd name="connsiteX16" fmla="*/ 541532 w 635638"/>
                <a:gd name="connsiteY16" fmla="*/ 941261 h 1084155"/>
                <a:gd name="connsiteX17" fmla="*/ 575250 w 635638"/>
                <a:gd name="connsiteY17" fmla="*/ 856298 h 1084155"/>
                <a:gd name="connsiteX18" fmla="*/ 573727 w 635638"/>
                <a:gd name="connsiteY18" fmla="*/ 744093 h 1084155"/>
                <a:gd name="connsiteX19" fmla="*/ 530388 w 635638"/>
                <a:gd name="connsiteY19" fmla="*/ 649796 h 1084155"/>
                <a:gd name="connsiteX20" fmla="*/ 426661 w 635638"/>
                <a:gd name="connsiteY20" fmla="*/ 564928 h 1084155"/>
                <a:gd name="connsiteX21" fmla="*/ 265878 w 635638"/>
                <a:gd name="connsiteY21" fmla="*/ 546926 h 1084155"/>
                <a:gd name="connsiteX22" fmla="*/ 122813 w 635638"/>
                <a:gd name="connsiteY22" fmla="*/ 628174 h 1084155"/>
                <a:gd name="connsiteX23" fmla="*/ 73759 w 635638"/>
                <a:gd name="connsiteY23" fmla="*/ 707803 h 1084155"/>
                <a:gd name="connsiteX24" fmla="*/ 54995 w 635638"/>
                <a:gd name="connsiteY24" fmla="*/ 810006 h 1084155"/>
                <a:gd name="connsiteX25" fmla="*/ 127195 w 635638"/>
                <a:gd name="connsiteY25" fmla="*/ 984885 h 1084155"/>
                <a:gd name="connsiteX26" fmla="*/ 125004 w 635638"/>
                <a:gd name="connsiteY26" fmla="*/ 1000697 h 1084155"/>
                <a:gd name="connsiteX27" fmla="*/ 22610 w 635638"/>
                <a:gd name="connsiteY27" fmla="*/ 1070039 h 1084155"/>
                <a:gd name="connsiteX28" fmla="*/ 11370 w 635638"/>
                <a:gd name="connsiteY28" fmla="*/ 1080707 h 1084155"/>
                <a:gd name="connsiteX29" fmla="*/ 3751 w 635638"/>
                <a:gd name="connsiteY29" fmla="*/ 1083755 h 1084155"/>
                <a:gd name="connsiteX30" fmla="*/ 131 w 635638"/>
                <a:gd name="connsiteY30" fmla="*/ 1076230 h 1084155"/>
                <a:gd name="connsiteX31" fmla="*/ 322 w 635638"/>
                <a:gd name="connsiteY31" fmla="*/ 1057561 h 1084155"/>
                <a:gd name="connsiteX32" fmla="*/ 322 w 635638"/>
                <a:gd name="connsiteY32" fmla="*/ 24384 h 1084155"/>
                <a:gd name="connsiteX33" fmla="*/ 322 w 635638"/>
                <a:gd name="connsiteY33" fmla="*/ 762 h 1084155"/>
                <a:gd name="connsiteX34" fmla="*/ 510862 w 635638"/>
                <a:gd name="connsiteY34" fmla="*/ 219075 h 1084155"/>
                <a:gd name="connsiteX35" fmla="*/ 510862 w 635638"/>
                <a:gd name="connsiteY35" fmla="*/ 219075 h 1084155"/>
                <a:gd name="connsiteX36" fmla="*/ 510862 w 635638"/>
                <a:gd name="connsiteY36" fmla="*/ 175451 h 1084155"/>
                <a:gd name="connsiteX37" fmla="*/ 477810 w 635638"/>
                <a:gd name="connsiteY37" fmla="*/ 143161 h 1084155"/>
                <a:gd name="connsiteX38" fmla="*/ 401038 w 635638"/>
                <a:gd name="connsiteY38" fmla="*/ 143161 h 1084155"/>
                <a:gd name="connsiteX39" fmla="*/ 362938 w 635638"/>
                <a:gd name="connsiteY39" fmla="*/ 181737 h 1084155"/>
                <a:gd name="connsiteX40" fmla="*/ 363129 w 635638"/>
                <a:gd name="connsiteY40" fmla="*/ 258509 h 1084155"/>
                <a:gd name="connsiteX41" fmla="*/ 395895 w 635638"/>
                <a:gd name="connsiteY41" fmla="*/ 291465 h 1084155"/>
                <a:gd name="connsiteX42" fmla="*/ 478953 w 635638"/>
                <a:gd name="connsiteY42" fmla="*/ 291465 h 1084155"/>
                <a:gd name="connsiteX43" fmla="*/ 510766 w 635638"/>
                <a:gd name="connsiteY43" fmla="*/ 260604 h 1084155"/>
                <a:gd name="connsiteX44" fmla="*/ 510766 w 635638"/>
                <a:gd name="connsiteY44" fmla="*/ 219075 h 1084155"/>
                <a:gd name="connsiteX45" fmla="*/ 124528 w 635638"/>
                <a:gd name="connsiteY45" fmla="*/ 217551 h 1084155"/>
                <a:gd name="connsiteX46" fmla="*/ 124623 w 635638"/>
                <a:gd name="connsiteY46" fmla="*/ 217551 h 1084155"/>
                <a:gd name="connsiteX47" fmla="*/ 124623 w 635638"/>
                <a:gd name="connsiteY47" fmla="*/ 238316 h 1084155"/>
                <a:gd name="connsiteX48" fmla="*/ 124623 w 635638"/>
                <a:gd name="connsiteY48" fmla="*/ 260128 h 1084155"/>
                <a:gd name="connsiteX49" fmla="*/ 157103 w 635638"/>
                <a:gd name="connsiteY49" fmla="*/ 291465 h 1084155"/>
                <a:gd name="connsiteX50" fmla="*/ 238066 w 635638"/>
                <a:gd name="connsiteY50" fmla="*/ 291465 h 1084155"/>
                <a:gd name="connsiteX51" fmla="*/ 272165 w 635638"/>
                <a:gd name="connsiteY51" fmla="*/ 260033 h 1084155"/>
                <a:gd name="connsiteX52" fmla="*/ 271974 w 635638"/>
                <a:gd name="connsiteY52" fmla="*/ 176022 h 1084155"/>
                <a:gd name="connsiteX53" fmla="*/ 241114 w 635638"/>
                <a:gd name="connsiteY53" fmla="*/ 143637 h 1084155"/>
                <a:gd name="connsiteX54" fmla="*/ 157008 w 635638"/>
                <a:gd name="connsiteY54" fmla="*/ 143256 h 1084155"/>
                <a:gd name="connsiteX55" fmla="*/ 124337 w 635638"/>
                <a:gd name="connsiteY55" fmla="*/ 176117 h 1084155"/>
                <a:gd name="connsiteX56" fmla="*/ 124432 w 635638"/>
                <a:gd name="connsiteY56" fmla="*/ 217646 h 1084155"/>
                <a:gd name="connsiteX57" fmla="*/ 124718 w 635638"/>
                <a:gd name="connsiteY57" fmla="*/ 457581 h 1084155"/>
                <a:gd name="connsiteX58" fmla="*/ 124528 w 635638"/>
                <a:gd name="connsiteY58" fmla="*/ 457581 h 1084155"/>
                <a:gd name="connsiteX59" fmla="*/ 124528 w 635638"/>
                <a:gd name="connsiteY59" fmla="*/ 479393 h 1084155"/>
                <a:gd name="connsiteX60" fmla="*/ 124908 w 635638"/>
                <a:gd name="connsiteY60" fmla="*/ 502253 h 1084155"/>
                <a:gd name="connsiteX61" fmla="*/ 156532 w 635638"/>
                <a:gd name="connsiteY61" fmla="*/ 531590 h 1084155"/>
                <a:gd name="connsiteX62" fmla="*/ 239399 w 635638"/>
                <a:gd name="connsiteY62" fmla="*/ 530828 h 1084155"/>
                <a:gd name="connsiteX63" fmla="*/ 271022 w 635638"/>
                <a:gd name="connsiteY63" fmla="*/ 502253 h 1084155"/>
                <a:gd name="connsiteX64" fmla="*/ 272356 w 635638"/>
                <a:gd name="connsiteY64" fmla="*/ 417290 h 1084155"/>
                <a:gd name="connsiteX65" fmla="*/ 237494 w 635638"/>
                <a:gd name="connsiteY65" fmla="*/ 383667 h 1084155"/>
                <a:gd name="connsiteX66" fmla="*/ 154436 w 635638"/>
                <a:gd name="connsiteY66" fmla="*/ 383858 h 1084155"/>
                <a:gd name="connsiteX67" fmla="*/ 124813 w 635638"/>
                <a:gd name="connsiteY67" fmla="*/ 413004 h 1084155"/>
                <a:gd name="connsiteX68" fmla="*/ 124718 w 635638"/>
                <a:gd name="connsiteY68" fmla="*/ 457676 h 1084155"/>
                <a:gd name="connsiteX69" fmla="*/ 510671 w 635638"/>
                <a:gd name="connsiteY69" fmla="*/ 457391 h 1084155"/>
                <a:gd name="connsiteX70" fmla="*/ 511052 w 635638"/>
                <a:gd name="connsiteY70" fmla="*/ 457391 h 1084155"/>
                <a:gd name="connsiteX71" fmla="*/ 511052 w 635638"/>
                <a:gd name="connsiteY71" fmla="*/ 437674 h 1084155"/>
                <a:gd name="connsiteX72" fmla="*/ 511052 w 635638"/>
                <a:gd name="connsiteY72" fmla="*/ 416909 h 1084155"/>
                <a:gd name="connsiteX73" fmla="*/ 477905 w 635638"/>
                <a:gd name="connsiteY73" fmla="*/ 383381 h 1084155"/>
                <a:gd name="connsiteX74" fmla="*/ 399038 w 635638"/>
                <a:gd name="connsiteY74" fmla="*/ 383381 h 1084155"/>
                <a:gd name="connsiteX75" fmla="*/ 363129 w 635638"/>
                <a:gd name="connsiteY75" fmla="*/ 419386 h 1084155"/>
                <a:gd name="connsiteX76" fmla="*/ 364177 w 635638"/>
                <a:gd name="connsiteY76" fmla="*/ 498158 h 1084155"/>
                <a:gd name="connsiteX77" fmla="*/ 399419 w 635638"/>
                <a:gd name="connsiteY77" fmla="*/ 530638 h 1084155"/>
                <a:gd name="connsiteX78" fmla="*/ 478191 w 635638"/>
                <a:gd name="connsiteY78" fmla="*/ 531400 h 1084155"/>
                <a:gd name="connsiteX79" fmla="*/ 510671 w 635638"/>
                <a:gd name="connsiteY79" fmla="*/ 501968 h 1084155"/>
                <a:gd name="connsiteX80" fmla="*/ 510766 w 635638"/>
                <a:gd name="connsiteY80" fmla="*/ 457295 h 1084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635638" h="1084155">
                  <a:moveTo>
                    <a:pt x="417" y="857"/>
                  </a:moveTo>
                  <a:cubicBezTo>
                    <a:pt x="5370" y="3715"/>
                    <a:pt x="8799" y="4667"/>
                    <a:pt x="10799" y="6953"/>
                  </a:cubicBezTo>
                  <a:cubicBezTo>
                    <a:pt x="40993" y="40767"/>
                    <a:pt x="76998" y="67628"/>
                    <a:pt x="116622" y="88868"/>
                  </a:cubicBezTo>
                  <a:cubicBezTo>
                    <a:pt x="163485" y="113919"/>
                    <a:pt x="213491" y="129540"/>
                    <a:pt x="266641" y="136493"/>
                  </a:cubicBezTo>
                  <a:cubicBezTo>
                    <a:pt x="310170" y="142208"/>
                    <a:pt x="353128" y="140018"/>
                    <a:pt x="395704" y="132588"/>
                  </a:cubicBezTo>
                  <a:cubicBezTo>
                    <a:pt x="435519" y="125635"/>
                    <a:pt x="473428" y="111919"/>
                    <a:pt x="509719" y="93440"/>
                  </a:cubicBezTo>
                  <a:cubicBezTo>
                    <a:pt x="550962" y="72295"/>
                    <a:pt x="587538" y="45244"/>
                    <a:pt x="620113" y="12478"/>
                  </a:cubicBezTo>
                  <a:cubicBezTo>
                    <a:pt x="623923" y="8668"/>
                    <a:pt x="628114" y="5239"/>
                    <a:pt x="634020" y="0"/>
                  </a:cubicBezTo>
                  <a:cubicBezTo>
                    <a:pt x="634877" y="5525"/>
                    <a:pt x="635544" y="7810"/>
                    <a:pt x="635544" y="10001"/>
                  </a:cubicBezTo>
                  <a:cubicBezTo>
                    <a:pt x="635544" y="361283"/>
                    <a:pt x="635449" y="712661"/>
                    <a:pt x="635353" y="1063943"/>
                  </a:cubicBezTo>
                  <a:cubicBezTo>
                    <a:pt x="635353" y="1068419"/>
                    <a:pt x="635925" y="1072991"/>
                    <a:pt x="635449" y="1077373"/>
                  </a:cubicBezTo>
                  <a:cubicBezTo>
                    <a:pt x="635163" y="1079754"/>
                    <a:pt x="633734" y="1083183"/>
                    <a:pt x="631924" y="1083945"/>
                  </a:cubicBezTo>
                  <a:cubicBezTo>
                    <a:pt x="630115" y="1084707"/>
                    <a:pt x="626495" y="1083278"/>
                    <a:pt x="624876" y="1081659"/>
                  </a:cubicBezTo>
                  <a:cubicBezTo>
                    <a:pt x="595158" y="1051274"/>
                    <a:pt x="560296" y="1028033"/>
                    <a:pt x="523530" y="1007364"/>
                  </a:cubicBezTo>
                  <a:cubicBezTo>
                    <a:pt x="518767" y="1004697"/>
                    <a:pt x="513909" y="1001935"/>
                    <a:pt x="508766" y="1000030"/>
                  </a:cubicBezTo>
                  <a:cubicBezTo>
                    <a:pt x="500098" y="996886"/>
                    <a:pt x="501622" y="992791"/>
                    <a:pt x="506194" y="986981"/>
                  </a:cubicBezTo>
                  <a:cubicBezTo>
                    <a:pt x="518196" y="971931"/>
                    <a:pt x="530959" y="957358"/>
                    <a:pt x="541532" y="941261"/>
                  </a:cubicBezTo>
                  <a:cubicBezTo>
                    <a:pt x="558582" y="915448"/>
                    <a:pt x="568583" y="886587"/>
                    <a:pt x="575250" y="856298"/>
                  </a:cubicBezTo>
                  <a:cubicBezTo>
                    <a:pt x="583633" y="818579"/>
                    <a:pt x="582204" y="781145"/>
                    <a:pt x="573727" y="744093"/>
                  </a:cubicBezTo>
                  <a:cubicBezTo>
                    <a:pt x="565916" y="709898"/>
                    <a:pt x="551057" y="678371"/>
                    <a:pt x="530388" y="649796"/>
                  </a:cubicBezTo>
                  <a:cubicBezTo>
                    <a:pt x="503337" y="612267"/>
                    <a:pt x="468666" y="583502"/>
                    <a:pt x="426661" y="564928"/>
                  </a:cubicBezTo>
                  <a:cubicBezTo>
                    <a:pt x="375321" y="542163"/>
                    <a:pt x="321981" y="535400"/>
                    <a:pt x="265878" y="546926"/>
                  </a:cubicBezTo>
                  <a:cubicBezTo>
                    <a:pt x="208919" y="558736"/>
                    <a:pt x="161675" y="585883"/>
                    <a:pt x="122813" y="628174"/>
                  </a:cubicBezTo>
                  <a:cubicBezTo>
                    <a:pt x="101477" y="651415"/>
                    <a:pt x="85380" y="678180"/>
                    <a:pt x="73759" y="707803"/>
                  </a:cubicBezTo>
                  <a:cubicBezTo>
                    <a:pt x="60901" y="740759"/>
                    <a:pt x="53757" y="774764"/>
                    <a:pt x="54995" y="810006"/>
                  </a:cubicBezTo>
                  <a:cubicBezTo>
                    <a:pt x="57376" y="877062"/>
                    <a:pt x="81189" y="935641"/>
                    <a:pt x="127195" y="984885"/>
                  </a:cubicBezTo>
                  <a:cubicBezTo>
                    <a:pt x="135957" y="994315"/>
                    <a:pt x="136243" y="994982"/>
                    <a:pt x="125004" y="1000697"/>
                  </a:cubicBezTo>
                  <a:cubicBezTo>
                    <a:pt x="88142" y="1019747"/>
                    <a:pt x="53376" y="1041940"/>
                    <a:pt x="22610" y="1070039"/>
                  </a:cubicBezTo>
                  <a:cubicBezTo>
                    <a:pt x="18800" y="1073563"/>
                    <a:pt x="15371" y="1077468"/>
                    <a:pt x="11370" y="1080707"/>
                  </a:cubicBezTo>
                  <a:cubicBezTo>
                    <a:pt x="9275" y="1082421"/>
                    <a:pt x="5465" y="1084517"/>
                    <a:pt x="3751" y="1083755"/>
                  </a:cubicBezTo>
                  <a:cubicBezTo>
                    <a:pt x="1750" y="1082802"/>
                    <a:pt x="322" y="1078897"/>
                    <a:pt x="131" y="1076230"/>
                  </a:cubicBezTo>
                  <a:cubicBezTo>
                    <a:pt x="-250" y="1070039"/>
                    <a:pt x="322" y="1063752"/>
                    <a:pt x="322" y="1057561"/>
                  </a:cubicBezTo>
                  <a:cubicBezTo>
                    <a:pt x="322" y="713137"/>
                    <a:pt x="322" y="368713"/>
                    <a:pt x="322" y="24384"/>
                  </a:cubicBezTo>
                  <a:cubicBezTo>
                    <a:pt x="322" y="17526"/>
                    <a:pt x="322" y="10668"/>
                    <a:pt x="322" y="762"/>
                  </a:cubicBezTo>
                  <a:close/>
                  <a:moveTo>
                    <a:pt x="510862" y="219075"/>
                  </a:moveTo>
                  <a:cubicBezTo>
                    <a:pt x="510862" y="219075"/>
                    <a:pt x="510862" y="219075"/>
                    <a:pt x="510862" y="219075"/>
                  </a:cubicBezTo>
                  <a:cubicBezTo>
                    <a:pt x="510862" y="204502"/>
                    <a:pt x="511052" y="190024"/>
                    <a:pt x="510862" y="175451"/>
                  </a:cubicBezTo>
                  <a:cubicBezTo>
                    <a:pt x="510481" y="156210"/>
                    <a:pt x="497145" y="143256"/>
                    <a:pt x="477810" y="143161"/>
                  </a:cubicBezTo>
                  <a:cubicBezTo>
                    <a:pt x="452187" y="143066"/>
                    <a:pt x="426565" y="144113"/>
                    <a:pt x="401038" y="143161"/>
                  </a:cubicBezTo>
                  <a:cubicBezTo>
                    <a:pt x="375607" y="142208"/>
                    <a:pt x="362557" y="159925"/>
                    <a:pt x="362938" y="181737"/>
                  </a:cubicBezTo>
                  <a:cubicBezTo>
                    <a:pt x="363415" y="207359"/>
                    <a:pt x="362938" y="232981"/>
                    <a:pt x="363129" y="258509"/>
                  </a:cubicBezTo>
                  <a:cubicBezTo>
                    <a:pt x="363319" y="277654"/>
                    <a:pt x="376940" y="291370"/>
                    <a:pt x="395895" y="291465"/>
                  </a:cubicBezTo>
                  <a:cubicBezTo>
                    <a:pt x="423612" y="291656"/>
                    <a:pt x="451235" y="291560"/>
                    <a:pt x="478953" y="291465"/>
                  </a:cubicBezTo>
                  <a:cubicBezTo>
                    <a:pt x="497622" y="291465"/>
                    <a:pt x="510195" y="279273"/>
                    <a:pt x="510766" y="260604"/>
                  </a:cubicBezTo>
                  <a:cubicBezTo>
                    <a:pt x="511147" y="246793"/>
                    <a:pt x="510766" y="232886"/>
                    <a:pt x="510766" y="219075"/>
                  </a:cubicBezTo>
                  <a:close/>
                  <a:moveTo>
                    <a:pt x="124528" y="217551"/>
                  </a:moveTo>
                  <a:cubicBezTo>
                    <a:pt x="124528" y="217551"/>
                    <a:pt x="124528" y="217551"/>
                    <a:pt x="124623" y="217551"/>
                  </a:cubicBezTo>
                  <a:cubicBezTo>
                    <a:pt x="124623" y="224504"/>
                    <a:pt x="124623" y="231362"/>
                    <a:pt x="124623" y="238316"/>
                  </a:cubicBezTo>
                  <a:cubicBezTo>
                    <a:pt x="124623" y="245555"/>
                    <a:pt x="124432" y="252889"/>
                    <a:pt x="124623" y="260128"/>
                  </a:cubicBezTo>
                  <a:cubicBezTo>
                    <a:pt x="125289" y="279273"/>
                    <a:pt x="137767" y="291370"/>
                    <a:pt x="157103" y="291465"/>
                  </a:cubicBezTo>
                  <a:cubicBezTo>
                    <a:pt x="184059" y="291465"/>
                    <a:pt x="211110" y="291465"/>
                    <a:pt x="238066" y="291465"/>
                  </a:cubicBezTo>
                  <a:cubicBezTo>
                    <a:pt x="257687" y="291465"/>
                    <a:pt x="271689" y="279368"/>
                    <a:pt x="272165" y="260033"/>
                  </a:cubicBezTo>
                  <a:cubicBezTo>
                    <a:pt x="272927" y="232029"/>
                    <a:pt x="272927" y="203930"/>
                    <a:pt x="271974" y="176022"/>
                  </a:cubicBezTo>
                  <a:cubicBezTo>
                    <a:pt x="271308" y="156210"/>
                    <a:pt x="259878" y="144399"/>
                    <a:pt x="241114" y="143637"/>
                  </a:cubicBezTo>
                  <a:cubicBezTo>
                    <a:pt x="213110" y="142494"/>
                    <a:pt x="185107" y="142780"/>
                    <a:pt x="157008" y="143256"/>
                  </a:cubicBezTo>
                  <a:cubicBezTo>
                    <a:pt x="141672" y="143447"/>
                    <a:pt x="123384" y="154400"/>
                    <a:pt x="124337" y="176117"/>
                  </a:cubicBezTo>
                  <a:cubicBezTo>
                    <a:pt x="124908" y="189929"/>
                    <a:pt x="124432" y="203835"/>
                    <a:pt x="124432" y="217646"/>
                  </a:cubicBezTo>
                  <a:close/>
                  <a:moveTo>
                    <a:pt x="124718" y="457581"/>
                  </a:moveTo>
                  <a:cubicBezTo>
                    <a:pt x="124718" y="457581"/>
                    <a:pt x="124528" y="457581"/>
                    <a:pt x="124528" y="457581"/>
                  </a:cubicBezTo>
                  <a:cubicBezTo>
                    <a:pt x="124528" y="464820"/>
                    <a:pt x="124528" y="472154"/>
                    <a:pt x="124528" y="479393"/>
                  </a:cubicBezTo>
                  <a:cubicBezTo>
                    <a:pt x="124528" y="487013"/>
                    <a:pt x="124528" y="494633"/>
                    <a:pt x="124908" y="502253"/>
                  </a:cubicBezTo>
                  <a:cubicBezTo>
                    <a:pt x="125861" y="518732"/>
                    <a:pt x="139958" y="531781"/>
                    <a:pt x="156532" y="531590"/>
                  </a:cubicBezTo>
                  <a:cubicBezTo>
                    <a:pt x="184154" y="531400"/>
                    <a:pt x="211776" y="531114"/>
                    <a:pt x="239399" y="530828"/>
                  </a:cubicBezTo>
                  <a:cubicBezTo>
                    <a:pt x="257973" y="530638"/>
                    <a:pt x="270070" y="520637"/>
                    <a:pt x="271022" y="502253"/>
                  </a:cubicBezTo>
                  <a:cubicBezTo>
                    <a:pt x="272356" y="473964"/>
                    <a:pt x="273117" y="445580"/>
                    <a:pt x="272356" y="417290"/>
                  </a:cubicBezTo>
                  <a:cubicBezTo>
                    <a:pt x="271784" y="394716"/>
                    <a:pt x="259687" y="383953"/>
                    <a:pt x="237494" y="383667"/>
                  </a:cubicBezTo>
                  <a:cubicBezTo>
                    <a:pt x="209872" y="383381"/>
                    <a:pt x="182154" y="383477"/>
                    <a:pt x="154436" y="383858"/>
                  </a:cubicBezTo>
                  <a:cubicBezTo>
                    <a:pt x="136815" y="384143"/>
                    <a:pt x="125385" y="395573"/>
                    <a:pt x="124813" y="413004"/>
                  </a:cubicBezTo>
                  <a:cubicBezTo>
                    <a:pt x="124337" y="427863"/>
                    <a:pt x="124718" y="442722"/>
                    <a:pt x="124718" y="457676"/>
                  </a:cubicBezTo>
                  <a:close/>
                  <a:moveTo>
                    <a:pt x="510671" y="457391"/>
                  </a:moveTo>
                  <a:lnTo>
                    <a:pt x="511052" y="457391"/>
                  </a:lnTo>
                  <a:cubicBezTo>
                    <a:pt x="511052" y="450818"/>
                    <a:pt x="511052" y="444246"/>
                    <a:pt x="511052" y="437674"/>
                  </a:cubicBezTo>
                  <a:cubicBezTo>
                    <a:pt x="511052" y="430721"/>
                    <a:pt x="510576" y="423767"/>
                    <a:pt x="511052" y="416909"/>
                  </a:cubicBezTo>
                  <a:cubicBezTo>
                    <a:pt x="512481" y="395669"/>
                    <a:pt x="496288" y="382905"/>
                    <a:pt x="477905" y="383381"/>
                  </a:cubicBezTo>
                  <a:cubicBezTo>
                    <a:pt x="451616" y="384143"/>
                    <a:pt x="425327" y="383953"/>
                    <a:pt x="399038" y="383381"/>
                  </a:cubicBezTo>
                  <a:cubicBezTo>
                    <a:pt x="372558" y="382810"/>
                    <a:pt x="363605" y="399098"/>
                    <a:pt x="363129" y="419386"/>
                  </a:cubicBezTo>
                  <a:cubicBezTo>
                    <a:pt x="362557" y="445675"/>
                    <a:pt x="363129" y="471964"/>
                    <a:pt x="364177" y="498158"/>
                  </a:cubicBezTo>
                  <a:cubicBezTo>
                    <a:pt x="365034" y="521018"/>
                    <a:pt x="376273" y="530638"/>
                    <a:pt x="399419" y="530638"/>
                  </a:cubicBezTo>
                  <a:cubicBezTo>
                    <a:pt x="425708" y="530638"/>
                    <a:pt x="451902" y="530924"/>
                    <a:pt x="478191" y="531400"/>
                  </a:cubicBezTo>
                  <a:cubicBezTo>
                    <a:pt x="495336" y="531686"/>
                    <a:pt x="510004" y="519017"/>
                    <a:pt x="510671" y="501968"/>
                  </a:cubicBezTo>
                  <a:cubicBezTo>
                    <a:pt x="511242" y="487109"/>
                    <a:pt x="510766" y="472250"/>
                    <a:pt x="510766" y="45729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EF522D6D-9ABF-17FD-4277-FF033CCABC5F}"/>
                </a:ext>
              </a:extLst>
            </p:cNvPr>
            <p:cNvSpPr/>
            <p:nvPr/>
          </p:nvSpPr>
          <p:spPr>
            <a:xfrm>
              <a:off x="13476730" y="1312150"/>
              <a:ext cx="685134" cy="685800"/>
            </a:xfrm>
            <a:custGeom>
              <a:avLst/>
              <a:gdLst>
                <a:gd name="connsiteX0" fmla="*/ 685134 w 685134"/>
                <a:gd name="connsiteY0" fmla="*/ 343376 h 685800"/>
                <a:gd name="connsiteX1" fmla="*/ 342711 w 685134"/>
                <a:gd name="connsiteY1" fmla="*/ 685800 h 685800"/>
                <a:gd name="connsiteX2" fmla="*/ 1 w 685134"/>
                <a:gd name="connsiteY2" fmla="*/ 342614 h 685800"/>
                <a:gd name="connsiteX3" fmla="*/ 342425 w 685134"/>
                <a:gd name="connsiteY3" fmla="*/ 0 h 685800"/>
                <a:gd name="connsiteX4" fmla="*/ 685134 w 685134"/>
                <a:gd name="connsiteY4" fmla="*/ 343376 h 685800"/>
                <a:gd name="connsiteX5" fmla="*/ 547593 w 685134"/>
                <a:gd name="connsiteY5" fmla="*/ 343091 h 685800"/>
                <a:gd name="connsiteX6" fmla="*/ 547212 w 685134"/>
                <a:gd name="connsiteY6" fmla="*/ 343091 h 685800"/>
                <a:gd name="connsiteX7" fmla="*/ 547212 w 685134"/>
                <a:gd name="connsiteY7" fmla="*/ 272510 h 685800"/>
                <a:gd name="connsiteX8" fmla="*/ 528543 w 685134"/>
                <a:gd name="connsiteY8" fmla="*/ 254318 h 685800"/>
                <a:gd name="connsiteX9" fmla="*/ 443390 w 685134"/>
                <a:gd name="connsiteY9" fmla="*/ 254508 h 685800"/>
                <a:gd name="connsiteX10" fmla="*/ 430055 w 685134"/>
                <a:gd name="connsiteY10" fmla="*/ 241459 h 685800"/>
                <a:gd name="connsiteX11" fmla="*/ 430436 w 685134"/>
                <a:gd name="connsiteY11" fmla="*/ 152114 h 685800"/>
                <a:gd name="connsiteX12" fmla="*/ 416339 w 685134"/>
                <a:gd name="connsiteY12" fmla="*/ 138684 h 685800"/>
                <a:gd name="connsiteX13" fmla="*/ 268892 w 685134"/>
                <a:gd name="connsiteY13" fmla="*/ 138684 h 685800"/>
                <a:gd name="connsiteX14" fmla="*/ 254414 w 685134"/>
                <a:gd name="connsiteY14" fmla="*/ 153829 h 685800"/>
                <a:gd name="connsiteX15" fmla="*/ 254700 w 685134"/>
                <a:gd name="connsiteY15" fmla="*/ 242126 h 685800"/>
                <a:gd name="connsiteX16" fmla="*/ 241746 w 685134"/>
                <a:gd name="connsiteY16" fmla="*/ 254413 h 685800"/>
                <a:gd name="connsiteX17" fmla="*/ 151449 w 685134"/>
                <a:gd name="connsiteY17" fmla="*/ 254222 h 685800"/>
                <a:gd name="connsiteX18" fmla="*/ 137447 w 685134"/>
                <a:gd name="connsiteY18" fmla="*/ 268129 h 685800"/>
                <a:gd name="connsiteX19" fmla="*/ 137447 w 685134"/>
                <a:gd name="connsiteY19" fmla="*/ 415576 h 685800"/>
                <a:gd name="connsiteX20" fmla="*/ 153258 w 685134"/>
                <a:gd name="connsiteY20" fmla="*/ 431864 h 685800"/>
                <a:gd name="connsiteX21" fmla="*/ 241460 w 685134"/>
                <a:gd name="connsiteY21" fmla="*/ 431578 h 685800"/>
                <a:gd name="connsiteX22" fmla="*/ 254509 w 685134"/>
                <a:gd name="connsiteY22" fmla="*/ 444913 h 685800"/>
                <a:gd name="connsiteX23" fmla="*/ 254128 w 685134"/>
                <a:gd name="connsiteY23" fmla="*/ 534257 h 685800"/>
                <a:gd name="connsiteX24" fmla="*/ 267463 w 685134"/>
                <a:gd name="connsiteY24" fmla="*/ 547688 h 685800"/>
                <a:gd name="connsiteX25" fmla="*/ 415958 w 685134"/>
                <a:gd name="connsiteY25" fmla="*/ 547497 h 685800"/>
                <a:gd name="connsiteX26" fmla="*/ 430245 w 685134"/>
                <a:gd name="connsiteY26" fmla="*/ 533210 h 685800"/>
                <a:gd name="connsiteX27" fmla="*/ 430245 w 685134"/>
                <a:gd name="connsiteY27" fmla="*/ 447008 h 685800"/>
                <a:gd name="connsiteX28" fmla="*/ 445866 w 685134"/>
                <a:gd name="connsiteY28" fmla="*/ 431768 h 685800"/>
                <a:gd name="connsiteX29" fmla="*/ 534068 w 685134"/>
                <a:gd name="connsiteY29" fmla="*/ 431959 h 685800"/>
                <a:gd name="connsiteX30" fmla="*/ 547308 w 685134"/>
                <a:gd name="connsiteY30" fmla="*/ 419005 h 685800"/>
                <a:gd name="connsiteX31" fmla="*/ 547308 w 685134"/>
                <a:gd name="connsiteY31" fmla="*/ 343186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85134" h="685800">
                  <a:moveTo>
                    <a:pt x="685134" y="343376"/>
                  </a:moveTo>
                  <a:cubicBezTo>
                    <a:pt x="684658" y="531971"/>
                    <a:pt x="533115" y="685514"/>
                    <a:pt x="342711" y="685800"/>
                  </a:cubicBezTo>
                  <a:cubicBezTo>
                    <a:pt x="153258" y="686086"/>
                    <a:pt x="-475" y="532448"/>
                    <a:pt x="1" y="342614"/>
                  </a:cubicBezTo>
                  <a:cubicBezTo>
                    <a:pt x="477" y="152114"/>
                    <a:pt x="152211" y="191"/>
                    <a:pt x="342425" y="0"/>
                  </a:cubicBezTo>
                  <a:cubicBezTo>
                    <a:pt x="532544" y="-190"/>
                    <a:pt x="684658" y="152305"/>
                    <a:pt x="685134" y="343376"/>
                  </a:cubicBezTo>
                  <a:close/>
                  <a:moveTo>
                    <a:pt x="547593" y="343091"/>
                  </a:moveTo>
                  <a:cubicBezTo>
                    <a:pt x="547593" y="343091"/>
                    <a:pt x="547403" y="343091"/>
                    <a:pt x="547212" y="343091"/>
                  </a:cubicBezTo>
                  <a:cubicBezTo>
                    <a:pt x="547212" y="319564"/>
                    <a:pt x="547212" y="296037"/>
                    <a:pt x="547212" y="272510"/>
                  </a:cubicBezTo>
                  <a:cubicBezTo>
                    <a:pt x="547212" y="254508"/>
                    <a:pt x="546831" y="254222"/>
                    <a:pt x="528543" y="254318"/>
                  </a:cubicBezTo>
                  <a:cubicBezTo>
                    <a:pt x="500159" y="254508"/>
                    <a:pt x="471774" y="254318"/>
                    <a:pt x="443390" y="254508"/>
                  </a:cubicBezTo>
                  <a:cubicBezTo>
                    <a:pt x="434246" y="254508"/>
                    <a:pt x="429769" y="252127"/>
                    <a:pt x="430055" y="241459"/>
                  </a:cubicBezTo>
                  <a:cubicBezTo>
                    <a:pt x="430912" y="211741"/>
                    <a:pt x="430436" y="181928"/>
                    <a:pt x="430436" y="152114"/>
                  </a:cubicBezTo>
                  <a:cubicBezTo>
                    <a:pt x="430436" y="140399"/>
                    <a:pt x="428721" y="138684"/>
                    <a:pt x="416339" y="138684"/>
                  </a:cubicBezTo>
                  <a:cubicBezTo>
                    <a:pt x="367190" y="138684"/>
                    <a:pt x="318041" y="138684"/>
                    <a:pt x="268892" y="138684"/>
                  </a:cubicBezTo>
                  <a:cubicBezTo>
                    <a:pt x="255747" y="138684"/>
                    <a:pt x="254414" y="140303"/>
                    <a:pt x="254414" y="153829"/>
                  </a:cubicBezTo>
                  <a:cubicBezTo>
                    <a:pt x="254414" y="183261"/>
                    <a:pt x="254033" y="212693"/>
                    <a:pt x="254700" y="242126"/>
                  </a:cubicBezTo>
                  <a:cubicBezTo>
                    <a:pt x="254890" y="252413"/>
                    <a:pt x="250509" y="254508"/>
                    <a:pt x="241746" y="254413"/>
                  </a:cubicBezTo>
                  <a:cubicBezTo>
                    <a:pt x="211647" y="254127"/>
                    <a:pt x="181548" y="254222"/>
                    <a:pt x="151449" y="254222"/>
                  </a:cubicBezTo>
                  <a:cubicBezTo>
                    <a:pt x="139828" y="254222"/>
                    <a:pt x="137447" y="256699"/>
                    <a:pt x="137447" y="268129"/>
                  </a:cubicBezTo>
                  <a:cubicBezTo>
                    <a:pt x="137542" y="317278"/>
                    <a:pt x="137637" y="366427"/>
                    <a:pt x="137447" y="415576"/>
                  </a:cubicBezTo>
                  <a:cubicBezTo>
                    <a:pt x="137447" y="429768"/>
                    <a:pt x="139257" y="431864"/>
                    <a:pt x="153258" y="431864"/>
                  </a:cubicBezTo>
                  <a:cubicBezTo>
                    <a:pt x="182691" y="431864"/>
                    <a:pt x="212123" y="431864"/>
                    <a:pt x="241460" y="431578"/>
                  </a:cubicBezTo>
                  <a:cubicBezTo>
                    <a:pt x="250890" y="431578"/>
                    <a:pt x="254795" y="434435"/>
                    <a:pt x="254509" y="444913"/>
                  </a:cubicBezTo>
                  <a:cubicBezTo>
                    <a:pt x="253747" y="474631"/>
                    <a:pt x="254509" y="504444"/>
                    <a:pt x="254128" y="534257"/>
                  </a:cubicBezTo>
                  <a:cubicBezTo>
                    <a:pt x="254033" y="543878"/>
                    <a:pt x="257367" y="547783"/>
                    <a:pt x="267463" y="547688"/>
                  </a:cubicBezTo>
                  <a:cubicBezTo>
                    <a:pt x="316993" y="547307"/>
                    <a:pt x="366428" y="547497"/>
                    <a:pt x="415958" y="547497"/>
                  </a:cubicBezTo>
                  <a:cubicBezTo>
                    <a:pt x="428817" y="547497"/>
                    <a:pt x="430245" y="546164"/>
                    <a:pt x="430245" y="533210"/>
                  </a:cubicBezTo>
                  <a:cubicBezTo>
                    <a:pt x="430245" y="504444"/>
                    <a:pt x="430341" y="475774"/>
                    <a:pt x="430245" y="447008"/>
                  </a:cubicBezTo>
                  <a:cubicBezTo>
                    <a:pt x="430245" y="432054"/>
                    <a:pt x="430436" y="431768"/>
                    <a:pt x="445866" y="431768"/>
                  </a:cubicBezTo>
                  <a:cubicBezTo>
                    <a:pt x="475299" y="431768"/>
                    <a:pt x="504731" y="431768"/>
                    <a:pt x="534068" y="431959"/>
                  </a:cubicBezTo>
                  <a:cubicBezTo>
                    <a:pt x="543117" y="431959"/>
                    <a:pt x="547403" y="428339"/>
                    <a:pt x="547308" y="419005"/>
                  </a:cubicBezTo>
                  <a:cubicBezTo>
                    <a:pt x="547117" y="393764"/>
                    <a:pt x="547308" y="368427"/>
                    <a:pt x="547308" y="343186"/>
                  </a:cubicBezTo>
                  <a:close/>
                </a:path>
              </a:pathLst>
            </a:custGeom>
            <a:solidFill>
              <a:srgbClr val="4DA6D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14DFC76-D9B1-0E1A-30A5-10D8D5E5C6E5}"/>
                </a:ext>
              </a:extLst>
            </p:cNvPr>
            <p:cNvSpPr/>
            <p:nvPr/>
          </p:nvSpPr>
          <p:spPr>
            <a:xfrm>
              <a:off x="13470322" y="2975815"/>
              <a:ext cx="698679" cy="322397"/>
            </a:xfrm>
            <a:custGeom>
              <a:avLst/>
              <a:gdLst>
                <a:gd name="connsiteX0" fmla="*/ 349119 w 698679"/>
                <a:gd name="connsiteY0" fmla="*/ 322012 h 322397"/>
                <a:gd name="connsiteX1" fmla="*/ 49176 w 698679"/>
                <a:gd name="connsiteY1" fmla="*/ 322393 h 322397"/>
                <a:gd name="connsiteX2" fmla="*/ 3456 w 698679"/>
                <a:gd name="connsiteY2" fmla="*/ 255623 h 322397"/>
                <a:gd name="connsiteX3" fmla="*/ 55463 w 698679"/>
                <a:gd name="connsiteY3" fmla="*/ 151514 h 322397"/>
                <a:gd name="connsiteX4" fmla="*/ 186717 w 698679"/>
                <a:gd name="connsiteY4" fmla="*/ 38834 h 322397"/>
                <a:gd name="connsiteX5" fmla="*/ 367978 w 698679"/>
                <a:gd name="connsiteY5" fmla="*/ 448 h 322397"/>
                <a:gd name="connsiteX6" fmla="*/ 488660 w 698679"/>
                <a:gd name="connsiteY6" fmla="*/ 27785 h 322397"/>
                <a:gd name="connsiteX7" fmla="*/ 668206 w 698679"/>
                <a:gd name="connsiteY7" fmla="*/ 193329 h 322397"/>
                <a:gd name="connsiteX8" fmla="*/ 696591 w 698679"/>
                <a:gd name="connsiteY8" fmla="*/ 264195 h 322397"/>
                <a:gd name="connsiteX9" fmla="*/ 652204 w 698679"/>
                <a:gd name="connsiteY9" fmla="*/ 322012 h 322397"/>
                <a:gd name="connsiteX10" fmla="*/ 474754 w 698679"/>
                <a:gd name="connsiteY10" fmla="*/ 321917 h 322397"/>
                <a:gd name="connsiteX11" fmla="*/ 349214 w 698679"/>
                <a:gd name="connsiteY11" fmla="*/ 321917 h 32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8679" h="322397">
                  <a:moveTo>
                    <a:pt x="349119" y="322012"/>
                  </a:moveTo>
                  <a:cubicBezTo>
                    <a:pt x="249106" y="322012"/>
                    <a:pt x="149189" y="321250"/>
                    <a:pt x="49176" y="322393"/>
                  </a:cubicBezTo>
                  <a:cubicBezTo>
                    <a:pt x="10124" y="322869"/>
                    <a:pt x="-8164" y="285912"/>
                    <a:pt x="3456" y="255623"/>
                  </a:cubicBezTo>
                  <a:cubicBezTo>
                    <a:pt x="17458" y="218951"/>
                    <a:pt x="32793" y="183518"/>
                    <a:pt x="55463" y="151514"/>
                  </a:cubicBezTo>
                  <a:cubicBezTo>
                    <a:pt x="89848" y="103127"/>
                    <a:pt x="133663" y="65694"/>
                    <a:pt x="186717" y="38834"/>
                  </a:cubicBezTo>
                  <a:cubicBezTo>
                    <a:pt x="243772" y="9878"/>
                    <a:pt x="304256" y="-2600"/>
                    <a:pt x="367978" y="448"/>
                  </a:cubicBezTo>
                  <a:cubicBezTo>
                    <a:pt x="409698" y="2448"/>
                    <a:pt x="450370" y="11116"/>
                    <a:pt x="488660" y="27785"/>
                  </a:cubicBezTo>
                  <a:cubicBezTo>
                    <a:pt x="567432" y="62075"/>
                    <a:pt x="628201" y="117034"/>
                    <a:pt x="668206" y="193329"/>
                  </a:cubicBezTo>
                  <a:cubicBezTo>
                    <a:pt x="679922" y="215808"/>
                    <a:pt x="688495" y="240097"/>
                    <a:pt x="696591" y="264195"/>
                  </a:cubicBezTo>
                  <a:cubicBezTo>
                    <a:pt x="705544" y="290675"/>
                    <a:pt x="684780" y="322202"/>
                    <a:pt x="652204" y="322012"/>
                  </a:cubicBezTo>
                  <a:cubicBezTo>
                    <a:pt x="593054" y="321631"/>
                    <a:pt x="533904" y="321917"/>
                    <a:pt x="474754" y="321917"/>
                  </a:cubicBezTo>
                  <a:cubicBezTo>
                    <a:pt x="432939" y="321917"/>
                    <a:pt x="391029" y="321917"/>
                    <a:pt x="349214" y="3219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3DB1D0B-A5B8-D20B-9BDC-A8E5F894D0C0}"/>
                </a:ext>
              </a:extLst>
            </p:cNvPr>
            <p:cNvSpPr/>
            <p:nvPr/>
          </p:nvSpPr>
          <p:spPr>
            <a:xfrm>
              <a:off x="13637036" y="2560561"/>
              <a:ext cx="364338" cy="364844"/>
            </a:xfrm>
            <a:custGeom>
              <a:avLst/>
              <a:gdLst>
                <a:gd name="connsiteX0" fmla="*/ 181167 w 364338"/>
                <a:gd name="connsiteY0" fmla="*/ 364838 h 364844"/>
                <a:gd name="connsiteX1" fmla="*/ 1 w 364338"/>
                <a:gd name="connsiteY1" fmla="*/ 182625 h 364844"/>
                <a:gd name="connsiteX2" fmla="*/ 185263 w 364338"/>
                <a:gd name="connsiteY2" fmla="*/ 30 h 364844"/>
                <a:gd name="connsiteX3" fmla="*/ 364333 w 364338"/>
                <a:gd name="connsiteY3" fmla="*/ 184625 h 364844"/>
                <a:gd name="connsiteX4" fmla="*/ 181167 w 364338"/>
                <a:gd name="connsiteY4" fmla="*/ 364838 h 364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338" h="364844">
                  <a:moveTo>
                    <a:pt x="181167" y="364838"/>
                  </a:moveTo>
                  <a:cubicBezTo>
                    <a:pt x="78487" y="364362"/>
                    <a:pt x="-380" y="281399"/>
                    <a:pt x="1" y="182625"/>
                  </a:cubicBezTo>
                  <a:cubicBezTo>
                    <a:pt x="478" y="77278"/>
                    <a:pt x="84202" y="-1779"/>
                    <a:pt x="185263" y="30"/>
                  </a:cubicBezTo>
                  <a:cubicBezTo>
                    <a:pt x="285466" y="1840"/>
                    <a:pt x="365095" y="81183"/>
                    <a:pt x="364333" y="184625"/>
                  </a:cubicBezTo>
                  <a:cubicBezTo>
                    <a:pt x="363571" y="285971"/>
                    <a:pt x="281560" y="365695"/>
                    <a:pt x="181167" y="3648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63DBC00-6B79-5B59-0EDB-D3C8BFC6874A}"/>
                </a:ext>
              </a:extLst>
            </p:cNvPr>
            <p:cNvSpPr/>
            <p:nvPr/>
          </p:nvSpPr>
          <p:spPr>
            <a:xfrm>
              <a:off x="13913740" y="3323684"/>
              <a:ext cx="214341" cy="439252"/>
            </a:xfrm>
            <a:custGeom>
              <a:avLst/>
              <a:gdLst>
                <a:gd name="connsiteX0" fmla="*/ 149160 w 214341"/>
                <a:gd name="connsiteY0" fmla="*/ 160071 h 439252"/>
                <a:gd name="connsiteX1" fmla="*/ 147827 w 214341"/>
                <a:gd name="connsiteY1" fmla="*/ 174549 h 439252"/>
                <a:gd name="connsiteX2" fmla="*/ 147731 w 214341"/>
                <a:gd name="connsiteY2" fmla="*/ 396767 h 439252"/>
                <a:gd name="connsiteX3" fmla="*/ 115823 w 214341"/>
                <a:gd name="connsiteY3" fmla="*/ 438106 h 439252"/>
                <a:gd name="connsiteX4" fmla="*/ 68579 w 214341"/>
                <a:gd name="connsiteY4" fmla="*/ 405245 h 439252"/>
                <a:gd name="connsiteX5" fmla="*/ 68198 w 214341"/>
                <a:gd name="connsiteY5" fmla="*/ 377241 h 439252"/>
                <a:gd name="connsiteX6" fmla="*/ 68198 w 214341"/>
                <a:gd name="connsiteY6" fmla="*/ 173692 h 439252"/>
                <a:gd name="connsiteX7" fmla="*/ 54005 w 214341"/>
                <a:gd name="connsiteY7" fmla="*/ 163881 h 439252"/>
                <a:gd name="connsiteX8" fmla="*/ 7333 w 214341"/>
                <a:gd name="connsiteY8" fmla="*/ 149117 h 439252"/>
                <a:gd name="connsiteX9" fmla="*/ 9143 w 214341"/>
                <a:gd name="connsiteY9" fmla="*/ 101873 h 439252"/>
                <a:gd name="connsiteX10" fmla="*/ 74675 w 214341"/>
                <a:gd name="connsiteY10" fmla="*/ 17863 h 439252"/>
                <a:gd name="connsiteX11" fmla="*/ 141064 w 214341"/>
                <a:gd name="connsiteY11" fmla="*/ 18720 h 439252"/>
                <a:gd name="connsiteX12" fmla="*/ 203643 w 214341"/>
                <a:gd name="connsiteY12" fmla="*/ 98539 h 439252"/>
                <a:gd name="connsiteX13" fmla="*/ 204596 w 214341"/>
                <a:gd name="connsiteY13" fmla="*/ 153785 h 439252"/>
                <a:gd name="connsiteX14" fmla="*/ 153161 w 214341"/>
                <a:gd name="connsiteY14" fmla="*/ 160357 h 439252"/>
                <a:gd name="connsiteX15" fmla="*/ 149160 w 214341"/>
                <a:gd name="connsiteY15" fmla="*/ 160071 h 439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14341" h="439252">
                  <a:moveTo>
                    <a:pt x="149160" y="160071"/>
                  </a:moveTo>
                  <a:cubicBezTo>
                    <a:pt x="148684" y="164834"/>
                    <a:pt x="147827" y="169691"/>
                    <a:pt x="147827" y="174549"/>
                  </a:cubicBezTo>
                  <a:cubicBezTo>
                    <a:pt x="147827" y="248654"/>
                    <a:pt x="147827" y="322663"/>
                    <a:pt x="147731" y="396767"/>
                  </a:cubicBezTo>
                  <a:cubicBezTo>
                    <a:pt x="147731" y="418008"/>
                    <a:pt x="136111" y="432772"/>
                    <a:pt x="115823" y="438106"/>
                  </a:cubicBezTo>
                  <a:cubicBezTo>
                    <a:pt x="94296" y="443821"/>
                    <a:pt x="70484" y="427438"/>
                    <a:pt x="68579" y="405245"/>
                  </a:cubicBezTo>
                  <a:cubicBezTo>
                    <a:pt x="67817" y="396005"/>
                    <a:pt x="68198" y="386575"/>
                    <a:pt x="68198" y="377241"/>
                  </a:cubicBezTo>
                  <a:cubicBezTo>
                    <a:pt x="68198" y="309423"/>
                    <a:pt x="68198" y="241605"/>
                    <a:pt x="68198" y="173692"/>
                  </a:cubicBezTo>
                  <a:cubicBezTo>
                    <a:pt x="68198" y="159976"/>
                    <a:pt x="67436" y="159404"/>
                    <a:pt x="54005" y="163881"/>
                  </a:cubicBezTo>
                  <a:cubicBezTo>
                    <a:pt x="35622" y="169977"/>
                    <a:pt x="18668" y="164643"/>
                    <a:pt x="7333" y="149117"/>
                  </a:cubicBezTo>
                  <a:cubicBezTo>
                    <a:pt x="-2954" y="135116"/>
                    <a:pt x="-2478" y="116923"/>
                    <a:pt x="9143" y="101873"/>
                  </a:cubicBezTo>
                  <a:cubicBezTo>
                    <a:pt x="30860" y="73775"/>
                    <a:pt x="52577" y="45676"/>
                    <a:pt x="74675" y="17863"/>
                  </a:cubicBezTo>
                  <a:cubicBezTo>
                    <a:pt x="93915" y="-6331"/>
                    <a:pt x="121823" y="-5854"/>
                    <a:pt x="141064" y="18720"/>
                  </a:cubicBezTo>
                  <a:cubicBezTo>
                    <a:pt x="161924" y="45295"/>
                    <a:pt x="182879" y="71870"/>
                    <a:pt x="203643" y="98539"/>
                  </a:cubicBezTo>
                  <a:cubicBezTo>
                    <a:pt x="217550" y="116351"/>
                    <a:pt x="217931" y="137687"/>
                    <a:pt x="204596" y="153785"/>
                  </a:cubicBezTo>
                  <a:cubicBezTo>
                    <a:pt x="193642" y="167024"/>
                    <a:pt x="172877" y="169691"/>
                    <a:pt x="153161" y="160357"/>
                  </a:cubicBezTo>
                  <a:cubicBezTo>
                    <a:pt x="152589" y="160071"/>
                    <a:pt x="151827" y="160262"/>
                    <a:pt x="149160" y="160071"/>
                  </a:cubicBezTo>
                  <a:close/>
                </a:path>
              </a:pathLst>
            </a:custGeom>
            <a:solidFill>
              <a:srgbClr val="4DA6D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2CEA4EC-AD56-203A-82F9-0B59C87943C4}"/>
                </a:ext>
              </a:extLst>
            </p:cNvPr>
            <p:cNvSpPr/>
            <p:nvPr/>
          </p:nvSpPr>
          <p:spPr>
            <a:xfrm>
              <a:off x="13510180" y="3323916"/>
              <a:ext cx="214620" cy="439051"/>
            </a:xfrm>
            <a:custGeom>
              <a:avLst/>
              <a:gdLst>
                <a:gd name="connsiteX0" fmla="*/ 66755 w 214620"/>
                <a:gd name="connsiteY0" fmla="*/ 153934 h 439051"/>
                <a:gd name="connsiteX1" fmla="*/ 66755 w 214620"/>
                <a:gd name="connsiteY1" fmla="*/ 40777 h 439051"/>
                <a:gd name="connsiteX2" fmla="*/ 105426 w 214620"/>
                <a:gd name="connsiteY2" fmla="*/ 10 h 439051"/>
                <a:gd name="connsiteX3" fmla="*/ 146289 w 214620"/>
                <a:gd name="connsiteY3" fmla="*/ 39253 h 439051"/>
                <a:gd name="connsiteX4" fmla="*/ 146384 w 214620"/>
                <a:gd name="connsiteY4" fmla="*/ 114024 h 439051"/>
                <a:gd name="connsiteX5" fmla="*/ 146289 w 214620"/>
                <a:gd name="connsiteY5" fmla="*/ 268710 h 439051"/>
                <a:gd name="connsiteX6" fmla="*/ 158195 w 214620"/>
                <a:gd name="connsiteY6" fmla="*/ 276616 h 439051"/>
                <a:gd name="connsiteX7" fmla="*/ 206201 w 214620"/>
                <a:gd name="connsiteY7" fmla="*/ 288712 h 439051"/>
                <a:gd name="connsiteX8" fmla="*/ 206391 w 214620"/>
                <a:gd name="connsiteY8" fmla="*/ 335957 h 439051"/>
                <a:gd name="connsiteX9" fmla="*/ 138859 w 214620"/>
                <a:gd name="connsiteY9" fmla="*/ 422348 h 439051"/>
                <a:gd name="connsiteX10" fmla="*/ 73518 w 214620"/>
                <a:gd name="connsiteY10" fmla="*/ 421015 h 439051"/>
                <a:gd name="connsiteX11" fmla="*/ 6462 w 214620"/>
                <a:gd name="connsiteY11" fmla="*/ 334242 h 439051"/>
                <a:gd name="connsiteX12" fmla="*/ 9129 w 214620"/>
                <a:gd name="connsiteY12" fmla="*/ 286998 h 439051"/>
                <a:gd name="connsiteX13" fmla="*/ 53801 w 214620"/>
                <a:gd name="connsiteY13" fmla="*/ 275758 h 439051"/>
                <a:gd name="connsiteX14" fmla="*/ 66660 w 214620"/>
                <a:gd name="connsiteY14" fmla="*/ 267091 h 439051"/>
                <a:gd name="connsiteX15" fmla="*/ 66660 w 214620"/>
                <a:gd name="connsiteY15" fmla="*/ 153934 h 439051"/>
                <a:gd name="connsiteX16" fmla="*/ 66660 w 214620"/>
                <a:gd name="connsiteY16" fmla="*/ 153934 h 439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4620" h="439051">
                  <a:moveTo>
                    <a:pt x="66755" y="153934"/>
                  </a:moveTo>
                  <a:cubicBezTo>
                    <a:pt x="66755" y="116215"/>
                    <a:pt x="66564" y="78496"/>
                    <a:pt x="66755" y="40777"/>
                  </a:cubicBezTo>
                  <a:cubicBezTo>
                    <a:pt x="66850" y="18679"/>
                    <a:pt x="84471" y="486"/>
                    <a:pt x="105426" y="10"/>
                  </a:cubicBezTo>
                  <a:cubicBezTo>
                    <a:pt x="127810" y="-467"/>
                    <a:pt x="145908" y="16583"/>
                    <a:pt x="146289" y="39253"/>
                  </a:cubicBezTo>
                  <a:cubicBezTo>
                    <a:pt x="146670" y="64208"/>
                    <a:pt x="146384" y="89068"/>
                    <a:pt x="146384" y="114024"/>
                  </a:cubicBezTo>
                  <a:cubicBezTo>
                    <a:pt x="146384" y="165554"/>
                    <a:pt x="146384" y="217180"/>
                    <a:pt x="146289" y="268710"/>
                  </a:cubicBezTo>
                  <a:cubicBezTo>
                    <a:pt x="146289" y="278140"/>
                    <a:pt x="150575" y="281759"/>
                    <a:pt x="158195" y="276616"/>
                  </a:cubicBezTo>
                  <a:cubicBezTo>
                    <a:pt x="173149" y="266614"/>
                    <a:pt x="195057" y="274996"/>
                    <a:pt x="206201" y="288712"/>
                  </a:cubicBezTo>
                  <a:cubicBezTo>
                    <a:pt x="217155" y="302333"/>
                    <a:pt x="217631" y="321193"/>
                    <a:pt x="206391" y="335957"/>
                  </a:cubicBezTo>
                  <a:cubicBezTo>
                    <a:pt x="184198" y="365008"/>
                    <a:pt x="161814" y="393964"/>
                    <a:pt x="138859" y="422348"/>
                  </a:cubicBezTo>
                  <a:cubicBezTo>
                    <a:pt x="120285" y="445303"/>
                    <a:pt x="91615" y="444351"/>
                    <a:pt x="73518" y="421015"/>
                  </a:cubicBezTo>
                  <a:cubicBezTo>
                    <a:pt x="51134" y="392154"/>
                    <a:pt x="28655" y="363293"/>
                    <a:pt x="6462" y="334242"/>
                  </a:cubicBezTo>
                  <a:cubicBezTo>
                    <a:pt x="-3254" y="321479"/>
                    <a:pt x="-1730" y="300333"/>
                    <a:pt x="9129" y="286998"/>
                  </a:cubicBezTo>
                  <a:cubicBezTo>
                    <a:pt x="20368" y="273282"/>
                    <a:pt x="38180" y="268805"/>
                    <a:pt x="53801" y="275758"/>
                  </a:cubicBezTo>
                  <a:cubicBezTo>
                    <a:pt x="65040" y="280807"/>
                    <a:pt x="66755" y="279664"/>
                    <a:pt x="66660" y="267091"/>
                  </a:cubicBezTo>
                  <a:cubicBezTo>
                    <a:pt x="66660" y="229372"/>
                    <a:pt x="66660" y="191653"/>
                    <a:pt x="66660" y="153934"/>
                  </a:cubicBezTo>
                  <a:lnTo>
                    <a:pt x="66660" y="153934"/>
                  </a:lnTo>
                  <a:close/>
                </a:path>
              </a:pathLst>
            </a:custGeom>
            <a:solidFill>
              <a:srgbClr val="4DA6D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F0E301E-7FDC-908D-288F-28A6C7F35046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9576884" y="2302442"/>
            <a:ext cx="621016" cy="645111"/>
            <a:chOff x="13131831" y="4038503"/>
            <a:chExt cx="1374648" cy="1427982"/>
          </a:xfrm>
          <a:solidFill>
            <a:srgbClr val="020C4A"/>
          </a:solidFill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A55576A-8A10-3A30-6ED4-400AF58FAB1D}"/>
                </a:ext>
              </a:extLst>
            </p:cNvPr>
            <p:cNvSpPr/>
            <p:nvPr/>
          </p:nvSpPr>
          <p:spPr>
            <a:xfrm>
              <a:off x="13140975" y="4612216"/>
              <a:ext cx="1365504" cy="854269"/>
            </a:xfrm>
            <a:custGeom>
              <a:avLst/>
              <a:gdLst>
                <a:gd name="connsiteX0" fmla="*/ 191 w 1365504"/>
                <a:gd name="connsiteY0" fmla="*/ 854072 h 854269"/>
                <a:gd name="connsiteX1" fmla="*/ 191 w 1365504"/>
                <a:gd name="connsiteY1" fmla="*/ 841023 h 854269"/>
                <a:gd name="connsiteX2" fmla="*/ 0 w 1365504"/>
                <a:gd name="connsiteY2" fmla="*/ 67403 h 854269"/>
                <a:gd name="connsiteX3" fmla="*/ 26670 w 1365504"/>
                <a:gd name="connsiteY3" fmla="*/ 11205 h 854269"/>
                <a:gd name="connsiteX4" fmla="*/ 114872 w 1365504"/>
                <a:gd name="connsiteY4" fmla="*/ 29112 h 854269"/>
                <a:gd name="connsiteX5" fmla="*/ 125063 w 1365504"/>
                <a:gd name="connsiteY5" fmla="*/ 71689 h 854269"/>
                <a:gd name="connsiteX6" fmla="*/ 125063 w 1365504"/>
                <a:gd name="connsiteY6" fmla="*/ 474596 h 854269"/>
                <a:gd name="connsiteX7" fmla="*/ 143923 w 1365504"/>
                <a:gd name="connsiteY7" fmla="*/ 493361 h 854269"/>
                <a:gd name="connsiteX8" fmla="*/ 1221486 w 1365504"/>
                <a:gd name="connsiteY8" fmla="*/ 493361 h 854269"/>
                <a:gd name="connsiteX9" fmla="*/ 1227677 w 1365504"/>
                <a:gd name="connsiteY9" fmla="*/ 493361 h 854269"/>
                <a:gd name="connsiteX10" fmla="*/ 1241679 w 1365504"/>
                <a:gd name="connsiteY10" fmla="*/ 479549 h 854269"/>
                <a:gd name="connsiteX11" fmla="*/ 1241584 w 1365504"/>
                <a:gd name="connsiteY11" fmla="*/ 190846 h 854269"/>
                <a:gd name="connsiteX12" fmla="*/ 1267968 w 1365504"/>
                <a:gd name="connsiteY12" fmla="*/ 137411 h 854269"/>
                <a:gd name="connsiteX13" fmla="*/ 1356932 w 1365504"/>
                <a:gd name="connsiteY13" fmla="*/ 155890 h 854269"/>
                <a:gd name="connsiteX14" fmla="*/ 1365314 w 1365504"/>
                <a:gd name="connsiteY14" fmla="*/ 196847 h 854269"/>
                <a:gd name="connsiteX15" fmla="*/ 1365314 w 1365504"/>
                <a:gd name="connsiteY15" fmla="*/ 598707 h 854269"/>
                <a:gd name="connsiteX16" fmla="*/ 1365504 w 1365504"/>
                <a:gd name="connsiteY16" fmla="*/ 840642 h 854269"/>
                <a:gd name="connsiteX17" fmla="*/ 1352360 w 1365504"/>
                <a:gd name="connsiteY17" fmla="*/ 854263 h 854269"/>
                <a:gd name="connsiteX18" fmla="*/ 1253776 w 1365504"/>
                <a:gd name="connsiteY18" fmla="*/ 853977 h 854269"/>
                <a:gd name="connsiteX19" fmla="*/ 1242441 w 1365504"/>
                <a:gd name="connsiteY19" fmla="*/ 853977 h 854269"/>
                <a:gd name="connsiteX20" fmla="*/ 1241774 w 1365504"/>
                <a:gd name="connsiteY20" fmla="*/ 840166 h 854269"/>
                <a:gd name="connsiteX21" fmla="*/ 1241774 w 1365504"/>
                <a:gd name="connsiteY21" fmla="*/ 659477 h 854269"/>
                <a:gd name="connsiteX22" fmla="*/ 1227011 w 1365504"/>
                <a:gd name="connsiteY22" fmla="*/ 644046 h 854269"/>
                <a:gd name="connsiteX23" fmla="*/ 143161 w 1365504"/>
                <a:gd name="connsiteY23" fmla="*/ 644046 h 854269"/>
                <a:gd name="connsiteX24" fmla="*/ 125063 w 1365504"/>
                <a:gd name="connsiteY24" fmla="*/ 662429 h 854269"/>
                <a:gd name="connsiteX25" fmla="*/ 125063 w 1365504"/>
                <a:gd name="connsiteY25" fmla="*/ 839975 h 854269"/>
                <a:gd name="connsiteX26" fmla="*/ 110585 w 1365504"/>
                <a:gd name="connsiteY26" fmla="*/ 853977 h 854269"/>
                <a:gd name="connsiteX27" fmla="*/ 12954 w 1365504"/>
                <a:gd name="connsiteY27" fmla="*/ 853977 h 854269"/>
                <a:gd name="connsiteX28" fmla="*/ 95 w 1365504"/>
                <a:gd name="connsiteY28" fmla="*/ 853977 h 854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365504" h="854269">
                  <a:moveTo>
                    <a:pt x="191" y="854072"/>
                  </a:moveTo>
                  <a:cubicBezTo>
                    <a:pt x="191" y="848548"/>
                    <a:pt x="191" y="844738"/>
                    <a:pt x="191" y="841023"/>
                  </a:cubicBezTo>
                  <a:cubicBezTo>
                    <a:pt x="191" y="583181"/>
                    <a:pt x="286" y="325244"/>
                    <a:pt x="0" y="67403"/>
                  </a:cubicBezTo>
                  <a:cubicBezTo>
                    <a:pt x="0" y="43780"/>
                    <a:pt x="7334" y="24921"/>
                    <a:pt x="26670" y="11205"/>
                  </a:cubicBezTo>
                  <a:cubicBezTo>
                    <a:pt x="57531" y="-10703"/>
                    <a:pt x="95536" y="1775"/>
                    <a:pt x="114872" y="29112"/>
                  </a:cubicBezTo>
                  <a:cubicBezTo>
                    <a:pt x="124016" y="42066"/>
                    <a:pt x="125063" y="56735"/>
                    <a:pt x="125063" y="71689"/>
                  </a:cubicBezTo>
                  <a:cubicBezTo>
                    <a:pt x="125063" y="205991"/>
                    <a:pt x="125063" y="340294"/>
                    <a:pt x="125063" y="474596"/>
                  </a:cubicBezTo>
                  <a:cubicBezTo>
                    <a:pt x="125063" y="492313"/>
                    <a:pt x="126016" y="493361"/>
                    <a:pt x="143923" y="493361"/>
                  </a:cubicBezTo>
                  <a:cubicBezTo>
                    <a:pt x="503110" y="493361"/>
                    <a:pt x="862298" y="493361"/>
                    <a:pt x="1221486" y="493361"/>
                  </a:cubicBezTo>
                  <a:cubicBezTo>
                    <a:pt x="1223582" y="493361"/>
                    <a:pt x="1225677" y="493361"/>
                    <a:pt x="1227677" y="493361"/>
                  </a:cubicBezTo>
                  <a:cubicBezTo>
                    <a:pt x="1241107" y="493551"/>
                    <a:pt x="1241679" y="492979"/>
                    <a:pt x="1241679" y="479549"/>
                  </a:cubicBezTo>
                  <a:cubicBezTo>
                    <a:pt x="1241679" y="383347"/>
                    <a:pt x="1241870" y="287049"/>
                    <a:pt x="1241584" y="190846"/>
                  </a:cubicBezTo>
                  <a:cubicBezTo>
                    <a:pt x="1241584" y="168272"/>
                    <a:pt x="1250442" y="151032"/>
                    <a:pt x="1267968" y="137411"/>
                  </a:cubicBezTo>
                  <a:cubicBezTo>
                    <a:pt x="1295495" y="115980"/>
                    <a:pt x="1339406" y="125505"/>
                    <a:pt x="1356932" y="155890"/>
                  </a:cubicBezTo>
                  <a:cubicBezTo>
                    <a:pt x="1364552" y="169034"/>
                    <a:pt x="1365218" y="182750"/>
                    <a:pt x="1365314" y="196847"/>
                  </a:cubicBezTo>
                  <a:cubicBezTo>
                    <a:pt x="1365314" y="330769"/>
                    <a:pt x="1365314" y="464786"/>
                    <a:pt x="1365314" y="598707"/>
                  </a:cubicBezTo>
                  <a:cubicBezTo>
                    <a:pt x="1365314" y="679384"/>
                    <a:pt x="1365123" y="760061"/>
                    <a:pt x="1365504" y="840642"/>
                  </a:cubicBezTo>
                  <a:cubicBezTo>
                    <a:pt x="1365504" y="850643"/>
                    <a:pt x="1363409" y="854453"/>
                    <a:pt x="1352360" y="854263"/>
                  </a:cubicBezTo>
                  <a:cubicBezTo>
                    <a:pt x="1319498" y="853501"/>
                    <a:pt x="1286637" y="853977"/>
                    <a:pt x="1253776" y="853977"/>
                  </a:cubicBezTo>
                  <a:lnTo>
                    <a:pt x="1242441" y="853977"/>
                  </a:lnTo>
                  <a:cubicBezTo>
                    <a:pt x="1242155" y="848834"/>
                    <a:pt x="1241774" y="844547"/>
                    <a:pt x="1241774" y="840166"/>
                  </a:cubicBezTo>
                  <a:cubicBezTo>
                    <a:pt x="1241774" y="779968"/>
                    <a:pt x="1241774" y="719674"/>
                    <a:pt x="1241774" y="659477"/>
                  </a:cubicBezTo>
                  <a:cubicBezTo>
                    <a:pt x="1241774" y="644522"/>
                    <a:pt x="1241298" y="644046"/>
                    <a:pt x="1227011" y="644046"/>
                  </a:cubicBezTo>
                  <a:cubicBezTo>
                    <a:pt x="865727" y="644046"/>
                    <a:pt x="504444" y="644046"/>
                    <a:pt x="143161" y="644046"/>
                  </a:cubicBezTo>
                  <a:cubicBezTo>
                    <a:pt x="126111" y="644046"/>
                    <a:pt x="125063" y="645094"/>
                    <a:pt x="125063" y="662429"/>
                  </a:cubicBezTo>
                  <a:cubicBezTo>
                    <a:pt x="125063" y="721579"/>
                    <a:pt x="125063" y="780825"/>
                    <a:pt x="125063" y="839975"/>
                  </a:cubicBezTo>
                  <a:cubicBezTo>
                    <a:pt x="125063" y="853882"/>
                    <a:pt x="125063" y="853882"/>
                    <a:pt x="110585" y="853977"/>
                  </a:cubicBezTo>
                  <a:cubicBezTo>
                    <a:pt x="78010" y="853977"/>
                    <a:pt x="45530" y="853977"/>
                    <a:pt x="12954" y="853977"/>
                  </a:cubicBezTo>
                  <a:lnTo>
                    <a:pt x="95" y="85397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A1B322C-584F-F98F-4972-9ACE7AABF079}"/>
                </a:ext>
              </a:extLst>
            </p:cNvPr>
            <p:cNvSpPr/>
            <p:nvPr/>
          </p:nvSpPr>
          <p:spPr>
            <a:xfrm>
              <a:off x="13570458" y="4781970"/>
              <a:ext cx="767109" cy="277124"/>
            </a:xfrm>
            <a:custGeom>
              <a:avLst/>
              <a:gdLst>
                <a:gd name="connsiteX0" fmla="*/ 383000 w 767109"/>
                <a:gd name="connsiteY0" fmla="*/ 276934 h 277124"/>
                <a:gd name="connsiteX1" fmla="*/ 17717 w 767109"/>
                <a:gd name="connsiteY1" fmla="*/ 276934 h 277124"/>
                <a:gd name="connsiteX2" fmla="*/ 0 w 767109"/>
                <a:gd name="connsiteY2" fmla="*/ 259027 h 277124"/>
                <a:gd name="connsiteX3" fmla="*/ 0 w 767109"/>
                <a:gd name="connsiteY3" fmla="*/ 16140 h 277124"/>
                <a:gd name="connsiteX4" fmla="*/ 16383 w 767109"/>
                <a:gd name="connsiteY4" fmla="*/ 42 h 277124"/>
                <a:gd name="connsiteX5" fmla="*/ 686848 w 767109"/>
                <a:gd name="connsiteY5" fmla="*/ 42 h 277124"/>
                <a:gd name="connsiteX6" fmla="*/ 759905 w 767109"/>
                <a:gd name="connsiteY6" fmla="*/ 45000 h 277124"/>
                <a:gd name="connsiteX7" fmla="*/ 766667 w 767109"/>
                <a:gd name="connsiteY7" fmla="*/ 79290 h 277124"/>
                <a:gd name="connsiteX8" fmla="*/ 767048 w 767109"/>
                <a:gd name="connsiteY8" fmla="*/ 261980 h 277124"/>
                <a:gd name="connsiteX9" fmla="*/ 751427 w 767109"/>
                <a:gd name="connsiteY9" fmla="*/ 277125 h 277124"/>
                <a:gd name="connsiteX10" fmla="*/ 383000 w 767109"/>
                <a:gd name="connsiteY10" fmla="*/ 277125 h 277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67109" h="277124">
                  <a:moveTo>
                    <a:pt x="383000" y="276934"/>
                  </a:moveTo>
                  <a:cubicBezTo>
                    <a:pt x="261271" y="276934"/>
                    <a:pt x="139446" y="276934"/>
                    <a:pt x="17717" y="276934"/>
                  </a:cubicBezTo>
                  <a:cubicBezTo>
                    <a:pt x="5905" y="276934"/>
                    <a:pt x="0" y="270962"/>
                    <a:pt x="0" y="259027"/>
                  </a:cubicBezTo>
                  <a:cubicBezTo>
                    <a:pt x="0" y="178065"/>
                    <a:pt x="0" y="97102"/>
                    <a:pt x="0" y="16140"/>
                  </a:cubicBezTo>
                  <a:cubicBezTo>
                    <a:pt x="0" y="328"/>
                    <a:pt x="286" y="42"/>
                    <a:pt x="16383" y="42"/>
                  </a:cubicBezTo>
                  <a:cubicBezTo>
                    <a:pt x="239839" y="42"/>
                    <a:pt x="463296" y="-53"/>
                    <a:pt x="686848" y="42"/>
                  </a:cubicBezTo>
                  <a:cubicBezTo>
                    <a:pt x="720280" y="42"/>
                    <a:pt x="745522" y="14901"/>
                    <a:pt x="759905" y="45000"/>
                  </a:cubicBezTo>
                  <a:cubicBezTo>
                    <a:pt x="764762" y="55192"/>
                    <a:pt x="766572" y="67765"/>
                    <a:pt x="766667" y="79290"/>
                  </a:cubicBezTo>
                  <a:cubicBezTo>
                    <a:pt x="767334" y="140155"/>
                    <a:pt x="767048" y="201115"/>
                    <a:pt x="767048" y="261980"/>
                  </a:cubicBezTo>
                  <a:cubicBezTo>
                    <a:pt x="767048" y="275886"/>
                    <a:pt x="765715" y="277125"/>
                    <a:pt x="751427" y="277125"/>
                  </a:cubicBezTo>
                  <a:cubicBezTo>
                    <a:pt x="628650" y="277125"/>
                    <a:pt x="505778" y="277125"/>
                    <a:pt x="383000" y="2771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14DB9ED-11D8-4D51-F0AA-B8762075C690}"/>
                </a:ext>
              </a:extLst>
            </p:cNvPr>
            <p:cNvSpPr/>
            <p:nvPr/>
          </p:nvSpPr>
          <p:spPr>
            <a:xfrm>
              <a:off x="13720819" y="4381653"/>
              <a:ext cx="535026" cy="331010"/>
            </a:xfrm>
            <a:custGeom>
              <a:avLst/>
              <a:gdLst>
                <a:gd name="connsiteX0" fmla="*/ 267976 w 535026"/>
                <a:gd name="connsiteY0" fmla="*/ 330541 h 331010"/>
                <a:gd name="connsiteX1" fmla="*/ 131959 w 535026"/>
                <a:gd name="connsiteY1" fmla="*/ 330541 h 331010"/>
                <a:gd name="connsiteX2" fmla="*/ 119958 w 535026"/>
                <a:gd name="connsiteY2" fmla="*/ 315491 h 331010"/>
                <a:gd name="connsiteX3" fmla="*/ 138246 w 535026"/>
                <a:gd name="connsiteY3" fmla="*/ 253007 h 331010"/>
                <a:gd name="connsiteX4" fmla="*/ 155296 w 535026"/>
                <a:gd name="connsiteY4" fmla="*/ 194429 h 331010"/>
                <a:gd name="connsiteX5" fmla="*/ 167202 w 535026"/>
                <a:gd name="connsiteY5" fmla="*/ 154900 h 331010"/>
                <a:gd name="connsiteX6" fmla="*/ 155486 w 535026"/>
                <a:gd name="connsiteY6" fmla="*/ 138136 h 331010"/>
                <a:gd name="connsiteX7" fmla="*/ 143009 w 535026"/>
                <a:gd name="connsiteY7" fmla="*/ 138136 h 331010"/>
                <a:gd name="connsiteX8" fmla="*/ 127388 w 535026"/>
                <a:gd name="connsiteY8" fmla="*/ 150423 h 331010"/>
                <a:gd name="connsiteX9" fmla="*/ 100146 w 535026"/>
                <a:gd name="connsiteY9" fmla="*/ 243578 h 331010"/>
                <a:gd name="connsiteX10" fmla="*/ 77857 w 535026"/>
                <a:gd name="connsiteY10" fmla="*/ 321016 h 331010"/>
                <a:gd name="connsiteX11" fmla="*/ 66713 w 535026"/>
                <a:gd name="connsiteY11" fmla="*/ 330636 h 331010"/>
                <a:gd name="connsiteX12" fmla="*/ 8611 w 535026"/>
                <a:gd name="connsiteY12" fmla="*/ 330636 h 331010"/>
                <a:gd name="connsiteX13" fmla="*/ 1372 w 535026"/>
                <a:gd name="connsiteY13" fmla="*/ 318444 h 331010"/>
                <a:gd name="connsiteX14" fmla="*/ 20326 w 535026"/>
                <a:gd name="connsiteY14" fmla="*/ 257293 h 331010"/>
                <a:gd name="connsiteX15" fmla="*/ 38329 w 535026"/>
                <a:gd name="connsiteY15" fmla="*/ 199096 h 331010"/>
                <a:gd name="connsiteX16" fmla="*/ 55759 w 535026"/>
                <a:gd name="connsiteY16" fmla="*/ 141755 h 331010"/>
                <a:gd name="connsiteX17" fmla="*/ 84715 w 535026"/>
                <a:gd name="connsiteY17" fmla="*/ 59174 h 331010"/>
                <a:gd name="connsiteX18" fmla="*/ 148152 w 535026"/>
                <a:gd name="connsiteY18" fmla="*/ 6881 h 331010"/>
                <a:gd name="connsiteX19" fmla="*/ 192919 w 535026"/>
                <a:gd name="connsiteY19" fmla="*/ 690 h 331010"/>
                <a:gd name="connsiteX20" fmla="*/ 354844 w 535026"/>
                <a:gd name="connsiteY20" fmla="*/ 690 h 331010"/>
                <a:gd name="connsiteX21" fmla="*/ 455810 w 535026"/>
                <a:gd name="connsiteY21" fmla="*/ 69270 h 331010"/>
                <a:gd name="connsiteX22" fmla="*/ 477336 w 535026"/>
                <a:gd name="connsiteY22" fmla="*/ 134897 h 331010"/>
                <a:gd name="connsiteX23" fmla="*/ 495529 w 535026"/>
                <a:gd name="connsiteY23" fmla="*/ 191952 h 331010"/>
                <a:gd name="connsiteX24" fmla="*/ 512579 w 535026"/>
                <a:gd name="connsiteY24" fmla="*/ 249388 h 331010"/>
                <a:gd name="connsiteX25" fmla="*/ 530390 w 535026"/>
                <a:gd name="connsiteY25" fmla="*/ 306538 h 331010"/>
                <a:gd name="connsiteX26" fmla="*/ 531629 w 535026"/>
                <a:gd name="connsiteY26" fmla="*/ 309395 h 331010"/>
                <a:gd name="connsiteX27" fmla="*/ 517055 w 535026"/>
                <a:gd name="connsiteY27" fmla="*/ 330636 h 331010"/>
                <a:gd name="connsiteX28" fmla="*/ 475526 w 535026"/>
                <a:gd name="connsiteY28" fmla="*/ 330922 h 331010"/>
                <a:gd name="connsiteX29" fmla="*/ 456857 w 535026"/>
                <a:gd name="connsiteY29" fmla="*/ 317111 h 331010"/>
                <a:gd name="connsiteX30" fmla="*/ 432759 w 535026"/>
                <a:gd name="connsiteY30" fmla="*/ 233767 h 331010"/>
                <a:gd name="connsiteX31" fmla="*/ 405232 w 535026"/>
                <a:gd name="connsiteY31" fmla="*/ 145946 h 331010"/>
                <a:gd name="connsiteX32" fmla="*/ 397802 w 535026"/>
                <a:gd name="connsiteY32" fmla="*/ 138707 h 331010"/>
                <a:gd name="connsiteX33" fmla="*/ 372942 w 535026"/>
                <a:gd name="connsiteY33" fmla="*/ 138517 h 331010"/>
                <a:gd name="connsiteX34" fmla="*/ 366656 w 535026"/>
                <a:gd name="connsiteY34" fmla="*/ 147947 h 331010"/>
                <a:gd name="connsiteX35" fmla="*/ 388658 w 535026"/>
                <a:gd name="connsiteY35" fmla="*/ 223384 h 331010"/>
                <a:gd name="connsiteX36" fmla="*/ 405327 w 535026"/>
                <a:gd name="connsiteY36" fmla="*/ 283106 h 331010"/>
                <a:gd name="connsiteX37" fmla="*/ 415233 w 535026"/>
                <a:gd name="connsiteY37" fmla="*/ 316825 h 331010"/>
                <a:gd name="connsiteX38" fmla="*/ 406089 w 535026"/>
                <a:gd name="connsiteY38" fmla="*/ 330446 h 331010"/>
                <a:gd name="connsiteX39" fmla="*/ 267976 w 535026"/>
                <a:gd name="connsiteY39" fmla="*/ 330446 h 33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535026" h="331010">
                  <a:moveTo>
                    <a:pt x="267976" y="330541"/>
                  </a:moveTo>
                  <a:cubicBezTo>
                    <a:pt x="222638" y="330541"/>
                    <a:pt x="177298" y="330541"/>
                    <a:pt x="131959" y="330541"/>
                  </a:cubicBezTo>
                  <a:cubicBezTo>
                    <a:pt x="117863" y="330541"/>
                    <a:pt x="116339" y="329303"/>
                    <a:pt x="119958" y="315491"/>
                  </a:cubicBezTo>
                  <a:cubicBezTo>
                    <a:pt x="125482" y="294536"/>
                    <a:pt x="132150" y="273867"/>
                    <a:pt x="138246" y="253007"/>
                  </a:cubicBezTo>
                  <a:cubicBezTo>
                    <a:pt x="143961" y="233481"/>
                    <a:pt x="149581" y="213955"/>
                    <a:pt x="155296" y="194429"/>
                  </a:cubicBezTo>
                  <a:cubicBezTo>
                    <a:pt x="159201" y="181189"/>
                    <a:pt x="162630" y="167854"/>
                    <a:pt x="167202" y="154900"/>
                  </a:cubicBezTo>
                  <a:cubicBezTo>
                    <a:pt x="171774" y="141755"/>
                    <a:pt x="169679" y="138136"/>
                    <a:pt x="155486" y="138136"/>
                  </a:cubicBezTo>
                  <a:cubicBezTo>
                    <a:pt x="151295" y="138136"/>
                    <a:pt x="147200" y="138136"/>
                    <a:pt x="143009" y="138136"/>
                  </a:cubicBezTo>
                  <a:cubicBezTo>
                    <a:pt x="134531" y="138136"/>
                    <a:pt x="129769" y="142232"/>
                    <a:pt x="127388" y="150423"/>
                  </a:cubicBezTo>
                  <a:cubicBezTo>
                    <a:pt x="118434" y="181570"/>
                    <a:pt x="109195" y="212526"/>
                    <a:pt x="100146" y="243578"/>
                  </a:cubicBezTo>
                  <a:cubicBezTo>
                    <a:pt x="92621" y="269390"/>
                    <a:pt x="84906" y="295108"/>
                    <a:pt x="77857" y="321016"/>
                  </a:cubicBezTo>
                  <a:cubicBezTo>
                    <a:pt x="76143" y="327398"/>
                    <a:pt x="73381" y="330636"/>
                    <a:pt x="66713" y="330636"/>
                  </a:cubicBezTo>
                  <a:cubicBezTo>
                    <a:pt x="47377" y="330541"/>
                    <a:pt x="27947" y="330826"/>
                    <a:pt x="8611" y="330636"/>
                  </a:cubicBezTo>
                  <a:cubicBezTo>
                    <a:pt x="-247" y="330541"/>
                    <a:pt x="-1486" y="327207"/>
                    <a:pt x="1372" y="318444"/>
                  </a:cubicBezTo>
                  <a:cubicBezTo>
                    <a:pt x="8039" y="298156"/>
                    <a:pt x="14040" y="277677"/>
                    <a:pt x="20326" y="257293"/>
                  </a:cubicBezTo>
                  <a:cubicBezTo>
                    <a:pt x="26327" y="237863"/>
                    <a:pt x="32423" y="218527"/>
                    <a:pt x="38329" y="199096"/>
                  </a:cubicBezTo>
                  <a:cubicBezTo>
                    <a:pt x="44139" y="179950"/>
                    <a:pt x="49568" y="160710"/>
                    <a:pt x="55759" y="141755"/>
                  </a:cubicBezTo>
                  <a:cubicBezTo>
                    <a:pt x="64904" y="114038"/>
                    <a:pt x="72333" y="85367"/>
                    <a:pt x="84715" y="59174"/>
                  </a:cubicBezTo>
                  <a:cubicBezTo>
                    <a:pt x="97098" y="32980"/>
                    <a:pt x="119291" y="14406"/>
                    <a:pt x="148152" y="6881"/>
                  </a:cubicBezTo>
                  <a:cubicBezTo>
                    <a:pt x="162630" y="3071"/>
                    <a:pt x="177965" y="881"/>
                    <a:pt x="192919" y="690"/>
                  </a:cubicBezTo>
                  <a:cubicBezTo>
                    <a:pt x="246926" y="23"/>
                    <a:pt x="300933" y="-453"/>
                    <a:pt x="354844" y="690"/>
                  </a:cubicBezTo>
                  <a:cubicBezTo>
                    <a:pt x="402469" y="1833"/>
                    <a:pt x="436474" y="26503"/>
                    <a:pt x="455810" y="69270"/>
                  </a:cubicBezTo>
                  <a:cubicBezTo>
                    <a:pt x="465239" y="90130"/>
                    <a:pt x="470288" y="112990"/>
                    <a:pt x="477336" y="134897"/>
                  </a:cubicBezTo>
                  <a:cubicBezTo>
                    <a:pt x="483432" y="153947"/>
                    <a:pt x="489718" y="172902"/>
                    <a:pt x="495529" y="191952"/>
                  </a:cubicBezTo>
                  <a:cubicBezTo>
                    <a:pt x="501434" y="211002"/>
                    <a:pt x="506768" y="230338"/>
                    <a:pt x="512579" y="249388"/>
                  </a:cubicBezTo>
                  <a:cubicBezTo>
                    <a:pt x="518389" y="268533"/>
                    <a:pt x="524485" y="287488"/>
                    <a:pt x="530390" y="306538"/>
                  </a:cubicBezTo>
                  <a:cubicBezTo>
                    <a:pt x="530676" y="307490"/>
                    <a:pt x="531248" y="308443"/>
                    <a:pt x="531629" y="309395"/>
                  </a:cubicBezTo>
                  <a:cubicBezTo>
                    <a:pt x="538201" y="327683"/>
                    <a:pt x="536201" y="330636"/>
                    <a:pt x="517055" y="330636"/>
                  </a:cubicBezTo>
                  <a:cubicBezTo>
                    <a:pt x="503244" y="330636"/>
                    <a:pt x="489338" y="329874"/>
                    <a:pt x="475526" y="330922"/>
                  </a:cubicBezTo>
                  <a:cubicBezTo>
                    <a:pt x="464477" y="331779"/>
                    <a:pt x="459524" y="326350"/>
                    <a:pt x="456857" y="317111"/>
                  </a:cubicBezTo>
                  <a:cubicBezTo>
                    <a:pt x="448761" y="289298"/>
                    <a:pt x="441141" y="261389"/>
                    <a:pt x="432759" y="233767"/>
                  </a:cubicBezTo>
                  <a:cubicBezTo>
                    <a:pt x="423901" y="204430"/>
                    <a:pt x="414661" y="175188"/>
                    <a:pt x="405232" y="145946"/>
                  </a:cubicBezTo>
                  <a:cubicBezTo>
                    <a:pt x="404279" y="142993"/>
                    <a:pt x="400564" y="139088"/>
                    <a:pt x="397802" y="138707"/>
                  </a:cubicBezTo>
                  <a:cubicBezTo>
                    <a:pt x="389611" y="137755"/>
                    <a:pt x="381229" y="138040"/>
                    <a:pt x="372942" y="138517"/>
                  </a:cubicBezTo>
                  <a:cubicBezTo>
                    <a:pt x="367322" y="138803"/>
                    <a:pt x="365036" y="142422"/>
                    <a:pt x="366656" y="147947"/>
                  </a:cubicBezTo>
                  <a:cubicBezTo>
                    <a:pt x="373990" y="173092"/>
                    <a:pt x="381419" y="198143"/>
                    <a:pt x="388658" y="223384"/>
                  </a:cubicBezTo>
                  <a:cubicBezTo>
                    <a:pt x="394373" y="243292"/>
                    <a:pt x="399802" y="263199"/>
                    <a:pt x="405327" y="283106"/>
                  </a:cubicBezTo>
                  <a:cubicBezTo>
                    <a:pt x="408470" y="294346"/>
                    <a:pt x="411423" y="305776"/>
                    <a:pt x="415233" y="316825"/>
                  </a:cubicBezTo>
                  <a:cubicBezTo>
                    <a:pt x="419138" y="328255"/>
                    <a:pt x="418186" y="330446"/>
                    <a:pt x="406089" y="330446"/>
                  </a:cubicBezTo>
                  <a:cubicBezTo>
                    <a:pt x="360083" y="330541"/>
                    <a:pt x="314077" y="330446"/>
                    <a:pt x="267976" y="3304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8AAF3DC1-2F88-97B7-FBE2-02D3654E9681}"/>
                </a:ext>
              </a:extLst>
            </p:cNvPr>
            <p:cNvSpPr/>
            <p:nvPr/>
          </p:nvSpPr>
          <p:spPr>
            <a:xfrm>
              <a:off x="13131831" y="4040107"/>
              <a:ext cx="398240" cy="399208"/>
            </a:xfrm>
            <a:custGeom>
              <a:avLst/>
              <a:gdLst>
                <a:gd name="connsiteX0" fmla="*/ 198501 w 398240"/>
                <a:gd name="connsiteY0" fmla="*/ 399196 h 399208"/>
                <a:gd name="connsiteX1" fmla="*/ 0 w 398240"/>
                <a:gd name="connsiteY1" fmla="*/ 200218 h 399208"/>
                <a:gd name="connsiteX2" fmla="*/ 199549 w 398240"/>
                <a:gd name="connsiteY2" fmla="*/ 3 h 399208"/>
                <a:gd name="connsiteX3" fmla="*/ 398241 w 398240"/>
                <a:gd name="connsiteY3" fmla="*/ 200314 h 399208"/>
                <a:gd name="connsiteX4" fmla="*/ 198501 w 398240"/>
                <a:gd name="connsiteY4" fmla="*/ 399196 h 399208"/>
                <a:gd name="connsiteX5" fmla="*/ 198406 w 398240"/>
                <a:gd name="connsiteY5" fmla="*/ 349570 h 399208"/>
                <a:gd name="connsiteX6" fmla="*/ 348996 w 398240"/>
                <a:gd name="connsiteY6" fmla="*/ 199647 h 399208"/>
                <a:gd name="connsiteX7" fmla="*/ 199644 w 398240"/>
                <a:gd name="connsiteY7" fmla="*/ 49819 h 399208"/>
                <a:gd name="connsiteX8" fmla="*/ 49149 w 398240"/>
                <a:gd name="connsiteY8" fmla="*/ 199456 h 399208"/>
                <a:gd name="connsiteX9" fmla="*/ 198406 w 398240"/>
                <a:gd name="connsiteY9" fmla="*/ 349570 h 399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8240" h="399208">
                  <a:moveTo>
                    <a:pt x="198501" y="399196"/>
                  </a:moveTo>
                  <a:cubicBezTo>
                    <a:pt x="90964" y="400434"/>
                    <a:pt x="-190" y="309756"/>
                    <a:pt x="0" y="200218"/>
                  </a:cubicBezTo>
                  <a:cubicBezTo>
                    <a:pt x="191" y="87538"/>
                    <a:pt x="92012" y="-569"/>
                    <a:pt x="199549" y="3"/>
                  </a:cubicBezTo>
                  <a:cubicBezTo>
                    <a:pt x="307182" y="574"/>
                    <a:pt x="398050" y="86966"/>
                    <a:pt x="398241" y="200314"/>
                  </a:cubicBezTo>
                  <a:cubicBezTo>
                    <a:pt x="398431" y="310518"/>
                    <a:pt x="307753" y="400434"/>
                    <a:pt x="198501" y="399196"/>
                  </a:cubicBezTo>
                  <a:close/>
                  <a:moveTo>
                    <a:pt x="198406" y="349570"/>
                  </a:moveTo>
                  <a:cubicBezTo>
                    <a:pt x="282702" y="350809"/>
                    <a:pt x="349473" y="282514"/>
                    <a:pt x="348996" y="199647"/>
                  </a:cubicBezTo>
                  <a:cubicBezTo>
                    <a:pt x="348615" y="115255"/>
                    <a:pt x="282226" y="50485"/>
                    <a:pt x="199644" y="49819"/>
                  </a:cubicBezTo>
                  <a:cubicBezTo>
                    <a:pt x="118110" y="49152"/>
                    <a:pt x="49626" y="114589"/>
                    <a:pt x="49149" y="199456"/>
                  </a:cubicBezTo>
                  <a:cubicBezTo>
                    <a:pt x="48673" y="282705"/>
                    <a:pt x="116301" y="350618"/>
                    <a:pt x="198406" y="3495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52C0A951-498A-E245-707E-B948A0EB1A60}"/>
                </a:ext>
              </a:extLst>
            </p:cNvPr>
            <p:cNvSpPr/>
            <p:nvPr/>
          </p:nvSpPr>
          <p:spPr>
            <a:xfrm>
              <a:off x="13339359" y="4745180"/>
              <a:ext cx="189864" cy="190957"/>
            </a:xfrm>
            <a:custGeom>
              <a:avLst/>
              <a:gdLst>
                <a:gd name="connsiteX0" fmla="*/ 117 w 189864"/>
                <a:gd name="connsiteY0" fmla="*/ 94935 h 190957"/>
                <a:gd name="connsiteX1" fmla="*/ 98415 w 189864"/>
                <a:gd name="connsiteY1" fmla="*/ 66 h 190957"/>
                <a:gd name="connsiteX2" fmla="*/ 189855 w 189864"/>
                <a:gd name="connsiteY2" fmla="*/ 95887 h 190957"/>
                <a:gd name="connsiteX3" fmla="*/ 93272 w 189864"/>
                <a:gd name="connsiteY3" fmla="*/ 190947 h 190957"/>
                <a:gd name="connsiteX4" fmla="*/ 22 w 189864"/>
                <a:gd name="connsiteY4" fmla="*/ 94935 h 190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9864" h="190957">
                  <a:moveTo>
                    <a:pt x="117" y="94935"/>
                  </a:moveTo>
                  <a:cubicBezTo>
                    <a:pt x="-1597" y="41976"/>
                    <a:pt x="45933" y="-1934"/>
                    <a:pt x="98415" y="66"/>
                  </a:cubicBezTo>
                  <a:cubicBezTo>
                    <a:pt x="145469" y="1780"/>
                    <a:pt x="190617" y="42262"/>
                    <a:pt x="189855" y="95887"/>
                  </a:cubicBezTo>
                  <a:cubicBezTo>
                    <a:pt x="189093" y="151894"/>
                    <a:pt x="145374" y="191709"/>
                    <a:pt x="93272" y="190947"/>
                  </a:cubicBezTo>
                  <a:cubicBezTo>
                    <a:pt x="42027" y="190185"/>
                    <a:pt x="-1121" y="149513"/>
                    <a:pt x="22" y="9493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A0FAC42-DFFB-AE01-7688-12B927A500E4}"/>
                </a:ext>
              </a:extLst>
            </p:cNvPr>
            <p:cNvSpPr/>
            <p:nvPr/>
          </p:nvSpPr>
          <p:spPr>
            <a:xfrm>
              <a:off x="13898670" y="4177075"/>
              <a:ext cx="178650" cy="179265"/>
            </a:xfrm>
            <a:custGeom>
              <a:avLst/>
              <a:gdLst>
                <a:gd name="connsiteX0" fmla="*/ 178613 w 178650"/>
                <a:gd name="connsiteY0" fmla="*/ 89539 h 179265"/>
                <a:gd name="connsiteX1" fmla="*/ 90126 w 178650"/>
                <a:gd name="connsiteY1" fmla="*/ 179265 h 179265"/>
                <a:gd name="connsiteX2" fmla="*/ 19 w 178650"/>
                <a:gd name="connsiteY2" fmla="*/ 89349 h 179265"/>
                <a:gd name="connsiteX3" fmla="*/ 89840 w 178650"/>
                <a:gd name="connsiteY3" fmla="*/ 4 h 179265"/>
                <a:gd name="connsiteX4" fmla="*/ 178613 w 178650"/>
                <a:gd name="connsiteY4" fmla="*/ 89539 h 179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650" h="179265">
                  <a:moveTo>
                    <a:pt x="178613" y="89539"/>
                  </a:moveTo>
                  <a:cubicBezTo>
                    <a:pt x="180042" y="138784"/>
                    <a:pt x="139846" y="178979"/>
                    <a:pt x="90126" y="179265"/>
                  </a:cubicBezTo>
                  <a:cubicBezTo>
                    <a:pt x="40596" y="179455"/>
                    <a:pt x="-1028" y="138688"/>
                    <a:pt x="19" y="89349"/>
                  </a:cubicBezTo>
                  <a:cubicBezTo>
                    <a:pt x="1067" y="38962"/>
                    <a:pt x="38596" y="576"/>
                    <a:pt x="89840" y="4"/>
                  </a:cubicBezTo>
                  <a:cubicBezTo>
                    <a:pt x="137275" y="-472"/>
                    <a:pt x="179756" y="38009"/>
                    <a:pt x="178613" y="895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D454104C-8B08-2C05-D10D-20C8EB33948A}"/>
                </a:ext>
              </a:extLst>
            </p:cNvPr>
            <p:cNvSpPr/>
            <p:nvPr/>
          </p:nvSpPr>
          <p:spPr>
            <a:xfrm>
              <a:off x="13849884" y="4038503"/>
              <a:ext cx="277232" cy="147244"/>
            </a:xfrm>
            <a:custGeom>
              <a:avLst/>
              <a:gdLst>
                <a:gd name="connsiteX0" fmla="*/ 231114 w 277232"/>
                <a:gd name="connsiteY0" fmla="*/ 147244 h 147244"/>
                <a:gd name="connsiteX1" fmla="*/ 191776 w 277232"/>
                <a:gd name="connsiteY1" fmla="*/ 118955 h 147244"/>
                <a:gd name="connsiteX2" fmla="*/ 100526 w 277232"/>
                <a:gd name="connsiteY2" fmla="*/ 112573 h 147244"/>
                <a:gd name="connsiteX3" fmla="*/ 54044 w 277232"/>
                <a:gd name="connsiteY3" fmla="*/ 142196 h 147244"/>
                <a:gd name="connsiteX4" fmla="*/ 41376 w 277232"/>
                <a:gd name="connsiteY4" fmla="*/ 140386 h 147244"/>
                <a:gd name="connsiteX5" fmla="*/ 514 w 277232"/>
                <a:gd name="connsiteY5" fmla="*/ 65234 h 147244"/>
                <a:gd name="connsiteX6" fmla="*/ 2895 w 277232"/>
                <a:gd name="connsiteY6" fmla="*/ 54852 h 147244"/>
                <a:gd name="connsiteX7" fmla="*/ 50425 w 277232"/>
                <a:gd name="connsiteY7" fmla="*/ 22562 h 147244"/>
                <a:gd name="connsiteX8" fmla="*/ 106336 w 277232"/>
                <a:gd name="connsiteY8" fmla="*/ 2464 h 147244"/>
                <a:gd name="connsiteX9" fmla="*/ 151771 w 277232"/>
                <a:gd name="connsiteY9" fmla="*/ 1131 h 147244"/>
                <a:gd name="connsiteX10" fmla="*/ 271976 w 277232"/>
                <a:gd name="connsiteY10" fmla="*/ 49423 h 147244"/>
                <a:gd name="connsiteX11" fmla="*/ 275691 w 277232"/>
                <a:gd name="connsiteY11" fmla="*/ 64948 h 147244"/>
                <a:gd name="connsiteX12" fmla="*/ 232543 w 277232"/>
                <a:gd name="connsiteY12" fmla="*/ 146006 h 147244"/>
                <a:gd name="connsiteX13" fmla="*/ 231019 w 277232"/>
                <a:gd name="connsiteY13" fmla="*/ 147244 h 147244"/>
                <a:gd name="connsiteX14" fmla="*/ 138531 w 277232"/>
                <a:gd name="connsiteY14" fmla="*/ 94571 h 147244"/>
                <a:gd name="connsiteX15" fmla="*/ 153009 w 277232"/>
                <a:gd name="connsiteY15" fmla="*/ 80760 h 147244"/>
                <a:gd name="connsiteX16" fmla="*/ 166915 w 277232"/>
                <a:gd name="connsiteY16" fmla="*/ 66853 h 147244"/>
                <a:gd name="connsiteX17" fmla="*/ 180917 w 277232"/>
                <a:gd name="connsiteY17" fmla="*/ 53899 h 147244"/>
                <a:gd name="connsiteX18" fmla="*/ 167106 w 277232"/>
                <a:gd name="connsiteY18" fmla="*/ 39231 h 147244"/>
                <a:gd name="connsiteX19" fmla="*/ 153199 w 277232"/>
                <a:gd name="connsiteY19" fmla="*/ 24848 h 147244"/>
                <a:gd name="connsiteX20" fmla="*/ 137102 w 277232"/>
                <a:gd name="connsiteY20" fmla="*/ 11608 h 147244"/>
                <a:gd name="connsiteX21" fmla="*/ 125196 w 277232"/>
                <a:gd name="connsiteY21" fmla="*/ 24276 h 147244"/>
                <a:gd name="connsiteX22" fmla="*/ 109575 w 277232"/>
                <a:gd name="connsiteY22" fmla="*/ 39517 h 147244"/>
                <a:gd name="connsiteX23" fmla="*/ 98907 w 277232"/>
                <a:gd name="connsiteY23" fmla="*/ 43136 h 147244"/>
                <a:gd name="connsiteX24" fmla="*/ 111385 w 277232"/>
                <a:gd name="connsiteY24" fmla="*/ 66949 h 147244"/>
                <a:gd name="connsiteX25" fmla="*/ 125291 w 277232"/>
                <a:gd name="connsiteY25" fmla="*/ 80950 h 147244"/>
                <a:gd name="connsiteX26" fmla="*/ 138531 w 277232"/>
                <a:gd name="connsiteY26" fmla="*/ 94571 h 14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77232" h="147244">
                  <a:moveTo>
                    <a:pt x="231114" y="147244"/>
                  </a:moveTo>
                  <a:cubicBezTo>
                    <a:pt x="217398" y="137148"/>
                    <a:pt x="205492" y="126384"/>
                    <a:pt x="191776" y="118955"/>
                  </a:cubicBezTo>
                  <a:cubicBezTo>
                    <a:pt x="162724" y="103143"/>
                    <a:pt x="131768" y="102572"/>
                    <a:pt x="100526" y="112573"/>
                  </a:cubicBezTo>
                  <a:cubicBezTo>
                    <a:pt x="82429" y="118384"/>
                    <a:pt x="67093" y="128385"/>
                    <a:pt x="54044" y="142196"/>
                  </a:cubicBezTo>
                  <a:cubicBezTo>
                    <a:pt x="49853" y="146673"/>
                    <a:pt x="44900" y="146673"/>
                    <a:pt x="41376" y="140386"/>
                  </a:cubicBezTo>
                  <a:cubicBezTo>
                    <a:pt x="27660" y="115335"/>
                    <a:pt x="13753" y="90475"/>
                    <a:pt x="514" y="65234"/>
                  </a:cubicBezTo>
                  <a:cubicBezTo>
                    <a:pt x="-820" y="62758"/>
                    <a:pt x="609" y="56471"/>
                    <a:pt x="2895" y="54852"/>
                  </a:cubicBezTo>
                  <a:cubicBezTo>
                    <a:pt x="18325" y="43517"/>
                    <a:pt x="33470" y="31134"/>
                    <a:pt x="50425" y="22562"/>
                  </a:cubicBezTo>
                  <a:cubicBezTo>
                    <a:pt x="68046" y="13609"/>
                    <a:pt x="87191" y="6846"/>
                    <a:pt x="106336" y="2464"/>
                  </a:cubicBezTo>
                  <a:cubicBezTo>
                    <a:pt x="120910" y="-869"/>
                    <a:pt x="136721" y="-298"/>
                    <a:pt x="151771" y="1131"/>
                  </a:cubicBezTo>
                  <a:cubicBezTo>
                    <a:pt x="196443" y="5417"/>
                    <a:pt x="237496" y="19324"/>
                    <a:pt x="271976" y="49423"/>
                  </a:cubicBezTo>
                  <a:cubicBezTo>
                    <a:pt x="277501" y="54280"/>
                    <a:pt x="278548" y="59519"/>
                    <a:pt x="275691" y="64948"/>
                  </a:cubicBezTo>
                  <a:cubicBezTo>
                    <a:pt x="261594" y="92094"/>
                    <a:pt x="247021" y="119050"/>
                    <a:pt x="232543" y="146006"/>
                  </a:cubicBezTo>
                  <a:cubicBezTo>
                    <a:pt x="232066" y="146768"/>
                    <a:pt x="231019" y="147244"/>
                    <a:pt x="231019" y="147244"/>
                  </a:cubicBezTo>
                  <a:close/>
                  <a:moveTo>
                    <a:pt x="138531" y="94571"/>
                  </a:moveTo>
                  <a:cubicBezTo>
                    <a:pt x="151866" y="94476"/>
                    <a:pt x="153199" y="93523"/>
                    <a:pt x="153009" y="80760"/>
                  </a:cubicBezTo>
                  <a:cubicBezTo>
                    <a:pt x="152914" y="70949"/>
                    <a:pt x="156057" y="65710"/>
                    <a:pt x="166915" y="66853"/>
                  </a:cubicBezTo>
                  <a:cubicBezTo>
                    <a:pt x="176059" y="67806"/>
                    <a:pt x="181393" y="64377"/>
                    <a:pt x="180917" y="53899"/>
                  </a:cubicBezTo>
                  <a:cubicBezTo>
                    <a:pt x="180441" y="42469"/>
                    <a:pt x="177869" y="39326"/>
                    <a:pt x="167106" y="39231"/>
                  </a:cubicBezTo>
                  <a:cubicBezTo>
                    <a:pt x="154342" y="39135"/>
                    <a:pt x="153485" y="38278"/>
                    <a:pt x="153199" y="24848"/>
                  </a:cubicBezTo>
                  <a:cubicBezTo>
                    <a:pt x="153009" y="14180"/>
                    <a:pt x="149866" y="11989"/>
                    <a:pt x="137102" y="11608"/>
                  </a:cubicBezTo>
                  <a:cubicBezTo>
                    <a:pt x="127672" y="11227"/>
                    <a:pt x="125196" y="15799"/>
                    <a:pt x="125196" y="24276"/>
                  </a:cubicBezTo>
                  <a:cubicBezTo>
                    <a:pt x="125196" y="37897"/>
                    <a:pt x="123481" y="39135"/>
                    <a:pt x="109575" y="39517"/>
                  </a:cubicBezTo>
                  <a:cubicBezTo>
                    <a:pt x="105860" y="39612"/>
                    <a:pt x="100621" y="40564"/>
                    <a:pt x="98907" y="43136"/>
                  </a:cubicBezTo>
                  <a:cubicBezTo>
                    <a:pt x="91573" y="54185"/>
                    <a:pt x="98431" y="66663"/>
                    <a:pt x="111385" y="66949"/>
                  </a:cubicBezTo>
                  <a:cubicBezTo>
                    <a:pt x="123291" y="67234"/>
                    <a:pt x="125101" y="68949"/>
                    <a:pt x="125291" y="80950"/>
                  </a:cubicBezTo>
                  <a:cubicBezTo>
                    <a:pt x="125577" y="94095"/>
                    <a:pt x="126148" y="94761"/>
                    <a:pt x="138531" y="94571"/>
                  </a:cubicBezTo>
                  <a:close/>
                </a:path>
              </a:pathLst>
            </a:custGeom>
            <a:solidFill>
              <a:srgbClr val="4DA6D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BCE7884-9F6E-2BE3-7F18-E28D30B52250}"/>
                </a:ext>
              </a:extLst>
            </p:cNvPr>
            <p:cNvSpPr/>
            <p:nvPr/>
          </p:nvSpPr>
          <p:spPr>
            <a:xfrm>
              <a:off x="13299419" y="4964958"/>
              <a:ext cx="230037" cy="94064"/>
            </a:xfrm>
            <a:custGeom>
              <a:avLst/>
              <a:gdLst>
                <a:gd name="connsiteX0" fmla="*/ 115590 w 230037"/>
                <a:gd name="connsiteY0" fmla="*/ 29 h 94064"/>
                <a:gd name="connsiteX1" fmla="*/ 183027 w 230037"/>
                <a:gd name="connsiteY1" fmla="*/ 29 h 94064"/>
                <a:gd name="connsiteX2" fmla="*/ 226747 w 230037"/>
                <a:gd name="connsiteY2" fmla="*/ 28985 h 94064"/>
                <a:gd name="connsiteX3" fmla="*/ 211031 w 230037"/>
                <a:gd name="connsiteY3" fmla="*/ 83468 h 94064"/>
                <a:gd name="connsiteX4" fmla="*/ 182361 w 230037"/>
                <a:gd name="connsiteY4" fmla="*/ 93374 h 94064"/>
                <a:gd name="connsiteX5" fmla="*/ 48534 w 230037"/>
                <a:gd name="connsiteY5" fmla="*/ 93755 h 94064"/>
                <a:gd name="connsiteX6" fmla="*/ 1005 w 230037"/>
                <a:gd name="connsiteY6" fmla="*/ 54798 h 94064"/>
                <a:gd name="connsiteX7" fmla="*/ 26151 w 230037"/>
                <a:gd name="connsiteY7" fmla="*/ 4792 h 94064"/>
                <a:gd name="connsiteX8" fmla="*/ 50249 w 230037"/>
                <a:gd name="connsiteY8" fmla="*/ 315 h 94064"/>
                <a:gd name="connsiteX9" fmla="*/ 115590 w 230037"/>
                <a:gd name="connsiteY9" fmla="*/ 124 h 94064"/>
                <a:gd name="connsiteX10" fmla="*/ 115590 w 230037"/>
                <a:gd name="connsiteY10" fmla="*/ 124 h 94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0037" h="94064">
                  <a:moveTo>
                    <a:pt x="115590" y="29"/>
                  </a:moveTo>
                  <a:cubicBezTo>
                    <a:pt x="138069" y="29"/>
                    <a:pt x="160548" y="315"/>
                    <a:pt x="183027" y="29"/>
                  </a:cubicBezTo>
                  <a:cubicBezTo>
                    <a:pt x="207983" y="-352"/>
                    <a:pt x="221699" y="15650"/>
                    <a:pt x="226747" y="28985"/>
                  </a:cubicBezTo>
                  <a:cubicBezTo>
                    <a:pt x="234462" y="49464"/>
                    <a:pt x="228366" y="71467"/>
                    <a:pt x="211031" y="83468"/>
                  </a:cubicBezTo>
                  <a:cubicBezTo>
                    <a:pt x="202935" y="89088"/>
                    <a:pt x="192076" y="93088"/>
                    <a:pt x="182361" y="93374"/>
                  </a:cubicBezTo>
                  <a:cubicBezTo>
                    <a:pt x="137784" y="94422"/>
                    <a:pt x="93111" y="94041"/>
                    <a:pt x="48534" y="93755"/>
                  </a:cubicBezTo>
                  <a:cubicBezTo>
                    <a:pt x="25674" y="93565"/>
                    <a:pt x="6910" y="77753"/>
                    <a:pt x="1005" y="54798"/>
                  </a:cubicBezTo>
                  <a:cubicBezTo>
                    <a:pt x="-3472" y="37462"/>
                    <a:pt x="7386" y="14317"/>
                    <a:pt x="26151" y="4792"/>
                  </a:cubicBezTo>
                  <a:cubicBezTo>
                    <a:pt x="33199" y="1267"/>
                    <a:pt x="42153" y="506"/>
                    <a:pt x="50249" y="315"/>
                  </a:cubicBezTo>
                  <a:cubicBezTo>
                    <a:pt x="72061" y="-257"/>
                    <a:pt x="93778" y="124"/>
                    <a:pt x="115590" y="124"/>
                  </a:cubicBezTo>
                  <a:lnTo>
                    <a:pt x="115590" y="124"/>
                  </a:lnTo>
                  <a:close/>
                </a:path>
              </a:pathLst>
            </a:custGeom>
            <a:solidFill>
              <a:srgbClr val="4DA6D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C846A64-D3F4-CF2F-22CC-C3A001266512}"/>
                </a:ext>
              </a:extLst>
            </p:cNvPr>
            <p:cNvSpPr/>
            <p:nvPr/>
          </p:nvSpPr>
          <p:spPr>
            <a:xfrm>
              <a:off x="13311293" y="4124681"/>
              <a:ext cx="127861" cy="143309"/>
            </a:xfrm>
            <a:custGeom>
              <a:avLst/>
              <a:gdLst>
                <a:gd name="connsiteX0" fmla="*/ 85 w 127861"/>
                <a:gd name="connsiteY0" fmla="*/ 70972 h 143309"/>
                <a:gd name="connsiteX1" fmla="*/ 85 w 127861"/>
                <a:gd name="connsiteY1" fmla="*/ 18013 h 143309"/>
                <a:gd name="connsiteX2" fmla="*/ 14848 w 127861"/>
                <a:gd name="connsiteY2" fmla="*/ 11 h 143309"/>
                <a:gd name="connsiteX3" fmla="*/ 29612 w 127861"/>
                <a:gd name="connsiteY3" fmla="*/ 18775 h 143309"/>
                <a:gd name="connsiteX4" fmla="*/ 29612 w 127861"/>
                <a:gd name="connsiteY4" fmla="*/ 90403 h 143309"/>
                <a:gd name="connsiteX5" fmla="*/ 42566 w 127861"/>
                <a:gd name="connsiteY5" fmla="*/ 98690 h 143309"/>
                <a:gd name="connsiteX6" fmla="*/ 105907 w 127861"/>
                <a:gd name="connsiteY6" fmla="*/ 68591 h 143309"/>
                <a:gd name="connsiteX7" fmla="*/ 125243 w 127861"/>
                <a:gd name="connsiteY7" fmla="*/ 75068 h 143309"/>
                <a:gd name="connsiteX8" fmla="*/ 121052 w 127861"/>
                <a:gd name="connsiteY8" fmla="*/ 92975 h 143309"/>
                <a:gd name="connsiteX9" fmla="*/ 97716 w 127861"/>
                <a:gd name="connsiteY9" fmla="*/ 105929 h 143309"/>
                <a:gd name="connsiteX10" fmla="*/ 23230 w 127861"/>
                <a:gd name="connsiteY10" fmla="*/ 141172 h 143309"/>
                <a:gd name="connsiteX11" fmla="*/ 275 w 127861"/>
                <a:gd name="connsiteY11" fmla="*/ 127075 h 143309"/>
                <a:gd name="connsiteX12" fmla="*/ 180 w 127861"/>
                <a:gd name="connsiteY12" fmla="*/ 71067 h 143309"/>
                <a:gd name="connsiteX13" fmla="*/ 85 w 127861"/>
                <a:gd name="connsiteY13" fmla="*/ 71067 h 14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7861" h="143309">
                  <a:moveTo>
                    <a:pt x="85" y="70972"/>
                  </a:moveTo>
                  <a:cubicBezTo>
                    <a:pt x="85" y="53351"/>
                    <a:pt x="-106" y="35634"/>
                    <a:pt x="85" y="18013"/>
                  </a:cubicBezTo>
                  <a:cubicBezTo>
                    <a:pt x="275" y="4964"/>
                    <a:pt x="4752" y="-275"/>
                    <a:pt x="14848" y="11"/>
                  </a:cubicBezTo>
                  <a:cubicBezTo>
                    <a:pt x="23897" y="202"/>
                    <a:pt x="29517" y="7155"/>
                    <a:pt x="29612" y="18775"/>
                  </a:cubicBezTo>
                  <a:cubicBezTo>
                    <a:pt x="29612" y="42683"/>
                    <a:pt x="29612" y="66496"/>
                    <a:pt x="29612" y="90403"/>
                  </a:cubicBezTo>
                  <a:cubicBezTo>
                    <a:pt x="29612" y="101548"/>
                    <a:pt x="32660" y="103453"/>
                    <a:pt x="42566" y="98690"/>
                  </a:cubicBezTo>
                  <a:cubicBezTo>
                    <a:pt x="63616" y="88594"/>
                    <a:pt x="84857" y="78878"/>
                    <a:pt x="105907" y="68591"/>
                  </a:cubicBezTo>
                  <a:cubicBezTo>
                    <a:pt x="114956" y="64114"/>
                    <a:pt x="120481" y="68591"/>
                    <a:pt x="125243" y="75068"/>
                  </a:cubicBezTo>
                  <a:cubicBezTo>
                    <a:pt x="130672" y="82402"/>
                    <a:pt x="126862" y="88784"/>
                    <a:pt x="121052" y="92975"/>
                  </a:cubicBezTo>
                  <a:cubicBezTo>
                    <a:pt x="113908" y="98119"/>
                    <a:pt x="105717" y="102119"/>
                    <a:pt x="97716" y="105929"/>
                  </a:cubicBezTo>
                  <a:cubicBezTo>
                    <a:pt x="72951" y="117835"/>
                    <a:pt x="47995" y="129361"/>
                    <a:pt x="23230" y="141172"/>
                  </a:cubicBezTo>
                  <a:cubicBezTo>
                    <a:pt x="11134" y="146887"/>
                    <a:pt x="561" y="140791"/>
                    <a:pt x="275" y="127075"/>
                  </a:cubicBezTo>
                  <a:cubicBezTo>
                    <a:pt x="-201" y="108406"/>
                    <a:pt x="180" y="89737"/>
                    <a:pt x="180" y="71067"/>
                  </a:cubicBezTo>
                  <a:lnTo>
                    <a:pt x="85" y="71067"/>
                  </a:lnTo>
                  <a:close/>
                </a:path>
              </a:pathLst>
            </a:custGeom>
            <a:solidFill>
              <a:srgbClr val="4DA6D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58253CDB-AD26-9AE0-6C7B-0D3886F953B4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8820149" y="3291940"/>
            <a:ext cx="3083851" cy="905256"/>
          </a:xfrm>
          <a:prstGeom prst="rect">
            <a:avLst/>
          </a:prstGeom>
          <a:solidFill>
            <a:srgbClr val="C7C7C7">
              <a:lumMod val="20000"/>
              <a:lumOff val="80000"/>
            </a:srgbClr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+21% </a:t>
            </a: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crease in ASC Volumes to 44 Mill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F9B4973-663E-9E43-B637-86114AFB95B2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6183630" y="4396428"/>
            <a:ext cx="57502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volving Care Access and Usag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09FBCFB-5DB5-8979-241A-6D132F52DB33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6183629" y="4830545"/>
            <a:ext cx="1950975" cy="1227355"/>
          </a:xfrm>
          <a:prstGeom prst="bracketPair">
            <a:avLst/>
          </a:prstGeom>
          <a:solidFill>
            <a:srgbClr val="C7C7C7">
              <a:lumMod val="20000"/>
              <a:lumOff val="80000"/>
            </a:srgbClr>
          </a:solidFill>
          <a:ln w="12700">
            <a:solidFill>
              <a:srgbClr val="0D5CAB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D7CBA"/>
                </a:solidFill>
                <a:effectLst/>
                <a:uLnTx/>
                <a:uFillTx/>
              </a:rPr>
              <a:t>Home health, urgent care, and virtual care are all set for growth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0AC0806-263B-9A48-3E77-8787A82F24FB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280468" y="4830545"/>
            <a:ext cx="1624449" cy="1227355"/>
          </a:xfrm>
          <a:prstGeom prst="bracketPair">
            <a:avLst/>
          </a:prstGeom>
          <a:solidFill>
            <a:srgbClr val="C7C7C7">
              <a:lumMod val="20000"/>
              <a:lumOff val="80000"/>
            </a:srgbClr>
          </a:solidFill>
          <a:ln w="12700">
            <a:solidFill>
              <a:srgbClr val="0D5CAB"/>
            </a:solidFill>
          </a:ln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Integration of digital health solutions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89ADF1C-4327-BB6F-08A9-A7BCB11FE6B6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10050780" y="4830545"/>
            <a:ext cx="1853220" cy="1227355"/>
          </a:xfrm>
          <a:prstGeom prst="bracketPair">
            <a:avLst/>
          </a:prstGeom>
          <a:solidFill>
            <a:srgbClr val="C7C7C7">
              <a:lumMod val="20000"/>
              <a:lumOff val="80000"/>
            </a:srgbClr>
          </a:solidFill>
          <a:ln w="12700">
            <a:solidFill>
              <a:srgbClr val="0D5CAB"/>
            </a:solidFill>
          </a:ln>
        </p:spPr>
        <p:txBody>
          <a:bodyPr wrap="square" anchor="ctr">
            <a:noAutofit/>
          </a:bodyPr>
          <a:lstStyle>
            <a:defPPr>
              <a:defRPr lang="en-US"/>
            </a:defPPr>
            <a:lvl1pPr algn="ctr">
              <a:spcBef>
                <a:spcPts val="600"/>
              </a:spcBef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23% of all E&amp;M visits will happen virtually by 2034.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7175506-195E-4B9A-6014-692C5E6CFBE9}"/>
              </a:ext>
            </a:extLst>
          </p:cNvPr>
          <p:cNvCxnSpPr/>
          <p:nvPr>
            <p:custDataLst>
              <p:tags r:id="rId31"/>
            </p:custDataLst>
          </p:nvPr>
        </p:nvCxnSpPr>
        <p:spPr>
          <a:xfrm>
            <a:off x="7240292" y="3109951"/>
            <a:ext cx="3656308" cy="0"/>
          </a:xfrm>
          <a:prstGeom prst="line">
            <a:avLst/>
          </a:prstGeom>
          <a:noFill/>
          <a:ln w="6350" cap="flat" cmpd="sng" algn="ctr">
            <a:solidFill>
              <a:srgbClr val="D9253D"/>
            </a:solidFill>
            <a:prstDash val="solid"/>
            <a:miter lim="800000"/>
          </a:ln>
          <a:effectLst/>
        </p:spPr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CC609EC5-3F84-1BBD-D8C6-5BB4504AA5AA}"/>
              </a:ext>
            </a:extLst>
          </p:cNvPr>
          <p:cNvCxnSpPr/>
          <p:nvPr>
            <p:custDataLst>
              <p:tags r:id="rId32"/>
            </p:custDataLst>
          </p:nvPr>
        </p:nvCxnSpPr>
        <p:spPr>
          <a:xfrm>
            <a:off x="7240292" y="4378742"/>
            <a:ext cx="3656308" cy="0"/>
          </a:xfrm>
          <a:prstGeom prst="line">
            <a:avLst/>
          </a:prstGeom>
          <a:noFill/>
          <a:ln w="6350" cap="flat" cmpd="sng" algn="ctr">
            <a:solidFill>
              <a:srgbClr val="D9253D"/>
            </a:solidFill>
            <a:prstDash val="solid"/>
            <a:miter lim="800000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5834214-6AE7-BFB3-E6CF-D573E081F582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-1158949" y="1913860"/>
            <a:ext cx="11485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DPC NOTE</a:t>
            </a:r>
          </a:p>
          <a:p>
            <a:r>
              <a:rPr lang="en-US" sz="1400"/>
              <a:t>11/5/24, chart embedded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BE4F998-F33B-34B6-54C1-EC49A163ACF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98078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8C58C93-AC33-C2D2-4739-603309601B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16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95" imgH="394" progId="TCLayout.ActiveDocument.1">
                  <p:embed/>
                </p:oleObj>
              </mc:Choice>
              <mc:Fallback>
                <p:oleObj name="think-cell Slide" r:id="rId36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C58C93-AC33-C2D2-4739-603309601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5CC33811-05D0-F8CB-55E6-1C64CA330B05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/>
          <a:lstStyle/>
          <a:p>
            <a:r>
              <a:rPr lang="en-US"/>
              <a:t>The majority of US healthcare is still provider-centric.</a:t>
            </a:r>
          </a:p>
        </p:txBody>
      </p:sp>
      <p:sp>
        <p:nvSpPr>
          <p:cNvPr id="213" name="Slide Number Placeholder 9">
            <a:extLst>
              <a:ext uri="{FF2B5EF4-FFF2-40B4-BE49-F238E27FC236}">
                <a16:creationId xmlns:a16="http://schemas.microsoft.com/office/drawing/2014/main" id="{2AF48601-3263-3B4A-26F1-81A6AC01CAA6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3</a:t>
            </a:fld>
            <a:endParaRPr lang="en-US" noProof="0"/>
          </a:p>
        </p:txBody>
      </p:sp>
      <p:sp>
        <p:nvSpPr>
          <p:cNvPr id="420" name="Rectangle 419">
            <a:extLst>
              <a:ext uri="{FF2B5EF4-FFF2-40B4-BE49-F238E27FC236}">
                <a16:creationId xmlns:a16="http://schemas.microsoft.com/office/drawing/2014/main" id="{2A471BB6-2171-174C-F978-A23D3A57F62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678338" y="1183930"/>
            <a:ext cx="3451296" cy="4931119"/>
          </a:xfrm>
          <a:prstGeom prst="rect">
            <a:avLst/>
          </a:prstGeom>
          <a:gradFill flip="none" rotWithShape="1">
            <a:gsLst>
              <a:gs pos="0">
                <a:srgbClr val="4DA6D1">
                  <a:shade val="30000"/>
                  <a:satMod val="115000"/>
                </a:srgbClr>
              </a:gs>
              <a:gs pos="50000">
                <a:srgbClr val="4DA6D1">
                  <a:shade val="67500"/>
                  <a:satMod val="115000"/>
                </a:srgbClr>
              </a:gs>
              <a:gs pos="100000">
                <a:srgbClr val="4DA6D1">
                  <a:shade val="100000"/>
                  <a:satMod val="115000"/>
                </a:srgbClr>
              </a:gs>
            </a:gsLst>
            <a:lin ang="108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1" name="Rectangle 420">
            <a:extLst>
              <a:ext uri="{FF2B5EF4-FFF2-40B4-BE49-F238E27FC236}">
                <a16:creationId xmlns:a16="http://schemas.microsoft.com/office/drawing/2014/main" id="{69B567C7-F1C3-9ED6-65B1-8F2203EC83C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78338" y="4033858"/>
            <a:ext cx="3451296" cy="1277340"/>
          </a:xfrm>
          <a:prstGeom prst="rect">
            <a:avLst/>
          </a:prstGeom>
          <a:gradFill flip="none" rotWithShape="1">
            <a:gsLst>
              <a:gs pos="0">
                <a:srgbClr val="4DA6D1">
                  <a:shade val="30000"/>
                  <a:satMod val="115000"/>
                </a:srgbClr>
              </a:gs>
              <a:gs pos="50000">
                <a:srgbClr val="4DA6D1">
                  <a:shade val="67500"/>
                  <a:satMod val="115000"/>
                </a:srgbClr>
              </a:gs>
              <a:gs pos="100000">
                <a:srgbClr val="4DA6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2" name="Rectangle: Rounded Corners 421">
            <a:extLst>
              <a:ext uri="{FF2B5EF4-FFF2-40B4-BE49-F238E27FC236}">
                <a16:creationId xmlns:a16="http://schemas.microsoft.com/office/drawing/2014/main" id="{91825F54-D195-6059-2C14-A1745BB7DC6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215266" y="5519898"/>
            <a:ext cx="2560320" cy="41657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4DA6D1"/>
                </a:solidFill>
                <a:effectLst/>
                <a:uLnTx/>
                <a:uFillTx/>
              </a:rPr>
              <a:t>THE PAST</a:t>
            </a:r>
          </a:p>
        </p:txBody>
      </p:sp>
      <p:sp>
        <p:nvSpPr>
          <p:cNvPr id="423" name="Rectangle 422">
            <a:extLst>
              <a:ext uri="{FF2B5EF4-FFF2-40B4-BE49-F238E27FC236}">
                <a16:creationId xmlns:a16="http://schemas.microsoft.com/office/drawing/2014/main" id="{92A495A0-D4B5-E807-3A4B-E5126CA0C836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678338" y="1174441"/>
            <a:ext cx="3451296" cy="225177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1440" tIns="91440" rIns="91440" bIns="0" numCol="1" spcCol="1270" anchor="t" anchorCtr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cial success from acute care volume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s traveled to system asset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th via asset construction and acquisition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d patient medical record did not exist.</a:t>
            </a:r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4D97CF9A-3BD7-EE82-2470-C6C3E86AA06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062367" y="1183930"/>
            <a:ext cx="3451296" cy="4931119"/>
          </a:xfrm>
          <a:prstGeom prst="rect">
            <a:avLst/>
          </a:prstGeom>
          <a:gradFill flip="none" rotWithShape="1">
            <a:gsLst>
              <a:gs pos="0">
                <a:srgbClr val="1BC0D3">
                  <a:shade val="30000"/>
                  <a:satMod val="115000"/>
                </a:srgbClr>
              </a:gs>
              <a:gs pos="50000">
                <a:srgbClr val="1BC0D3">
                  <a:shade val="67500"/>
                  <a:satMod val="115000"/>
                </a:srgbClr>
              </a:gs>
              <a:gs pos="100000">
                <a:srgbClr val="1BC0D3">
                  <a:shade val="100000"/>
                  <a:satMod val="115000"/>
                </a:srgbClr>
              </a:gs>
            </a:gsLst>
            <a:lin ang="108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F37976F9-3D77-E2B0-940B-923498C8F4E5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8062367" y="4033858"/>
            <a:ext cx="3451296" cy="1277340"/>
          </a:xfrm>
          <a:prstGeom prst="rect">
            <a:avLst/>
          </a:prstGeom>
          <a:gradFill flip="none" rotWithShape="1">
            <a:gsLst>
              <a:gs pos="0">
                <a:srgbClr val="1BC0D3">
                  <a:shade val="30000"/>
                  <a:satMod val="115000"/>
                </a:srgbClr>
              </a:gs>
              <a:gs pos="50000">
                <a:srgbClr val="1BC0D3">
                  <a:shade val="67500"/>
                  <a:satMod val="115000"/>
                </a:srgbClr>
              </a:gs>
              <a:gs pos="100000">
                <a:srgbClr val="1BC0D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6" name="Rectangle: Rounded Corners 425">
            <a:extLst>
              <a:ext uri="{FF2B5EF4-FFF2-40B4-BE49-F238E27FC236}">
                <a16:creationId xmlns:a16="http://schemas.microsoft.com/office/drawing/2014/main" id="{9BA8026F-74D5-6FB8-7BF7-480485C0E59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8599295" y="5519898"/>
            <a:ext cx="2560320" cy="41657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</a:rPr>
              <a:t>THE FUTURE</a:t>
            </a: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0AA5B760-9C56-6D4E-2563-27B04CAF1694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>
          <a:xfrm>
            <a:off x="8076727" y="1174441"/>
            <a:ext cx="3422576" cy="219985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1440" tIns="91440" rIns="91440" bIns="0" numCol="1" spcCol="1270" anchor="t" anchorCtr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cial success from ambulatory volumes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>
                <a:solidFill>
                  <a:prstClr val="white"/>
                </a:solidFill>
                <a:latin typeface="Calibri"/>
              </a:rPr>
              <a:t>Community health rewarded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comes to the patien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th through capabilitie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umer-controlled medical record integration.</a:t>
            </a:r>
          </a:p>
        </p:txBody>
      </p:sp>
      <p:sp>
        <p:nvSpPr>
          <p:cNvPr id="428" name="Rectangle 427">
            <a:extLst>
              <a:ext uri="{FF2B5EF4-FFF2-40B4-BE49-F238E27FC236}">
                <a16:creationId xmlns:a16="http://schemas.microsoft.com/office/drawing/2014/main" id="{866E7A1E-E4AB-9777-DE50-1F31ADAC7E9F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370353" y="1183930"/>
            <a:ext cx="3451296" cy="4931119"/>
          </a:xfrm>
          <a:prstGeom prst="rect">
            <a:avLst/>
          </a:prstGeom>
          <a:gradFill flip="none" rotWithShape="1">
            <a:gsLst>
              <a:gs pos="0">
                <a:srgbClr val="0D5CAB">
                  <a:shade val="30000"/>
                  <a:satMod val="115000"/>
                </a:srgbClr>
              </a:gs>
              <a:gs pos="50000">
                <a:srgbClr val="0D5CAB">
                  <a:shade val="67500"/>
                  <a:satMod val="115000"/>
                </a:srgbClr>
              </a:gs>
              <a:gs pos="100000">
                <a:srgbClr val="0D5CAB">
                  <a:shade val="100000"/>
                  <a:satMod val="115000"/>
                </a:srgbClr>
              </a:gs>
            </a:gsLst>
            <a:lin ang="108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A7853CF6-AC71-B51C-0670-7B367578835A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4370353" y="4033858"/>
            <a:ext cx="3451296" cy="1277340"/>
          </a:xfrm>
          <a:prstGeom prst="rect">
            <a:avLst/>
          </a:prstGeom>
          <a:gradFill flip="none" rotWithShape="1">
            <a:gsLst>
              <a:gs pos="0">
                <a:srgbClr val="0D5CAB">
                  <a:shade val="30000"/>
                  <a:satMod val="115000"/>
                </a:srgbClr>
              </a:gs>
              <a:gs pos="50000">
                <a:srgbClr val="0D5CAB">
                  <a:shade val="67500"/>
                  <a:satMod val="115000"/>
                </a:srgbClr>
              </a:gs>
              <a:gs pos="100000">
                <a:srgbClr val="0D5CAB">
                  <a:shade val="100000"/>
                  <a:satMod val="115000"/>
                </a:srgbClr>
              </a:gs>
            </a:gsLst>
            <a:lin ang="162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30" name="Rectangle: Rounded Corners 429">
            <a:extLst>
              <a:ext uri="{FF2B5EF4-FFF2-40B4-BE49-F238E27FC236}">
                <a16:creationId xmlns:a16="http://schemas.microsoft.com/office/drawing/2014/main" id="{F5A426B5-93C7-88C0-1FFB-FA3D74B25004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907281" y="5519898"/>
            <a:ext cx="2560320" cy="416572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</a:rPr>
              <a:t>THE PRESENT</a:t>
            </a: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1F868FB6-65B7-0100-ACCD-4952BEFE13E8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>
          <a:xfrm>
            <a:off x="4370353" y="1174441"/>
            <a:ext cx="3451296" cy="2251361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1440" tIns="91440" rIns="91440" bIns="0" numCol="1" spcCol="1270" anchor="t" anchorCtr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cial success from acute care volume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s directed to system asset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th via provider integration and asset acquisition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ially integrated medical record, controlled by the health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stem.</a:t>
            </a:r>
          </a:p>
        </p:txBody>
      </p:sp>
      <p:grpSp>
        <p:nvGrpSpPr>
          <p:cNvPr id="432" name="Group 431">
            <a:extLst>
              <a:ext uri="{FF2B5EF4-FFF2-40B4-BE49-F238E27FC236}">
                <a16:creationId xmlns:a16="http://schemas.microsoft.com/office/drawing/2014/main" id="{A05A6909-2819-B25C-4232-B9755BB594E5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9184166" y="4076020"/>
            <a:ext cx="1207698" cy="1207990"/>
            <a:chOff x="9184166" y="3518689"/>
            <a:chExt cx="1207698" cy="1207990"/>
          </a:xfrm>
        </p:grpSpPr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D2A19795-46F9-CAC5-4CD2-CBA062027B54}"/>
                </a:ext>
              </a:extLst>
            </p:cNvPr>
            <p:cNvSpPr/>
            <p:nvPr/>
          </p:nvSpPr>
          <p:spPr>
            <a:xfrm>
              <a:off x="9831497" y="3708913"/>
              <a:ext cx="560294" cy="396744"/>
            </a:xfrm>
            <a:custGeom>
              <a:avLst/>
              <a:gdLst>
                <a:gd name="connsiteX0" fmla="*/ 517017 w 730281"/>
                <a:gd name="connsiteY0" fmla="*/ 0 h 517112"/>
                <a:gd name="connsiteX1" fmla="*/ 730282 w 730281"/>
                <a:gd name="connsiteY1" fmla="*/ 517112 h 517112"/>
                <a:gd name="connsiteX2" fmla="*/ 0 w 730281"/>
                <a:gd name="connsiteY2" fmla="*/ 517112 h 517112"/>
                <a:gd name="connsiteX3" fmla="*/ 517017 w 730281"/>
                <a:gd name="connsiteY3" fmla="*/ 0 h 51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281" h="517112">
                  <a:moveTo>
                    <a:pt x="517017" y="0"/>
                  </a:moveTo>
                  <a:cubicBezTo>
                    <a:pt x="650272" y="144780"/>
                    <a:pt x="721805" y="317278"/>
                    <a:pt x="730282" y="517112"/>
                  </a:cubicBezTo>
                  <a:lnTo>
                    <a:pt x="0" y="517112"/>
                  </a:lnTo>
                  <a:cubicBezTo>
                    <a:pt x="171450" y="345662"/>
                    <a:pt x="343853" y="173260"/>
                    <a:pt x="517017" y="0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74577960-1B7F-5686-4CC9-A92427A27955}"/>
                </a:ext>
              </a:extLst>
            </p:cNvPr>
            <p:cNvSpPr/>
            <p:nvPr/>
          </p:nvSpPr>
          <p:spPr>
            <a:xfrm>
              <a:off x="9804750" y="3518689"/>
              <a:ext cx="397621" cy="561975"/>
            </a:xfrm>
            <a:custGeom>
              <a:avLst/>
              <a:gdLst>
                <a:gd name="connsiteX0" fmla="*/ 0 w 518255"/>
                <a:gd name="connsiteY0" fmla="*/ 732473 h 732472"/>
                <a:gd name="connsiteX1" fmla="*/ 0 w 518255"/>
                <a:gd name="connsiteY1" fmla="*/ 0 h 732472"/>
                <a:gd name="connsiteX2" fmla="*/ 518255 w 518255"/>
                <a:gd name="connsiteY2" fmla="*/ 214217 h 732472"/>
                <a:gd name="connsiteX3" fmla="*/ 0 w 518255"/>
                <a:gd name="connsiteY3" fmla="*/ 732473 h 73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255" h="732472">
                  <a:moveTo>
                    <a:pt x="0" y="732473"/>
                  </a:moveTo>
                  <a:lnTo>
                    <a:pt x="0" y="0"/>
                  </a:lnTo>
                  <a:cubicBezTo>
                    <a:pt x="199644" y="8477"/>
                    <a:pt x="372142" y="79724"/>
                    <a:pt x="518255" y="214217"/>
                  </a:cubicBezTo>
                  <a:cubicBezTo>
                    <a:pt x="345186" y="387287"/>
                    <a:pt x="172879" y="559689"/>
                    <a:pt x="0" y="732473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D288522C-96F5-256B-4691-2C67AB792A02}"/>
                </a:ext>
              </a:extLst>
            </p:cNvPr>
            <p:cNvSpPr/>
            <p:nvPr/>
          </p:nvSpPr>
          <p:spPr>
            <a:xfrm>
              <a:off x="9373586" y="3518762"/>
              <a:ext cx="397182" cy="561682"/>
            </a:xfrm>
            <a:custGeom>
              <a:avLst/>
              <a:gdLst>
                <a:gd name="connsiteX0" fmla="*/ 517684 w 517683"/>
                <a:gd name="connsiteY0" fmla="*/ 732092 h 732091"/>
                <a:gd name="connsiteX1" fmla="*/ 0 w 517683"/>
                <a:gd name="connsiteY1" fmla="*/ 214313 h 732091"/>
                <a:gd name="connsiteX2" fmla="*/ 517684 w 517683"/>
                <a:gd name="connsiteY2" fmla="*/ 0 h 732091"/>
                <a:gd name="connsiteX3" fmla="*/ 517684 w 517683"/>
                <a:gd name="connsiteY3" fmla="*/ 732092 h 73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7683" h="732091">
                  <a:moveTo>
                    <a:pt x="517684" y="732092"/>
                  </a:moveTo>
                  <a:cubicBezTo>
                    <a:pt x="345281" y="559689"/>
                    <a:pt x="173260" y="387667"/>
                    <a:pt x="0" y="214313"/>
                  </a:cubicBezTo>
                  <a:cubicBezTo>
                    <a:pt x="145637" y="80010"/>
                    <a:pt x="317944" y="8668"/>
                    <a:pt x="517684" y="0"/>
                  </a:cubicBezTo>
                  <a:lnTo>
                    <a:pt x="517684" y="732092"/>
                  </a:ln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59E322D0-0852-8E3C-4776-B4D6B41EF173}"/>
                </a:ext>
              </a:extLst>
            </p:cNvPr>
            <p:cNvSpPr/>
            <p:nvPr/>
          </p:nvSpPr>
          <p:spPr>
            <a:xfrm>
              <a:off x="9804824" y="4166969"/>
              <a:ext cx="396378" cy="559709"/>
            </a:xfrm>
            <a:custGeom>
              <a:avLst/>
              <a:gdLst>
                <a:gd name="connsiteX0" fmla="*/ 516636 w 516635"/>
                <a:gd name="connsiteY0" fmla="*/ 516636 h 729519"/>
                <a:gd name="connsiteX1" fmla="*/ 0 w 516635"/>
                <a:gd name="connsiteY1" fmla="*/ 729520 h 729519"/>
                <a:gd name="connsiteX2" fmla="*/ 0 w 516635"/>
                <a:gd name="connsiteY2" fmla="*/ 0 h 729519"/>
                <a:gd name="connsiteX3" fmla="*/ 516636 w 516635"/>
                <a:gd name="connsiteY3" fmla="*/ 516731 h 729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6635" h="729519">
                  <a:moveTo>
                    <a:pt x="516636" y="516636"/>
                  </a:moveTo>
                  <a:cubicBezTo>
                    <a:pt x="372237" y="649605"/>
                    <a:pt x="199644" y="720947"/>
                    <a:pt x="0" y="729520"/>
                  </a:cubicBezTo>
                  <a:lnTo>
                    <a:pt x="0" y="0"/>
                  </a:lnTo>
                  <a:cubicBezTo>
                    <a:pt x="171069" y="171069"/>
                    <a:pt x="343567" y="343662"/>
                    <a:pt x="516636" y="516731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A9BEC9AD-D225-062D-9306-1DA11883FD27}"/>
                </a:ext>
              </a:extLst>
            </p:cNvPr>
            <p:cNvSpPr/>
            <p:nvPr/>
          </p:nvSpPr>
          <p:spPr>
            <a:xfrm>
              <a:off x="9184166" y="3708694"/>
              <a:ext cx="560513" cy="396670"/>
            </a:xfrm>
            <a:custGeom>
              <a:avLst/>
              <a:gdLst>
                <a:gd name="connsiteX0" fmla="*/ 0 w 730567"/>
                <a:gd name="connsiteY0" fmla="*/ 517017 h 517016"/>
                <a:gd name="connsiteX1" fmla="*/ 213551 w 730567"/>
                <a:gd name="connsiteY1" fmla="*/ 0 h 517016"/>
                <a:gd name="connsiteX2" fmla="*/ 730567 w 730567"/>
                <a:gd name="connsiteY2" fmla="*/ 517017 h 517016"/>
                <a:gd name="connsiteX3" fmla="*/ 0 w 730567"/>
                <a:gd name="connsiteY3" fmla="*/ 517017 h 51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567" h="517016">
                  <a:moveTo>
                    <a:pt x="0" y="517017"/>
                  </a:moveTo>
                  <a:cubicBezTo>
                    <a:pt x="8477" y="317944"/>
                    <a:pt x="79820" y="145637"/>
                    <a:pt x="213551" y="0"/>
                  </a:cubicBezTo>
                  <a:cubicBezTo>
                    <a:pt x="386334" y="172879"/>
                    <a:pt x="558641" y="345186"/>
                    <a:pt x="730567" y="517017"/>
                  </a:cubicBezTo>
                  <a:lnTo>
                    <a:pt x="0" y="517017"/>
                  </a:ln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CD797E76-4B72-CCA9-7603-8AFD5FC15CF4}"/>
                </a:ext>
              </a:extLst>
            </p:cNvPr>
            <p:cNvSpPr/>
            <p:nvPr/>
          </p:nvSpPr>
          <p:spPr>
            <a:xfrm>
              <a:off x="9373659" y="4164777"/>
              <a:ext cx="397402" cy="561902"/>
            </a:xfrm>
            <a:custGeom>
              <a:avLst/>
              <a:gdLst>
                <a:gd name="connsiteX0" fmla="*/ 517969 w 517969"/>
                <a:gd name="connsiteY0" fmla="*/ 0 h 732377"/>
                <a:gd name="connsiteX1" fmla="*/ 517969 w 517969"/>
                <a:gd name="connsiteY1" fmla="*/ 732377 h 732377"/>
                <a:gd name="connsiteX2" fmla="*/ 0 w 517969"/>
                <a:gd name="connsiteY2" fmla="*/ 518065 h 732377"/>
                <a:gd name="connsiteX3" fmla="*/ 517969 w 517969"/>
                <a:gd name="connsiteY3" fmla="*/ 0 h 732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7969" h="732377">
                  <a:moveTo>
                    <a:pt x="517969" y="0"/>
                  </a:moveTo>
                  <a:lnTo>
                    <a:pt x="517969" y="732377"/>
                  </a:lnTo>
                  <a:cubicBezTo>
                    <a:pt x="318516" y="723805"/>
                    <a:pt x="146018" y="652653"/>
                    <a:pt x="0" y="518065"/>
                  </a:cubicBezTo>
                  <a:cubicBezTo>
                    <a:pt x="173069" y="344995"/>
                    <a:pt x="345091" y="172974"/>
                    <a:pt x="517969" y="0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C7C0DB44-0F10-7520-F183-20459F5E3D8D}"/>
                </a:ext>
              </a:extLst>
            </p:cNvPr>
            <p:cNvSpPr/>
            <p:nvPr/>
          </p:nvSpPr>
          <p:spPr>
            <a:xfrm>
              <a:off x="9184166" y="4139931"/>
              <a:ext cx="560294" cy="396524"/>
            </a:xfrm>
            <a:custGeom>
              <a:avLst/>
              <a:gdLst>
                <a:gd name="connsiteX0" fmla="*/ 213551 w 730281"/>
                <a:gd name="connsiteY0" fmla="*/ 516826 h 516826"/>
                <a:gd name="connsiteX1" fmla="*/ 0 w 730281"/>
                <a:gd name="connsiteY1" fmla="*/ 0 h 516826"/>
                <a:gd name="connsiteX2" fmla="*/ 730282 w 730281"/>
                <a:gd name="connsiteY2" fmla="*/ 0 h 516826"/>
                <a:gd name="connsiteX3" fmla="*/ 213551 w 730281"/>
                <a:gd name="connsiteY3" fmla="*/ 516826 h 51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281" h="516826">
                  <a:moveTo>
                    <a:pt x="213551" y="516826"/>
                  </a:moveTo>
                  <a:cubicBezTo>
                    <a:pt x="79915" y="371666"/>
                    <a:pt x="8668" y="199454"/>
                    <a:pt x="0" y="0"/>
                  </a:cubicBezTo>
                  <a:lnTo>
                    <a:pt x="730282" y="0"/>
                  </a:lnTo>
                  <a:cubicBezTo>
                    <a:pt x="558737" y="171545"/>
                    <a:pt x="386620" y="343757"/>
                    <a:pt x="213551" y="516826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864B5FF2-AE4C-6DF7-F3E6-CC8BA2CA329B}"/>
                </a:ext>
              </a:extLst>
            </p:cNvPr>
            <p:cNvSpPr/>
            <p:nvPr/>
          </p:nvSpPr>
          <p:spPr>
            <a:xfrm>
              <a:off x="9830401" y="4139565"/>
              <a:ext cx="561463" cy="397256"/>
            </a:xfrm>
            <a:custGeom>
              <a:avLst/>
              <a:gdLst>
                <a:gd name="connsiteX0" fmla="*/ 0 w 731805"/>
                <a:gd name="connsiteY0" fmla="*/ 0 h 517779"/>
                <a:gd name="connsiteX1" fmla="*/ 731806 w 731805"/>
                <a:gd name="connsiteY1" fmla="*/ 0 h 517779"/>
                <a:gd name="connsiteX2" fmla="*/ 517779 w 731805"/>
                <a:gd name="connsiteY2" fmla="*/ 517779 h 517779"/>
                <a:gd name="connsiteX3" fmla="*/ 0 w 731805"/>
                <a:gd name="connsiteY3" fmla="*/ 0 h 51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805" h="517779">
                  <a:moveTo>
                    <a:pt x="0" y="0"/>
                  </a:moveTo>
                  <a:lnTo>
                    <a:pt x="731806" y="0"/>
                  </a:lnTo>
                  <a:cubicBezTo>
                    <a:pt x="723424" y="199454"/>
                    <a:pt x="652177" y="371761"/>
                    <a:pt x="517779" y="517779"/>
                  </a:cubicBezTo>
                  <a:cubicBezTo>
                    <a:pt x="344805" y="344805"/>
                    <a:pt x="172784" y="172688"/>
                    <a:pt x="0" y="0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08D47DDD-3ABD-0D82-52B9-61CBF379A80A}"/>
                </a:ext>
              </a:extLst>
            </p:cNvPr>
            <p:cNvSpPr/>
            <p:nvPr/>
          </p:nvSpPr>
          <p:spPr bwMode="auto">
            <a:xfrm>
              <a:off x="9561440" y="3918250"/>
              <a:ext cx="408204" cy="408205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 w="13500">
                  <a:solidFill>
                    <a:srgbClr val="020C4A">
                      <a:shade val="2500"/>
                      <a:alpha val="6500"/>
                    </a:srgbClr>
                  </a:solidFill>
                  <a:prstDash val="solid"/>
                </a:ln>
                <a:solidFill>
                  <a:prstClr val="white">
                    <a:alpha val="95000"/>
                  </a:prstClr>
                </a:solidFill>
                <a:effectLst/>
                <a:uLnTx/>
                <a:uFillTx/>
                <a:sym typeface="Times New Roman" pitchFamily="18" charset="0"/>
              </a:endParaRPr>
            </a:p>
          </p:txBody>
        </p:sp>
        <p:grpSp>
          <p:nvGrpSpPr>
            <p:cNvPr id="442" name="Group 441">
              <a:extLst>
                <a:ext uri="{FF2B5EF4-FFF2-40B4-BE49-F238E27FC236}">
                  <a16:creationId xmlns:a16="http://schemas.microsoft.com/office/drawing/2014/main" id="{A0EDC7BD-A613-4C6E-1D34-30E9F3F9DA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94650" y="3917590"/>
              <a:ext cx="154476" cy="383952"/>
              <a:chOff x="-458788" y="1401763"/>
              <a:chExt cx="274637" cy="682626"/>
            </a:xfrm>
            <a:solidFill>
              <a:srgbClr val="1BC0D3"/>
            </a:solidFill>
          </p:grpSpPr>
          <p:sp>
            <p:nvSpPr>
              <p:cNvPr id="512" name="Freeform 97">
                <a:extLst>
                  <a:ext uri="{FF2B5EF4-FFF2-40B4-BE49-F238E27FC236}">
                    <a16:creationId xmlns:a16="http://schemas.microsoft.com/office/drawing/2014/main" id="{A67E9D33-11D6-DB14-DE40-B35899BED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5288" y="1401763"/>
                <a:ext cx="147637" cy="147638"/>
              </a:xfrm>
              <a:custGeom>
                <a:avLst/>
                <a:gdLst>
                  <a:gd name="T0" fmla="*/ 79 w 198"/>
                  <a:gd name="T1" fmla="*/ 186 h 197"/>
                  <a:gd name="T2" fmla="*/ 187 w 198"/>
                  <a:gd name="T3" fmla="*/ 119 h 197"/>
                  <a:gd name="T4" fmla="*/ 119 w 198"/>
                  <a:gd name="T5" fmla="*/ 11 h 197"/>
                  <a:gd name="T6" fmla="*/ 11 w 198"/>
                  <a:gd name="T7" fmla="*/ 78 h 197"/>
                  <a:gd name="T8" fmla="*/ 79 w 198"/>
                  <a:gd name="T9" fmla="*/ 186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197">
                    <a:moveTo>
                      <a:pt x="79" y="186"/>
                    </a:moveTo>
                    <a:cubicBezTo>
                      <a:pt x="127" y="197"/>
                      <a:pt x="175" y="167"/>
                      <a:pt x="187" y="119"/>
                    </a:cubicBezTo>
                    <a:cubicBezTo>
                      <a:pt x="198" y="70"/>
                      <a:pt x="168" y="22"/>
                      <a:pt x="119" y="11"/>
                    </a:cubicBezTo>
                    <a:cubicBezTo>
                      <a:pt x="71" y="0"/>
                      <a:pt x="23" y="30"/>
                      <a:pt x="11" y="78"/>
                    </a:cubicBezTo>
                    <a:cubicBezTo>
                      <a:pt x="0" y="126"/>
                      <a:pt x="30" y="175"/>
                      <a:pt x="79" y="1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3" name="Freeform 98">
                <a:extLst>
                  <a:ext uri="{FF2B5EF4-FFF2-40B4-BE49-F238E27FC236}">
                    <a16:creationId xmlns:a16="http://schemas.microsoft.com/office/drawing/2014/main" id="{C2795DD4-EF99-6FC0-F18C-9B30B407F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58788" y="1562101"/>
                <a:ext cx="274637" cy="522288"/>
              </a:xfrm>
              <a:custGeom>
                <a:avLst/>
                <a:gdLst>
                  <a:gd name="T0" fmla="*/ 68 w 368"/>
                  <a:gd name="T1" fmla="*/ 170 h 698"/>
                  <a:gd name="T2" fmla="*/ 64 w 368"/>
                  <a:gd name="T3" fmla="*/ 138 h 698"/>
                  <a:gd name="T4" fmla="*/ 76 w 368"/>
                  <a:gd name="T5" fmla="*/ 92 h 698"/>
                  <a:gd name="T6" fmla="*/ 76 w 368"/>
                  <a:gd name="T7" fmla="*/ 151 h 698"/>
                  <a:gd name="T8" fmla="*/ 76 w 368"/>
                  <a:gd name="T9" fmla="*/ 194 h 698"/>
                  <a:gd name="T10" fmla="*/ 76 w 368"/>
                  <a:gd name="T11" fmla="*/ 316 h 698"/>
                  <a:gd name="T12" fmla="*/ 76 w 368"/>
                  <a:gd name="T13" fmla="*/ 649 h 698"/>
                  <a:gd name="T14" fmla="*/ 125 w 368"/>
                  <a:gd name="T15" fmla="*/ 698 h 698"/>
                  <a:gd name="T16" fmla="*/ 175 w 368"/>
                  <a:gd name="T17" fmla="*/ 649 h 698"/>
                  <a:gd name="T18" fmla="*/ 175 w 368"/>
                  <a:gd name="T19" fmla="*/ 336 h 698"/>
                  <a:gd name="T20" fmla="*/ 193 w 368"/>
                  <a:gd name="T21" fmla="*/ 336 h 698"/>
                  <a:gd name="T22" fmla="*/ 193 w 368"/>
                  <a:gd name="T23" fmla="*/ 649 h 698"/>
                  <a:gd name="T24" fmla="*/ 243 w 368"/>
                  <a:gd name="T25" fmla="*/ 698 h 698"/>
                  <a:gd name="T26" fmla="*/ 292 w 368"/>
                  <a:gd name="T27" fmla="*/ 649 h 698"/>
                  <a:gd name="T28" fmla="*/ 292 w 368"/>
                  <a:gd name="T29" fmla="*/ 316 h 698"/>
                  <a:gd name="T30" fmla="*/ 292 w 368"/>
                  <a:gd name="T31" fmla="*/ 194 h 698"/>
                  <a:gd name="T32" fmla="*/ 292 w 368"/>
                  <a:gd name="T33" fmla="*/ 151 h 698"/>
                  <a:gd name="T34" fmla="*/ 292 w 368"/>
                  <a:gd name="T35" fmla="*/ 92 h 698"/>
                  <a:gd name="T36" fmla="*/ 293 w 368"/>
                  <a:gd name="T37" fmla="*/ 94 h 698"/>
                  <a:gd name="T38" fmla="*/ 304 w 368"/>
                  <a:gd name="T39" fmla="*/ 138 h 698"/>
                  <a:gd name="T40" fmla="*/ 300 w 368"/>
                  <a:gd name="T41" fmla="*/ 170 h 698"/>
                  <a:gd name="T42" fmla="*/ 300 w 368"/>
                  <a:gd name="T43" fmla="*/ 306 h 698"/>
                  <a:gd name="T44" fmla="*/ 368 w 368"/>
                  <a:gd name="T45" fmla="*/ 138 h 698"/>
                  <a:gd name="T46" fmla="*/ 332 w 368"/>
                  <a:gd name="T47" fmla="*/ 38 h 698"/>
                  <a:gd name="T48" fmla="*/ 301 w 368"/>
                  <a:gd name="T49" fmla="*/ 12 h 698"/>
                  <a:gd name="T50" fmla="*/ 285 w 368"/>
                  <a:gd name="T51" fmla="*/ 4 h 698"/>
                  <a:gd name="T52" fmla="*/ 267 w 368"/>
                  <a:gd name="T53" fmla="*/ 1 h 698"/>
                  <a:gd name="T54" fmla="*/ 267 w 368"/>
                  <a:gd name="T55" fmla="*/ 1 h 698"/>
                  <a:gd name="T56" fmla="*/ 261 w 368"/>
                  <a:gd name="T57" fmla="*/ 0 h 698"/>
                  <a:gd name="T58" fmla="*/ 107 w 368"/>
                  <a:gd name="T59" fmla="*/ 0 h 698"/>
                  <a:gd name="T60" fmla="*/ 101 w 368"/>
                  <a:gd name="T61" fmla="*/ 1 h 698"/>
                  <a:gd name="T62" fmla="*/ 101 w 368"/>
                  <a:gd name="T63" fmla="*/ 1 h 698"/>
                  <a:gd name="T64" fmla="*/ 83 w 368"/>
                  <a:gd name="T65" fmla="*/ 4 h 698"/>
                  <a:gd name="T66" fmla="*/ 29 w 368"/>
                  <a:gd name="T67" fmla="*/ 47 h 698"/>
                  <a:gd name="T68" fmla="*/ 0 w 368"/>
                  <a:gd name="T69" fmla="*/ 138 h 698"/>
                  <a:gd name="T70" fmla="*/ 68 w 368"/>
                  <a:gd name="T71" fmla="*/ 306 h 698"/>
                  <a:gd name="T72" fmla="*/ 68 w 368"/>
                  <a:gd name="T73" fmla="*/ 170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68" h="698">
                    <a:moveTo>
                      <a:pt x="68" y="170"/>
                    </a:moveTo>
                    <a:cubicBezTo>
                      <a:pt x="65" y="158"/>
                      <a:pt x="64" y="148"/>
                      <a:pt x="64" y="138"/>
                    </a:cubicBezTo>
                    <a:cubicBezTo>
                      <a:pt x="64" y="119"/>
                      <a:pt x="69" y="104"/>
                      <a:pt x="76" y="92"/>
                    </a:cubicBezTo>
                    <a:cubicBezTo>
                      <a:pt x="76" y="151"/>
                      <a:pt x="76" y="151"/>
                      <a:pt x="76" y="151"/>
                    </a:cubicBezTo>
                    <a:cubicBezTo>
                      <a:pt x="76" y="194"/>
                      <a:pt x="76" y="194"/>
                      <a:pt x="76" y="194"/>
                    </a:cubicBezTo>
                    <a:cubicBezTo>
                      <a:pt x="76" y="316"/>
                      <a:pt x="76" y="316"/>
                      <a:pt x="76" y="316"/>
                    </a:cubicBezTo>
                    <a:cubicBezTo>
                      <a:pt x="76" y="649"/>
                      <a:pt x="76" y="649"/>
                      <a:pt x="76" y="649"/>
                    </a:cubicBezTo>
                    <a:cubicBezTo>
                      <a:pt x="76" y="676"/>
                      <a:pt x="98" y="698"/>
                      <a:pt x="125" y="698"/>
                    </a:cubicBezTo>
                    <a:cubicBezTo>
                      <a:pt x="153" y="698"/>
                      <a:pt x="175" y="676"/>
                      <a:pt x="175" y="649"/>
                    </a:cubicBezTo>
                    <a:cubicBezTo>
                      <a:pt x="175" y="336"/>
                      <a:pt x="175" y="336"/>
                      <a:pt x="175" y="336"/>
                    </a:cubicBezTo>
                    <a:cubicBezTo>
                      <a:pt x="193" y="336"/>
                      <a:pt x="193" y="336"/>
                      <a:pt x="193" y="336"/>
                    </a:cubicBezTo>
                    <a:cubicBezTo>
                      <a:pt x="193" y="649"/>
                      <a:pt x="193" y="649"/>
                      <a:pt x="193" y="649"/>
                    </a:cubicBezTo>
                    <a:cubicBezTo>
                      <a:pt x="193" y="676"/>
                      <a:pt x="215" y="698"/>
                      <a:pt x="243" y="698"/>
                    </a:cubicBezTo>
                    <a:cubicBezTo>
                      <a:pt x="270" y="698"/>
                      <a:pt x="292" y="676"/>
                      <a:pt x="292" y="649"/>
                    </a:cubicBezTo>
                    <a:cubicBezTo>
                      <a:pt x="292" y="316"/>
                      <a:pt x="292" y="316"/>
                      <a:pt x="292" y="316"/>
                    </a:cubicBezTo>
                    <a:cubicBezTo>
                      <a:pt x="292" y="194"/>
                      <a:pt x="292" y="194"/>
                      <a:pt x="292" y="194"/>
                    </a:cubicBezTo>
                    <a:cubicBezTo>
                      <a:pt x="292" y="151"/>
                      <a:pt x="292" y="151"/>
                      <a:pt x="292" y="151"/>
                    </a:cubicBezTo>
                    <a:cubicBezTo>
                      <a:pt x="292" y="92"/>
                      <a:pt x="292" y="92"/>
                      <a:pt x="292" y="92"/>
                    </a:cubicBezTo>
                    <a:cubicBezTo>
                      <a:pt x="293" y="93"/>
                      <a:pt x="293" y="93"/>
                      <a:pt x="293" y="94"/>
                    </a:cubicBezTo>
                    <a:cubicBezTo>
                      <a:pt x="300" y="105"/>
                      <a:pt x="304" y="120"/>
                      <a:pt x="304" y="138"/>
                    </a:cubicBezTo>
                    <a:cubicBezTo>
                      <a:pt x="304" y="148"/>
                      <a:pt x="303" y="158"/>
                      <a:pt x="300" y="170"/>
                    </a:cubicBezTo>
                    <a:cubicBezTo>
                      <a:pt x="300" y="306"/>
                      <a:pt x="300" y="306"/>
                      <a:pt x="300" y="306"/>
                    </a:cubicBezTo>
                    <a:cubicBezTo>
                      <a:pt x="349" y="242"/>
                      <a:pt x="368" y="186"/>
                      <a:pt x="368" y="138"/>
                    </a:cubicBezTo>
                    <a:cubicBezTo>
                      <a:pt x="368" y="95"/>
                      <a:pt x="351" y="60"/>
                      <a:pt x="332" y="38"/>
                    </a:cubicBezTo>
                    <a:cubicBezTo>
                      <a:pt x="322" y="26"/>
                      <a:pt x="311" y="18"/>
                      <a:pt x="301" y="12"/>
                    </a:cubicBezTo>
                    <a:cubicBezTo>
                      <a:pt x="296" y="9"/>
                      <a:pt x="291" y="6"/>
                      <a:pt x="285" y="4"/>
                    </a:cubicBezTo>
                    <a:cubicBezTo>
                      <a:pt x="280" y="2"/>
                      <a:pt x="275" y="1"/>
                      <a:pt x="267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0"/>
                      <a:pt x="263" y="0"/>
                      <a:pt x="261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05" y="0"/>
                      <a:pt x="103" y="0"/>
                      <a:pt x="101" y="1"/>
                    </a:cubicBezTo>
                    <a:cubicBezTo>
                      <a:pt x="101" y="1"/>
                      <a:pt x="101" y="1"/>
                      <a:pt x="101" y="1"/>
                    </a:cubicBezTo>
                    <a:cubicBezTo>
                      <a:pt x="93" y="1"/>
                      <a:pt x="88" y="2"/>
                      <a:pt x="83" y="4"/>
                    </a:cubicBezTo>
                    <a:cubicBezTo>
                      <a:pt x="65" y="11"/>
                      <a:pt x="46" y="25"/>
                      <a:pt x="29" y="47"/>
                    </a:cubicBezTo>
                    <a:cubicBezTo>
                      <a:pt x="13" y="69"/>
                      <a:pt x="0" y="100"/>
                      <a:pt x="0" y="138"/>
                    </a:cubicBezTo>
                    <a:cubicBezTo>
                      <a:pt x="0" y="186"/>
                      <a:pt x="19" y="242"/>
                      <a:pt x="68" y="306"/>
                    </a:cubicBezTo>
                    <a:lnTo>
                      <a:pt x="68" y="1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BC0D3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43" name="Freeform 23">
              <a:extLst>
                <a:ext uri="{FF2B5EF4-FFF2-40B4-BE49-F238E27FC236}">
                  <a16:creationId xmlns:a16="http://schemas.microsoft.com/office/drawing/2014/main" id="{9BBBCF17-FDE8-9D42-3665-C5A8A9333C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44077" y="3595668"/>
              <a:ext cx="207802" cy="207802"/>
            </a:xfrm>
            <a:custGeom>
              <a:avLst/>
              <a:gdLst>
                <a:gd name="T0" fmla="*/ 1074 w 2083"/>
                <a:gd name="T1" fmla="*/ 374 h 2083"/>
                <a:gd name="T2" fmla="*/ 911 w 2083"/>
                <a:gd name="T3" fmla="*/ 244 h 2083"/>
                <a:gd name="T4" fmla="*/ 716 w 2083"/>
                <a:gd name="T5" fmla="*/ 244 h 2083"/>
                <a:gd name="T6" fmla="*/ 1546 w 2083"/>
                <a:gd name="T7" fmla="*/ 374 h 2083"/>
                <a:gd name="T8" fmla="*/ 1237 w 2083"/>
                <a:gd name="T9" fmla="*/ 374 h 2083"/>
                <a:gd name="T10" fmla="*/ 391 w 2083"/>
                <a:gd name="T11" fmla="*/ 391 h 2083"/>
                <a:gd name="T12" fmla="*/ 1399 w 2083"/>
                <a:gd name="T13" fmla="*/ 456 h 2083"/>
                <a:gd name="T14" fmla="*/ 1058 w 2083"/>
                <a:gd name="T15" fmla="*/ 456 h 2083"/>
                <a:gd name="T16" fmla="*/ 895 w 2083"/>
                <a:gd name="T17" fmla="*/ 586 h 2083"/>
                <a:gd name="T18" fmla="*/ 732 w 2083"/>
                <a:gd name="T19" fmla="*/ 586 h 2083"/>
                <a:gd name="T20" fmla="*/ 1237 w 2083"/>
                <a:gd name="T21" fmla="*/ 586 h 2083"/>
                <a:gd name="T22" fmla="*/ 553 w 2083"/>
                <a:gd name="T23" fmla="*/ 456 h 2083"/>
                <a:gd name="T24" fmla="*/ 1692 w 2083"/>
                <a:gd name="T25" fmla="*/ 439 h 2083"/>
                <a:gd name="T26" fmla="*/ 1383 w 2083"/>
                <a:gd name="T27" fmla="*/ 797 h 2083"/>
                <a:gd name="T28" fmla="*/ 1074 w 2083"/>
                <a:gd name="T29" fmla="*/ 797 h 2083"/>
                <a:gd name="T30" fmla="*/ 732 w 2083"/>
                <a:gd name="T31" fmla="*/ 797 h 2083"/>
                <a:gd name="T32" fmla="*/ 1562 w 2083"/>
                <a:gd name="T33" fmla="*/ 667 h 2083"/>
                <a:gd name="T34" fmla="*/ 1220 w 2083"/>
                <a:gd name="T35" fmla="*/ 667 h 2083"/>
                <a:gd name="T36" fmla="*/ 537 w 2083"/>
                <a:gd name="T37" fmla="*/ 797 h 2083"/>
                <a:gd name="T38" fmla="*/ 391 w 2083"/>
                <a:gd name="T39" fmla="*/ 814 h 2083"/>
                <a:gd name="T40" fmla="*/ 1074 w 2083"/>
                <a:gd name="T41" fmla="*/ 1009 h 2083"/>
                <a:gd name="T42" fmla="*/ 911 w 2083"/>
                <a:gd name="T43" fmla="*/ 879 h 2083"/>
                <a:gd name="T44" fmla="*/ 716 w 2083"/>
                <a:gd name="T45" fmla="*/ 879 h 2083"/>
                <a:gd name="T46" fmla="*/ 1546 w 2083"/>
                <a:gd name="T47" fmla="*/ 1009 h 2083"/>
                <a:gd name="T48" fmla="*/ 1237 w 2083"/>
                <a:gd name="T49" fmla="*/ 1009 h 2083"/>
                <a:gd name="T50" fmla="*/ 391 w 2083"/>
                <a:gd name="T51" fmla="*/ 1025 h 2083"/>
                <a:gd name="T52" fmla="*/ 1237 w 2083"/>
                <a:gd name="T53" fmla="*/ 1090 h 2083"/>
                <a:gd name="T54" fmla="*/ 1058 w 2083"/>
                <a:gd name="T55" fmla="*/ 1090 h 2083"/>
                <a:gd name="T56" fmla="*/ 895 w 2083"/>
                <a:gd name="T57" fmla="*/ 1155 h 2083"/>
                <a:gd name="T58" fmla="*/ 1399 w 2083"/>
                <a:gd name="T59" fmla="*/ 1221 h 2083"/>
                <a:gd name="T60" fmla="*/ 1562 w 2083"/>
                <a:gd name="T61" fmla="*/ 1221 h 2083"/>
                <a:gd name="T62" fmla="*/ 553 w 2083"/>
                <a:gd name="T63" fmla="*/ 1090 h 2083"/>
                <a:gd name="T64" fmla="*/ 391 w 2083"/>
                <a:gd name="T65" fmla="*/ 1237 h 2083"/>
                <a:gd name="T66" fmla="*/ 1709 w 2083"/>
                <a:gd name="T67" fmla="*/ 1269 h 2083"/>
                <a:gd name="T68" fmla="*/ 830 w 2083"/>
                <a:gd name="T69" fmla="*/ 1269 h 2083"/>
                <a:gd name="T70" fmla="*/ 1985 w 2083"/>
                <a:gd name="T71" fmla="*/ 1400 h 2083"/>
                <a:gd name="T72" fmla="*/ 98 w 2083"/>
                <a:gd name="T73" fmla="*/ 1400 h 2083"/>
                <a:gd name="T74" fmla="*/ 830 w 2083"/>
                <a:gd name="T75" fmla="*/ 1432 h 2083"/>
                <a:gd name="T76" fmla="*/ 993 w 2083"/>
                <a:gd name="T77" fmla="*/ 1237 h 2083"/>
                <a:gd name="T78" fmla="*/ 1090 w 2083"/>
                <a:gd name="T79" fmla="*/ 1497 h 2083"/>
                <a:gd name="T80" fmla="*/ 1204 w 2083"/>
                <a:gd name="T81" fmla="*/ 1530 h 2083"/>
                <a:gd name="T82" fmla="*/ 1692 w 2083"/>
                <a:gd name="T83" fmla="*/ 1953 h 2083"/>
                <a:gd name="T84" fmla="*/ 716 w 2083"/>
                <a:gd name="T85" fmla="*/ 1920 h 2083"/>
                <a:gd name="T86" fmla="*/ 195 w 2083"/>
                <a:gd name="T87" fmla="*/ 1920 h 2083"/>
                <a:gd name="T88" fmla="*/ 862 w 2083"/>
                <a:gd name="T89" fmla="*/ 1953 h 2083"/>
                <a:gd name="T90" fmla="*/ 1920 w 2083"/>
                <a:gd name="T91" fmla="*/ 2018 h 2083"/>
                <a:gd name="T92" fmla="*/ 716 w 2083"/>
                <a:gd name="T93" fmla="*/ 2018 h 2083"/>
                <a:gd name="T94" fmla="*/ 244 w 2083"/>
                <a:gd name="T95" fmla="*/ 1985 h 2083"/>
                <a:gd name="T96" fmla="*/ 1725 w 2083"/>
                <a:gd name="T97" fmla="*/ 1497 h 2083"/>
                <a:gd name="T98" fmla="*/ 1253 w 2083"/>
                <a:gd name="T99" fmla="*/ 1579 h 2083"/>
                <a:gd name="T100" fmla="*/ 862 w 2083"/>
                <a:gd name="T101" fmla="*/ 1985 h 2083"/>
                <a:gd name="T102" fmla="*/ 749 w 2083"/>
                <a:gd name="T103" fmla="*/ 2018 h 2083"/>
                <a:gd name="T104" fmla="*/ 358 w 2083"/>
                <a:gd name="T105" fmla="*/ 2018 h 2083"/>
                <a:gd name="T106" fmla="*/ 309 w 2083"/>
                <a:gd name="T107" fmla="*/ 217 h 2083"/>
                <a:gd name="T108" fmla="*/ 2083 w 2083"/>
                <a:gd name="T109" fmla="*/ 1497 h 2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3" h="2083">
                  <a:moveTo>
                    <a:pt x="1399" y="374"/>
                  </a:moveTo>
                  <a:lnTo>
                    <a:pt x="1399" y="244"/>
                  </a:lnTo>
                  <a:lnTo>
                    <a:pt x="1383" y="244"/>
                  </a:lnTo>
                  <a:lnTo>
                    <a:pt x="1383" y="374"/>
                  </a:lnTo>
                  <a:lnTo>
                    <a:pt x="1399" y="374"/>
                  </a:lnTo>
                  <a:close/>
                  <a:moveTo>
                    <a:pt x="1074" y="374"/>
                  </a:moveTo>
                  <a:lnTo>
                    <a:pt x="1074" y="244"/>
                  </a:lnTo>
                  <a:lnTo>
                    <a:pt x="1058" y="244"/>
                  </a:lnTo>
                  <a:lnTo>
                    <a:pt x="1058" y="374"/>
                  </a:lnTo>
                  <a:lnTo>
                    <a:pt x="1074" y="374"/>
                  </a:lnTo>
                  <a:close/>
                  <a:moveTo>
                    <a:pt x="911" y="374"/>
                  </a:moveTo>
                  <a:lnTo>
                    <a:pt x="911" y="244"/>
                  </a:lnTo>
                  <a:lnTo>
                    <a:pt x="895" y="244"/>
                  </a:lnTo>
                  <a:lnTo>
                    <a:pt x="895" y="374"/>
                  </a:lnTo>
                  <a:lnTo>
                    <a:pt x="911" y="374"/>
                  </a:lnTo>
                  <a:close/>
                  <a:moveTo>
                    <a:pt x="732" y="374"/>
                  </a:moveTo>
                  <a:lnTo>
                    <a:pt x="732" y="244"/>
                  </a:lnTo>
                  <a:lnTo>
                    <a:pt x="716" y="244"/>
                  </a:lnTo>
                  <a:lnTo>
                    <a:pt x="716" y="374"/>
                  </a:lnTo>
                  <a:lnTo>
                    <a:pt x="732" y="374"/>
                  </a:lnTo>
                  <a:close/>
                  <a:moveTo>
                    <a:pt x="1562" y="374"/>
                  </a:moveTo>
                  <a:lnTo>
                    <a:pt x="1562" y="244"/>
                  </a:lnTo>
                  <a:lnTo>
                    <a:pt x="1546" y="244"/>
                  </a:lnTo>
                  <a:lnTo>
                    <a:pt x="1546" y="374"/>
                  </a:lnTo>
                  <a:lnTo>
                    <a:pt x="1562" y="374"/>
                  </a:lnTo>
                  <a:close/>
                  <a:moveTo>
                    <a:pt x="1237" y="374"/>
                  </a:moveTo>
                  <a:lnTo>
                    <a:pt x="1237" y="244"/>
                  </a:lnTo>
                  <a:lnTo>
                    <a:pt x="1220" y="244"/>
                  </a:lnTo>
                  <a:lnTo>
                    <a:pt x="1220" y="374"/>
                  </a:lnTo>
                  <a:lnTo>
                    <a:pt x="1237" y="374"/>
                  </a:lnTo>
                  <a:close/>
                  <a:moveTo>
                    <a:pt x="553" y="374"/>
                  </a:moveTo>
                  <a:lnTo>
                    <a:pt x="553" y="244"/>
                  </a:lnTo>
                  <a:lnTo>
                    <a:pt x="537" y="244"/>
                  </a:lnTo>
                  <a:lnTo>
                    <a:pt x="537" y="374"/>
                  </a:lnTo>
                  <a:lnTo>
                    <a:pt x="553" y="374"/>
                  </a:lnTo>
                  <a:close/>
                  <a:moveTo>
                    <a:pt x="391" y="391"/>
                  </a:moveTo>
                  <a:lnTo>
                    <a:pt x="391" y="228"/>
                  </a:lnTo>
                  <a:lnTo>
                    <a:pt x="1692" y="228"/>
                  </a:lnTo>
                  <a:lnTo>
                    <a:pt x="1692" y="391"/>
                  </a:lnTo>
                  <a:lnTo>
                    <a:pt x="391" y="391"/>
                  </a:lnTo>
                  <a:close/>
                  <a:moveTo>
                    <a:pt x="1399" y="586"/>
                  </a:moveTo>
                  <a:lnTo>
                    <a:pt x="1399" y="456"/>
                  </a:lnTo>
                  <a:lnTo>
                    <a:pt x="1383" y="456"/>
                  </a:lnTo>
                  <a:lnTo>
                    <a:pt x="1383" y="586"/>
                  </a:lnTo>
                  <a:lnTo>
                    <a:pt x="1399" y="586"/>
                  </a:lnTo>
                  <a:close/>
                  <a:moveTo>
                    <a:pt x="1074" y="586"/>
                  </a:moveTo>
                  <a:lnTo>
                    <a:pt x="1074" y="456"/>
                  </a:lnTo>
                  <a:lnTo>
                    <a:pt x="1058" y="456"/>
                  </a:lnTo>
                  <a:lnTo>
                    <a:pt x="1058" y="586"/>
                  </a:lnTo>
                  <a:lnTo>
                    <a:pt x="1074" y="586"/>
                  </a:lnTo>
                  <a:close/>
                  <a:moveTo>
                    <a:pt x="911" y="586"/>
                  </a:moveTo>
                  <a:lnTo>
                    <a:pt x="911" y="456"/>
                  </a:lnTo>
                  <a:lnTo>
                    <a:pt x="895" y="456"/>
                  </a:lnTo>
                  <a:lnTo>
                    <a:pt x="895" y="586"/>
                  </a:lnTo>
                  <a:lnTo>
                    <a:pt x="911" y="586"/>
                  </a:lnTo>
                  <a:close/>
                  <a:moveTo>
                    <a:pt x="732" y="586"/>
                  </a:moveTo>
                  <a:lnTo>
                    <a:pt x="732" y="456"/>
                  </a:lnTo>
                  <a:lnTo>
                    <a:pt x="716" y="456"/>
                  </a:lnTo>
                  <a:lnTo>
                    <a:pt x="716" y="586"/>
                  </a:lnTo>
                  <a:lnTo>
                    <a:pt x="732" y="586"/>
                  </a:lnTo>
                  <a:close/>
                  <a:moveTo>
                    <a:pt x="1562" y="586"/>
                  </a:moveTo>
                  <a:lnTo>
                    <a:pt x="1562" y="456"/>
                  </a:lnTo>
                  <a:lnTo>
                    <a:pt x="1546" y="456"/>
                  </a:lnTo>
                  <a:lnTo>
                    <a:pt x="1546" y="586"/>
                  </a:lnTo>
                  <a:lnTo>
                    <a:pt x="1562" y="586"/>
                  </a:lnTo>
                  <a:close/>
                  <a:moveTo>
                    <a:pt x="1237" y="586"/>
                  </a:moveTo>
                  <a:lnTo>
                    <a:pt x="1237" y="456"/>
                  </a:lnTo>
                  <a:lnTo>
                    <a:pt x="1220" y="456"/>
                  </a:lnTo>
                  <a:lnTo>
                    <a:pt x="1220" y="586"/>
                  </a:lnTo>
                  <a:lnTo>
                    <a:pt x="1237" y="586"/>
                  </a:lnTo>
                  <a:close/>
                  <a:moveTo>
                    <a:pt x="553" y="586"/>
                  </a:moveTo>
                  <a:lnTo>
                    <a:pt x="553" y="456"/>
                  </a:lnTo>
                  <a:lnTo>
                    <a:pt x="537" y="456"/>
                  </a:lnTo>
                  <a:lnTo>
                    <a:pt x="537" y="586"/>
                  </a:lnTo>
                  <a:lnTo>
                    <a:pt x="553" y="586"/>
                  </a:lnTo>
                  <a:close/>
                  <a:moveTo>
                    <a:pt x="391" y="602"/>
                  </a:moveTo>
                  <a:lnTo>
                    <a:pt x="391" y="439"/>
                  </a:lnTo>
                  <a:lnTo>
                    <a:pt x="1692" y="439"/>
                  </a:lnTo>
                  <a:lnTo>
                    <a:pt x="1692" y="602"/>
                  </a:lnTo>
                  <a:lnTo>
                    <a:pt x="391" y="602"/>
                  </a:lnTo>
                  <a:close/>
                  <a:moveTo>
                    <a:pt x="1399" y="797"/>
                  </a:moveTo>
                  <a:lnTo>
                    <a:pt x="1399" y="667"/>
                  </a:lnTo>
                  <a:lnTo>
                    <a:pt x="1383" y="667"/>
                  </a:lnTo>
                  <a:lnTo>
                    <a:pt x="1383" y="797"/>
                  </a:lnTo>
                  <a:lnTo>
                    <a:pt x="1399" y="797"/>
                  </a:lnTo>
                  <a:close/>
                  <a:moveTo>
                    <a:pt x="1074" y="797"/>
                  </a:moveTo>
                  <a:lnTo>
                    <a:pt x="1074" y="667"/>
                  </a:lnTo>
                  <a:lnTo>
                    <a:pt x="1058" y="667"/>
                  </a:lnTo>
                  <a:lnTo>
                    <a:pt x="1058" y="797"/>
                  </a:lnTo>
                  <a:lnTo>
                    <a:pt x="1074" y="797"/>
                  </a:lnTo>
                  <a:close/>
                  <a:moveTo>
                    <a:pt x="911" y="797"/>
                  </a:moveTo>
                  <a:lnTo>
                    <a:pt x="911" y="667"/>
                  </a:lnTo>
                  <a:lnTo>
                    <a:pt x="895" y="667"/>
                  </a:lnTo>
                  <a:lnTo>
                    <a:pt x="895" y="797"/>
                  </a:lnTo>
                  <a:lnTo>
                    <a:pt x="911" y="797"/>
                  </a:lnTo>
                  <a:close/>
                  <a:moveTo>
                    <a:pt x="732" y="797"/>
                  </a:moveTo>
                  <a:lnTo>
                    <a:pt x="732" y="667"/>
                  </a:lnTo>
                  <a:lnTo>
                    <a:pt x="716" y="667"/>
                  </a:lnTo>
                  <a:lnTo>
                    <a:pt x="716" y="797"/>
                  </a:lnTo>
                  <a:lnTo>
                    <a:pt x="732" y="797"/>
                  </a:lnTo>
                  <a:close/>
                  <a:moveTo>
                    <a:pt x="1562" y="797"/>
                  </a:moveTo>
                  <a:lnTo>
                    <a:pt x="1562" y="667"/>
                  </a:lnTo>
                  <a:lnTo>
                    <a:pt x="1546" y="667"/>
                  </a:lnTo>
                  <a:lnTo>
                    <a:pt x="1546" y="797"/>
                  </a:lnTo>
                  <a:lnTo>
                    <a:pt x="1562" y="797"/>
                  </a:lnTo>
                  <a:close/>
                  <a:moveTo>
                    <a:pt x="1237" y="797"/>
                  </a:moveTo>
                  <a:lnTo>
                    <a:pt x="1237" y="667"/>
                  </a:lnTo>
                  <a:lnTo>
                    <a:pt x="1220" y="667"/>
                  </a:lnTo>
                  <a:lnTo>
                    <a:pt x="1220" y="797"/>
                  </a:lnTo>
                  <a:lnTo>
                    <a:pt x="1237" y="797"/>
                  </a:lnTo>
                  <a:close/>
                  <a:moveTo>
                    <a:pt x="553" y="797"/>
                  </a:moveTo>
                  <a:lnTo>
                    <a:pt x="553" y="667"/>
                  </a:lnTo>
                  <a:lnTo>
                    <a:pt x="537" y="667"/>
                  </a:lnTo>
                  <a:lnTo>
                    <a:pt x="537" y="797"/>
                  </a:lnTo>
                  <a:lnTo>
                    <a:pt x="553" y="797"/>
                  </a:lnTo>
                  <a:close/>
                  <a:moveTo>
                    <a:pt x="391" y="814"/>
                  </a:moveTo>
                  <a:lnTo>
                    <a:pt x="391" y="651"/>
                  </a:lnTo>
                  <a:lnTo>
                    <a:pt x="1692" y="651"/>
                  </a:lnTo>
                  <a:lnTo>
                    <a:pt x="1692" y="814"/>
                  </a:lnTo>
                  <a:lnTo>
                    <a:pt x="391" y="814"/>
                  </a:lnTo>
                  <a:close/>
                  <a:moveTo>
                    <a:pt x="1399" y="1009"/>
                  </a:moveTo>
                  <a:lnTo>
                    <a:pt x="1399" y="879"/>
                  </a:lnTo>
                  <a:lnTo>
                    <a:pt x="1383" y="879"/>
                  </a:lnTo>
                  <a:lnTo>
                    <a:pt x="1383" y="1009"/>
                  </a:lnTo>
                  <a:lnTo>
                    <a:pt x="1399" y="1009"/>
                  </a:lnTo>
                  <a:close/>
                  <a:moveTo>
                    <a:pt x="1074" y="1009"/>
                  </a:moveTo>
                  <a:lnTo>
                    <a:pt x="1074" y="879"/>
                  </a:lnTo>
                  <a:lnTo>
                    <a:pt x="1058" y="879"/>
                  </a:lnTo>
                  <a:lnTo>
                    <a:pt x="1058" y="1009"/>
                  </a:lnTo>
                  <a:lnTo>
                    <a:pt x="1074" y="1009"/>
                  </a:lnTo>
                  <a:close/>
                  <a:moveTo>
                    <a:pt x="911" y="1009"/>
                  </a:moveTo>
                  <a:lnTo>
                    <a:pt x="911" y="879"/>
                  </a:lnTo>
                  <a:lnTo>
                    <a:pt x="895" y="879"/>
                  </a:lnTo>
                  <a:lnTo>
                    <a:pt x="895" y="1009"/>
                  </a:lnTo>
                  <a:lnTo>
                    <a:pt x="911" y="1009"/>
                  </a:lnTo>
                  <a:close/>
                  <a:moveTo>
                    <a:pt x="732" y="1009"/>
                  </a:moveTo>
                  <a:lnTo>
                    <a:pt x="732" y="879"/>
                  </a:lnTo>
                  <a:lnTo>
                    <a:pt x="716" y="879"/>
                  </a:lnTo>
                  <a:lnTo>
                    <a:pt x="716" y="1009"/>
                  </a:lnTo>
                  <a:lnTo>
                    <a:pt x="732" y="1009"/>
                  </a:lnTo>
                  <a:close/>
                  <a:moveTo>
                    <a:pt x="1562" y="1009"/>
                  </a:moveTo>
                  <a:lnTo>
                    <a:pt x="1562" y="879"/>
                  </a:lnTo>
                  <a:lnTo>
                    <a:pt x="1546" y="879"/>
                  </a:lnTo>
                  <a:lnTo>
                    <a:pt x="1546" y="1009"/>
                  </a:lnTo>
                  <a:lnTo>
                    <a:pt x="1562" y="1009"/>
                  </a:lnTo>
                  <a:close/>
                  <a:moveTo>
                    <a:pt x="1237" y="1009"/>
                  </a:moveTo>
                  <a:lnTo>
                    <a:pt x="1237" y="879"/>
                  </a:lnTo>
                  <a:lnTo>
                    <a:pt x="1220" y="879"/>
                  </a:lnTo>
                  <a:lnTo>
                    <a:pt x="1220" y="1009"/>
                  </a:lnTo>
                  <a:lnTo>
                    <a:pt x="1237" y="1009"/>
                  </a:lnTo>
                  <a:close/>
                  <a:moveTo>
                    <a:pt x="553" y="1009"/>
                  </a:moveTo>
                  <a:lnTo>
                    <a:pt x="553" y="879"/>
                  </a:lnTo>
                  <a:lnTo>
                    <a:pt x="537" y="879"/>
                  </a:lnTo>
                  <a:lnTo>
                    <a:pt x="537" y="1009"/>
                  </a:lnTo>
                  <a:lnTo>
                    <a:pt x="553" y="1009"/>
                  </a:lnTo>
                  <a:close/>
                  <a:moveTo>
                    <a:pt x="391" y="1025"/>
                  </a:moveTo>
                  <a:lnTo>
                    <a:pt x="391" y="863"/>
                  </a:lnTo>
                  <a:lnTo>
                    <a:pt x="1692" y="863"/>
                  </a:lnTo>
                  <a:lnTo>
                    <a:pt x="1692" y="1025"/>
                  </a:lnTo>
                  <a:lnTo>
                    <a:pt x="391" y="1025"/>
                  </a:lnTo>
                  <a:close/>
                  <a:moveTo>
                    <a:pt x="1237" y="1155"/>
                  </a:moveTo>
                  <a:lnTo>
                    <a:pt x="1237" y="1090"/>
                  </a:lnTo>
                  <a:lnTo>
                    <a:pt x="1220" y="1090"/>
                  </a:lnTo>
                  <a:lnTo>
                    <a:pt x="1220" y="1155"/>
                  </a:lnTo>
                  <a:lnTo>
                    <a:pt x="1237" y="1155"/>
                  </a:lnTo>
                  <a:close/>
                  <a:moveTo>
                    <a:pt x="1074" y="1155"/>
                  </a:moveTo>
                  <a:lnTo>
                    <a:pt x="1074" y="1090"/>
                  </a:lnTo>
                  <a:lnTo>
                    <a:pt x="1058" y="1090"/>
                  </a:lnTo>
                  <a:lnTo>
                    <a:pt x="1058" y="1155"/>
                  </a:lnTo>
                  <a:lnTo>
                    <a:pt x="1074" y="1155"/>
                  </a:lnTo>
                  <a:close/>
                  <a:moveTo>
                    <a:pt x="911" y="1155"/>
                  </a:moveTo>
                  <a:lnTo>
                    <a:pt x="911" y="1090"/>
                  </a:lnTo>
                  <a:lnTo>
                    <a:pt x="895" y="1090"/>
                  </a:lnTo>
                  <a:lnTo>
                    <a:pt x="895" y="1155"/>
                  </a:lnTo>
                  <a:lnTo>
                    <a:pt x="911" y="1155"/>
                  </a:lnTo>
                  <a:close/>
                  <a:moveTo>
                    <a:pt x="1399" y="1221"/>
                  </a:moveTo>
                  <a:lnTo>
                    <a:pt x="1399" y="1090"/>
                  </a:lnTo>
                  <a:lnTo>
                    <a:pt x="1383" y="1090"/>
                  </a:lnTo>
                  <a:lnTo>
                    <a:pt x="1383" y="1221"/>
                  </a:lnTo>
                  <a:lnTo>
                    <a:pt x="1399" y="1221"/>
                  </a:lnTo>
                  <a:close/>
                  <a:moveTo>
                    <a:pt x="732" y="1221"/>
                  </a:moveTo>
                  <a:lnTo>
                    <a:pt x="732" y="1090"/>
                  </a:lnTo>
                  <a:lnTo>
                    <a:pt x="716" y="1090"/>
                  </a:lnTo>
                  <a:lnTo>
                    <a:pt x="716" y="1221"/>
                  </a:lnTo>
                  <a:lnTo>
                    <a:pt x="732" y="1221"/>
                  </a:lnTo>
                  <a:close/>
                  <a:moveTo>
                    <a:pt x="1562" y="1221"/>
                  </a:moveTo>
                  <a:lnTo>
                    <a:pt x="1562" y="1090"/>
                  </a:lnTo>
                  <a:lnTo>
                    <a:pt x="1546" y="1090"/>
                  </a:lnTo>
                  <a:lnTo>
                    <a:pt x="1546" y="1221"/>
                  </a:lnTo>
                  <a:lnTo>
                    <a:pt x="1562" y="1221"/>
                  </a:lnTo>
                  <a:close/>
                  <a:moveTo>
                    <a:pt x="553" y="1221"/>
                  </a:moveTo>
                  <a:lnTo>
                    <a:pt x="553" y="1090"/>
                  </a:lnTo>
                  <a:lnTo>
                    <a:pt x="537" y="1090"/>
                  </a:lnTo>
                  <a:lnTo>
                    <a:pt x="537" y="1221"/>
                  </a:lnTo>
                  <a:lnTo>
                    <a:pt x="553" y="1221"/>
                  </a:lnTo>
                  <a:close/>
                  <a:moveTo>
                    <a:pt x="830" y="1269"/>
                  </a:moveTo>
                  <a:lnTo>
                    <a:pt x="830" y="1237"/>
                  </a:lnTo>
                  <a:lnTo>
                    <a:pt x="391" y="1237"/>
                  </a:lnTo>
                  <a:lnTo>
                    <a:pt x="391" y="1074"/>
                  </a:lnTo>
                  <a:lnTo>
                    <a:pt x="1692" y="1074"/>
                  </a:lnTo>
                  <a:lnTo>
                    <a:pt x="1692" y="1237"/>
                  </a:lnTo>
                  <a:lnTo>
                    <a:pt x="1253" y="1237"/>
                  </a:lnTo>
                  <a:lnTo>
                    <a:pt x="1253" y="1269"/>
                  </a:lnTo>
                  <a:lnTo>
                    <a:pt x="1709" y="1269"/>
                  </a:lnTo>
                  <a:lnTo>
                    <a:pt x="1709" y="207"/>
                  </a:lnTo>
                  <a:lnTo>
                    <a:pt x="1752" y="65"/>
                  </a:lnTo>
                  <a:lnTo>
                    <a:pt x="331" y="65"/>
                  </a:lnTo>
                  <a:lnTo>
                    <a:pt x="374" y="207"/>
                  </a:lnTo>
                  <a:lnTo>
                    <a:pt x="374" y="1269"/>
                  </a:lnTo>
                  <a:lnTo>
                    <a:pt x="830" y="1269"/>
                  </a:lnTo>
                  <a:close/>
                  <a:moveTo>
                    <a:pt x="2018" y="1432"/>
                  </a:moveTo>
                  <a:lnTo>
                    <a:pt x="2018" y="1334"/>
                  </a:lnTo>
                  <a:lnTo>
                    <a:pt x="1253" y="1334"/>
                  </a:lnTo>
                  <a:lnTo>
                    <a:pt x="1253" y="1367"/>
                  </a:lnTo>
                  <a:lnTo>
                    <a:pt x="1985" y="1367"/>
                  </a:lnTo>
                  <a:lnTo>
                    <a:pt x="1985" y="1400"/>
                  </a:lnTo>
                  <a:lnTo>
                    <a:pt x="1253" y="1400"/>
                  </a:lnTo>
                  <a:lnTo>
                    <a:pt x="1253" y="1432"/>
                  </a:lnTo>
                  <a:lnTo>
                    <a:pt x="2018" y="1432"/>
                  </a:lnTo>
                  <a:close/>
                  <a:moveTo>
                    <a:pt x="830" y="1432"/>
                  </a:moveTo>
                  <a:lnTo>
                    <a:pt x="830" y="1400"/>
                  </a:lnTo>
                  <a:lnTo>
                    <a:pt x="98" y="1400"/>
                  </a:lnTo>
                  <a:lnTo>
                    <a:pt x="98" y="1367"/>
                  </a:lnTo>
                  <a:lnTo>
                    <a:pt x="830" y="1367"/>
                  </a:lnTo>
                  <a:lnTo>
                    <a:pt x="830" y="1334"/>
                  </a:lnTo>
                  <a:lnTo>
                    <a:pt x="65" y="1334"/>
                  </a:lnTo>
                  <a:lnTo>
                    <a:pt x="65" y="1432"/>
                  </a:lnTo>
                  <a:lnTo>
                    <a:pt x="830" y="1432"/>
                  </a:lnTo>
                  <a:close/>
                  <a:moveTo>
                    <a:pt x="993" y="1497"/>
                  </a:moveTo>
                  <a:lnTo>
                    <a:pt x="993" y="1416"/>
                  </a:lnTo>
                  <a:lnTo>
                    <a:pt x="911" y="1416"/>
                  </a:lnTo>
                  <a:lnTo>
                    <a:pt x="911" y="1318"/>
                  </a:lnTo>
                  <a:lnTo>
                    <a:pt x="993" y="1318"/>
                  </a:lnTo>
                  <a:lnTo>
                    <a:pt x="993" y="1237"/>
                  </a:lnTo>
                  <a:lnTo>
                    <a:pt x="1090" y="1237"/>
                  </a:lnTo>
                  <a:lnTo>
                    <a:pt x="1090" y="1318"/>
                  </a:lnTo>
                  <a:lnTo>
                    <a:pt x="1172" y="1318"/>
                  </a:lnTo>
                  <a:lnTo>
                    <a:pt x="1172" y="1416"/>
                  </a:lnTo>
                  <a:lnTo>
                    <a:pt x="1090" y="1416"/>
                  </a:lnTo>
                  <a:lnTo>
                    <a:pt x="1090" y="1497"/>
                  </a:lnTo>
                  <a:lnTo>
                    <a:pt x="993" y="1497"/>
                  </a:lnTo>
                  <a:close/>
                  <a:moveTo>
                    <a:pt x="1204" y="1530"/>
                  </a:moveTo>
                  <a:lnTo>
                    <a:pt x="1204" y="1204"/>
                  </a:lnTo>
                  <a:lnTo>
                    <a:pt x="879" y="1204"/>
                  </a:lnTo>
                  <a:lnTo>
                    <a:pt x="879" y="1530"/>
                  </a:lnTo>
                  <a:lnTo>
                    <a:pt x="1204" y="1530"/>
                  </a:lnTo>
                  <a:close/>
                  <a:moveTo>
                    <a:pt x="1888" y="1953"/>
                  </a:moveTo>
                  <a:lnTo>
                    <a:pt x="1888" y="1920"/>
                  </a:lnTo>
                  <a:lnTo>
                    <a:pt x="1839" y="1920"/>
                  </a:lnTo>
                  <a:lnTo>
                    <a:pt x="1839" y="1953"/>
                  </a:lnTo>
                  <a:lnTo>
                    <a:pt x="1888" y="1953"/>
                  </a:lnTo>
                  <a:close/>
                  <a:moveTo>
                    <a:pt x="1692" y="1953"/>
                  </a:moveTo>
                  <a:lnTo>
                    <a:pt x="1692" y="1920"/>
                  </a:lnTo>
                  <a:lnTo>
                    <a:pt x="1367" y="1920"/>
                  </a:lnTo>
                  <a:lnTo>
                    <a:pt x="1367" y="1953"/>
                  </a:lnTo>
                  <a:lnTo>
                    <a:pt x="1692" y="1953"/>
                  </a:lnTo>
                  <a:close/>
                  <a:moveTo>
                    <a:pt x="716" y="1953"/>
                  </a:moveTo>
                  <a:lnTo>
                    <a:pt x="716" y="1920"/>
                  </a:lnTo>
                  <a:lnTo>
                    <a:pt x="391" y="1920"/>
                  </a:lnTo>
                  <a:lnTo>
                    <a:pt x="391" y="1953"/>
                  </a:lnTo>
                  <a:lnTo>
                    <a:pt x="716" y="1953"/>
                  </a:lnTo>
                  <a:close/>
                  <a:moveTo>
                    <a:pt x="244" y="1953"/>
                  </a:moveTo>
                  <a:lnTo>
                    <a:pt x="244" y="1920"/>
                  </a:lnTo>
                  <a:lnTo>
                    <a:pt x="195" y="1920"/>
                  </a:lnTo>
                  <a:lnTo>
                    <a:pt x="195" y="1953"/>
                  </a:lnTo>
                  <a:lnTo>
                    <a:pt x="244" y="1953"/>
                  </a:lnTo>
                  <a:close/>
                  <a:moveTo>
                    <a:pt x="1220" y="1953"/>
                  </a:moveTo>
                  <a:lnTo>
                    <a:pt x="1220" y="1920"/>
                  </a:lnTo>
                  <a:lnTo>
                    <a:pt x="862" y="1920"/>
                  </a:lnTo>
                  <a:lnTo>
                    <a:pt x="862" y="1953"/>
                  </a:lnTo>
                  <a:lnTo>
                    <a:pt x="1220" y="1953"/>
                  </a:lnTo>
                  <a:close/>
                  <a:moveTo>
                    <a:pt x="1920" y="2018"/>
                  </a:moveTo>
                  <a:lnTo>
                    <a:pt x="1920" y="1985"/>
                  </a:lnTo>
                  <a:lnTo>
                    <a:pt x="1839" y="1985"/>
                  </a:lnTo>
                  <a:lnTo>
                    <a:pt x="1839" y="2018"/>
                  </a:lnTo>
                  <a:lnTo>
                    <a:pt x="1920" y="2018"/>
                  </a:lnTo>
                  <a:close/>
                  <a:moveTo>
                    <a:pt x="1692" y="2018"/>
                  </a:moveTo>
                  <a:lnTo>
                    <a:pt x="1692" y="1985"/>
                  </a:lnTo>
                  <a:lnTo>
                    <a:pt x="1367" y="1985"/>
                  </a:lnTo>
                  <a:lnTo>
                    <a:pt x="1367" y="2018"/>
                  </a:lnTo>
                  <a:lnTo>
                    <a:pt x="1692" y="2018"/>
                  </a:lnTo>
                  <a:close/>
                  <a:moveTo>
                    <a:pt x="716" y="2018"/>
                  </a:moveTo>
                  <a:lnTo>
                    <a:pt x="716" y="1985"/>
                  </a:lnTo>
                  <a:lnTo>
                    <a:pt x="391" y="1985"/>
                  </a:lnTo>
                  <a:lnTo>
                    <a:pt x="391" y="2018"/>
                  </a:lnTo>
                  <a:lnTo>
                    <a:pt x="716" y="2018"/>
                  </a:lnTo>
                  <a:close/>
                  <a:moveTo>
                    <a:pt x="244" y="2018"/>
                  </a:moveTo>
                  <a:lnTo>
                    <a:pt x="244" y="1985"/>
                  </a:lnTo>
                  <a:lnTo>
                    <a:pt x="163" y="1985"/>
                  </a:lnTo>
                  <a:lnTo>
                    <a:pt x="163" y="2018"/>
                  </a:lnTo>
                  <a:lnTo>
                    <a:pt x="244" y="2018"/>
                  </a:lnTo>
                  <a:close/>
                  <a:moveTo>
                    <a:pt x="1806" y="2018"/>
                  </a:moveTo>
                  <a:lnTo>
                    <a:pt x="1806" y="1497"/>
                  </a:lnTo>
                  <a:lnTo>
                    <a:pt x="1725" y="1497"/>
                  </a:lnTo>
                  <a:lnTo>
                    <a:pt x="1725" y="2018"/>
                  </a:lnTo>
                  <a:lnTo>
                    <a:pt x="1806" y="2018"/>
                  </a:lnTo>
                  <a:close/>
                  <a:moveTo>
                    <a:pt x="1334" y="2018"/>
                  </a:moveTo>
                  <a:lnTo>
                    <a:pt x="1334" y="1497"/>
                  </a:lnTo>
                  <a:lnTo>
                    <a:pt x="1253" y="1497"/>
                  </a:lnTo>
                  <a:lnTo>
                    <a:pt x="1253" y="1579"/>
                  </a:lnTo>
                  <a:lnTo>
                    <a:pt x="1253" y="1579"/>
                  </a:lnTo>
                  <a:lnTo>
                    <a:pt x="1253" y="2018"/>
                  </a:lnTo>
                  <a:lnTo>
                    <a:pt x="1334" y="2018"/>
                  </a:lnTo>
                  <a:close/>
                  <a:moveTo>
                    <a:pt x="1220" y="2018"/>
                  </a:moveTo>
                  <a:lnTo>
                    <a:pt x="1220" y="1985"/>
                  </a:lnTo>
                  <a:lnTo>
                    <a:pt x="862" y="1985"/>
                  </a:lnTo>
                  <a:lnTo>
                    <a:pt x="862" y="2018"/>
                  </a:lnTo>
                  <a:lnTo>
                    <a:pt x="1220" y="2018"/>
                  </a:lnTo>
                  <a:close/>
                  <a:moveTo>
                    <a:pt x="830" y="2018"/>
                  </a:moveTo>
                  <a:lnTo>
                    <a:pt x="830" y="1497"/>
                  </a:lnTo>
                  <a:lnTo>
                    <a:pt x="749" y="1497"/>
                  </a:lnTo>
                  <a:lnTo>
                    <a:pt x="749" y="2018"/>
                  </a:lnTo>
                  <a:lnTo>
                    <a:pt x="830" y="2018"/>
                  </a:lnTo>
                  <a:close/>
                  <a:moveTo>
                    <a:pt x="358" y="2018"/>
                  </a:moveTo>
                  <a:lnTo>
                    <a:pt x="358" y="1497"/>
                  </a:lnTo>
                  <a:lnTo>
                    <a:pt x="277" y="1497"/>
                  </a:lnTo>
                  <a:lnTo>
                    <a:pt x="277" y="2018"/>
                  </a:lnTo>
                  <a:lnTo>
                    <a:pt x="358" y="2018"/>
                  </a:lnTo>
                  <a:close/>
                  <a:moveTo>
                    <a:pt x="114" y="2083"/>
                  </a:moveTo>
                  <a:lnTo>
                    <a:pt x="114" y="1497"/>
                  </a:lnTo>
                  <a:lnTo>
                    <a:pt x="0" y="1497"/>
                  </a:lnTo>
                  <a:lnTo>
                    <a:pt x="0" y="1269"/>
                  </a:lnTo>
                  <a:lnTo>
                    <a:pt x="309" y="1269"/>
                  </a:lnTo>
                  <a:lnTo>
                    <a:pt x="309" y="217"/>
                  </a:lnTo>
                  <a:lnTo>
                    <a:pt x="242" y="0"/>
                  </a:lnTo>
                  <a:lnTo>
                    <a:pt x="1841" y="0"/>
                  </a:lnTo>
                  <a:lnTo>
                    <a:pt x="1774" y="217"/>
                  </a:lnTo>
                  <a:lnTo>
                    <a:pt x="1774" y="1269"/>
                  </a:lnTo>
                  <a:lnTo>
                    <a:pt x="2083" y="1269"/>
                  </a:lnTo>
                  <a:lnTo>
                    <a:pt x="2083" y="1497"/>
                  </a:lnTo>
                  <a:lnTo>
                    <a:pt x="1969" y="1497"/>
                  </a:lnTo>
                  <a:lnTo>
                    <a:pt x="1969" y="2083"/>
                  </a:lnTo>
                  <a:lnTo>
                    <a:pt x="114" y="208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4" name="Freeform 7">
              <a:extLst>
                <a:ext uri="{FF2B5EF4-FFF2-40B4-BE49-F238E27FC236}">
                  <a16:creationId xmlns:a16="http://schemas.microsoft.com/office/drawing/2014/main" id="{710D4E42-8E41-6251-8A87-41A6EE0D44C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12514" y="3577637"/>
              <a:ext cx="211910" cy="201941"/>
            </a:xfrm>
            <a:custGeom>
              <a:avLst/>
              <a:gdLst>
                <a:gd name="T0" fmla="*/ 69 w 594"/>
                <a:gd name="T1" fmla="*/ 345 h 566"/>
                <a:gd name="T2" fmla="*/ 52 w 594"/>
                <a:gd name="T3" fmla="*/ 345 h 566"/>
                <a:gd name="T4" fmla="*/ 7 w 594"/>
                <a:gd name="T5" fmla="*/ 320 h 566"/>
                <a:gd name="T6" fmla="*/ 21 w 594"/>
                <a:gd name="T7" fmla="*/ 270 h 566"/>
                <a:gd name="T8" fmla="*/ 159 w 594"/>
                <a:gd name="T9" fmla="*/ 129 h 566"/>
                <a:gd name="T10" fmla="*/ 264 w 594"/>
                <a:gd name="T11" fmla="*/ 21 h 566"/>
                <a:gd name="T12" fmla="*/ 330 w 594"/>
                <a:gd name="T13" fmla="*/ 22 h 566"/>
                <a:gd name="T14" fmla="*/ 574 w 594"/>
                <a:gd name="T15" fmla="*/ 272 h 566"/>
                <a:gd name="T16" fmla="*/ 586 w 594"/>
                <a:gd name="T17" fmla="*/ 320 h 566"/>
                <a:gd name="T18" fmla="*/ 543 w 594"/>
                <a:gd name="T19" fmla="*/ 345 h 566"/>
                <a:gd name="T20" fmla="*/ 525 w 594"/>
                <a:gd name="T21" fmla="*/ 345 h 566"/>
                <a:gd name="T22" fmla="*/ 525 w 594"/>
                <a:gd name="T23" fmla="*/ 360 h 566"/>
                <a:gd name="T24" fmla="*/ 525 w 594"/>
                <a:gd name="T25" fmla="*/ 512 h 566"/>
                <a:gd name="T26" fmla="*/ 471 w 594"/>
                <a:gd name="T27" fmla="*/ 566 h 566"/>
                <a:gd name="T28" fmla="*/ 122 w 594"/>
                <a:gd name="T29" fmla="*/ 566 h 566"/>
                <a:gd name="T30" fmla="*/ 69 w 594"/>
                <a:gd name="T31" fmla="*/ 511 h 566"/>
                <a:gd name="T32" fmla="*/ 69 w 594"/>
                <a:gd name="T33" fmla="*/ 366 h 566"/>
                <a:gd name="T34" fmla="*/ 69 w 594"/>
                <a:gd name="T35" fmla="*/ 345 h 566"/>
                <a:gd name="T36" fmla="*/ 254 w 594"/>
                <a:gd name="T37" fmla="*/ 317 h 566"/>
                <a:gd name="T38" fmla="*/ 204 w 594"/>
                <a:gd name="T39" fmla="*/ 317 h 566"/>
                <a:gd name="T40" fmla="*/ 177 w 594"/>
                <a:gd name="T41" fmla="*/ 344 h 566"/>
                <a:gd name="T42" fmla="*/ 177 w 594"/>
                <a:gd name="T43" fmla="*/ 370 h 566"/>
                <a:gd name="T44" fmla="*/ 210 w 594"/>
                <a:gd name="T45" fmla="*/ 403 h 566"/>
                <a:gd name="T46" fmla="*/ 252 w 594"/>
                <a:gd name="T47" fmla="*/ 403 h 566"/>
                <a:gd name="T48" fmla="*/ 254 w 594"/>
                <a:gd name="T49" fmla="*/ 408 h 566"/>
                <a:gd name="T50" fmla="*/ 254 w 594"/>
                <a:gd name="T51" fmla="*/ 453 h 566"/>
                <a:gd name="T52" fmla="*/ 281 w 594"/>
                <a:gd name="T53" fmla="*/ 480 h 566"/>
                <a:gd name="T54" fmla="*/ 309 w 594"/>
                <a:gd name="T55" fmla="*/ 480 h 566"/>
                <a:gd name="T56" fmla="*/ 340 w 594"/>
                <a:gd name="T57" fmla="*/ 449 h 566"/>
                <a:gd name="T58" fmla="*/ 340 w 594"/>
                <a:gd name="T59" fmla="*/ 403 h 566"/>
                <a:gd name="T60" fmla="*/ 390 w 594"/>
                <a:gd name="T61" fmla="*/ 403 h 566"/>
                <a:gd name="T62" fmla="*/ 417 w 594"/>
                <a:gd name="T63" fmla="*/ 376 h 566"/>
                <a:gd name="T64" fmla="*/ 417 w 594"/>
                <a:gd name="T65" fmla="*/ 348 h 566"/>
                <a:gd name="T66" fmla="*/ 387 w 594"/>
                <a:gd name="T67" fmla="*/ 317 h 566"/>
                <a:gd name="T68" fmla="*/ 340 w 594"/>
                <a:gd name="T69" fmla="*/ 317 h 566"/>
                <a:gd name="T70" fmla="*/ 340 w 594"/>
                <a:gd name="T71" fmla="*/ 267 h 566"/>
                <a:gd name="T72" fmla="*/ 313 w 594"/>
                <a:gd name="T73" fmla="*/ 240 h 566"/>
                <a:gd name="T74" fmla="*/ 282 w 594"/>
                <a:gd name="T75" fmla="*/ 240 h 566"/>
                <a:gd name="T76" fmla="*/ 254 w 594"/>
                <a:gd name="T77" fmla="*/ 269 h 566"/>
                <a:gd name="T78" fmla="*/ 254 w 594"/>
                <a:gd name="T79" fmla="*/ 317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94" h="566">
                  <a:moveTo>
                    <a:pt x="69" y="345"/>
                  </a:moveTo>
                  <a:cubicBezTo>
                    <a:pt x="62" y="345"/>
                    <a:pt x="57" y="345"/>
                    <a:pt x="52" y="345"/>
                  </a:cubicBezTo>
                  <a:cubicBezTo>
                    <a:pt x="32" y="346"/>
                    <a:pt x="15" y="340"/>
                    <a:pt x="7" y="320"/>
                  </a:cubicBezTo>
                  <a:cubicBezTo>
                    <a:pt x="0" y="301"/>
                    <a:pt x="6" y="285"/>
                    <a:pt x="21" y="270"/>
                  </a:cubicBezTo>
                  <a:cubicBezTo>
                    <a:pt x="67" y="223"/>
                    <a:pt x="113" y="176"/>
                    <a:pt x="159" y="129"/>
                  </a:cubicBezTo>
                  <a:cubicBezTo>
                    <a:pt x="194" y="93"/>
                    <a:pt x="229" y="57"/>
                    <a:pt x="264" y="21"/>
                  </a:cubicBezTo>
                  <a:cubicBezTo>
                    <a:pt x="285" y="0"/>
                    <a:pt x="309" y="0"/>
                    <a:pt x="330" y="22"/>
                  </a:cubicBezTo>
                  <a:cubicBezTo>
                    <a:pt x="412" y="105"/>
                    <a:pt x="493" y="189"/>
                    <a:pt x="574" y="272"/>
                  </a:cubicBezTo>
                  <a:cubicBezTo>
                    <a:pt x="588" y="286"/>
                    <a:pt x="594" y="301"/>
                    <a:pt x="586" y="320"/>
                  </a:cubicBezTo>
                  <a:cubicBezTo>
                    <a:pt x="580" y="337"/>
                    <a:pt x="565" y="345"/>
                    <a:pt x="543" y="345"/>
                  </a:cubicBezTo>
                  <a:cubicBezTo>
                    <a:pt x="538" y="345"/>
                    <a:pt x="532" y="345"/>
                    <a:pt x="525" y="345"/>
                  </a:cubicBezTo>
                  <a:cubicBezTo>
                    <a:pt x="525" y="351"/>
                    <a:pt x="525" y="356"/>
                    <a:pt x="525" y="360"/>
                  </a:cubicBezTo>
                  <a:cubicBezTo>
                    <a:pt x="525" y="411"/>
                    <a:pt x="525" y="461"/>
                    <a:pt x="525" y="512"/>
                  </a:cubicBezTo>
                  <a:cubicBezTo>
                    <a:pt x="525" y="544"/>
                    <a:pt x="504" y="566"/>
                    <a:pt x="471" y="566"/>
                  </a:cubicBezTo>
                  <a:cubicBezTo>
                    <a:pt x="355" y="566"/>
                    <a:pt x="238" y="566"/>
                    <a:pt x="122" y="566"/>
                  </a:cubicBezTo>
                  <a:cubicBezTo>
                    <a:pt x="89" y="566"/>
                    <a:pt x="69" y="545"/>
                    <a:pt x="69" y="511"/>
                  </a:cubicBezTo>
                  <a:cubicBezTo>
                    <a:pt x="68" y="463"/>
                    <a:pt x="69" y="414"/>
                    <a:pt x="69" y="366"/>
                  </a:cubicBezTo>
                  <a:cubicBezTo>
                    <a:pt x="69" y="359"/>
                    <a:pt x="69" y="353"/>
                    <a:pt x="69" y="345"/>
                  </a:cubicBezTo>
                  <a:close/>
                  <a:moveTo>
                    <a:pt x="254" y="317"/>
                  </a:moveTo>
                  <a:cubicBezTo>
                    <a:pt x="236" y="317"/>
                    <a:pt x="220" y="317"/>
                    <a:pt x="204" y="317"/>
                  </a:cubicBezTo>
                  <a:cubicBezTo>
                    <a:pt x="186" y="318"/>
                    <a:pt x="177" y="327"/>
                    <a:pt x="177" y="344"/>
                  </a:cubicBezTo>
                  <a:cubicBezTo>
                    <a:pt x="177" y="353"/>
                    <a:pt x="177" y="362"/>
                    <a:pt x="177" y="370"/>
                  </a:cubicBezTo>
                  <a:cubicBezTo>
                    <a:pt x="177" y="395"/>
                    <a:pt x="185" y="403"/>
                    <a:pt x="210" y="403"/>
                  </a:cubicBezTo>
                  <a:cubicBezTo>
                    <a:pt x="224" y="403"/>
                    <a:pt x="239" y="403"/>
                    <a:pt x="252" y="403"/>
                  </a:cubicBezTo>
                  <a:cubicBezTo>
                    <a:pt x="253" y="406"/>
                    <a:pt x="254" y="407"/>
                    <a:pt x="254" y="408"/>
                  </a:cubicBezTo>
                  <a:cubicBezTo>
                    <a:pt x="254" y="423"/>
                    <a:pt x="254" y="438"/>
                    <a:pt x="254" y="453"/>
                  </a:cubicBezTo>
                  <a:cubicBezTo>
                    <a:pt x="254" y="470"/>
                    <a:pt x="263" y="479"/>
                    <a:pt x="281" y="480"/>
                  </a:cubicBezTo>
                  <a:cubicBezTo>
                    <a:pt x="290" y="480"/>
                    <a:pt x="300" y="480"/>
                    <a:pt x="309" y="480"/>
                  </a:cubicBezTo>
                  <a:cubicBezTo>
                    <a:pt x="331" y="480"/>
                    <a:pt x="340" y="471"/>
                    <a:pt x="340" y="449"/>
                  </a:cubicBezTo>
                  <a:cubicBezTo>
                    <a:pt x="340" y="434"/>
                    <a:pt x="340" y="419"/>
                    <a:pt x="340" y="403"/>
                  </a:cubicBezTo>
                  <a:cubicBezTo>
                    <a:pt x="358" y="403"/>
                    <a:pt x="374" y="403"/>
                    <a:pt x="390" y="403"/>
                  </a:cubicBezTo>
                  <a:cubicBezTo>
                    <a:pt x="407" y="402"/>
                    <a:pt x="416" y="393"/>
                    <a:pt x="417" y="376"/>
                  </a:cubicBezTo>
                  <a:cubicBezTo>
                    <a:pt x="417" y="367"/>
                    <a:pt x="417" y="357"/>
                    <a:pt x="417" y="348"/>
                  </a:cubicBezTo>
                  <a:cubicBezTo>
                    <a:pt x="417" y="326"/>
                    <a:pt x="408" y="317"/>
                    <a:pt x="387" y="317"/>
                  </a:cubicBezTo>
                  <a:cubicBezTo>
                    <a:pt x="371" y="317"/>
                    <a:pt x="356" y="317"/>
                    <a:pt x="340" y="317"/>
                  </a:cubicBezTo>
                  <a:cubicBezTo>
                    <a:pt x="340" y="299"/>
                    <a:pt x="340" y="283"/>
                    <a:pt x="340" y="267"/>
                  </a:cubicBezTo>
                  <a:cubicBezTo>
                    <a:pt x="339" y="250"/>
                    <a:pt x="330" y="241"/>
                    <a:pt x="313" y="240"/>
                  </a:cubicBezTo>
                  <a:cubicBezTo>
                    <a:pt x="303" y="240"/>
                    <a:pt x="293" y="240"/>
                    <a:pt x="282" y="240"/>
                  </a:cubicBezTo>
                  <a:cubicBezTo>
                    <a:pt x="263" y="241"/>
                    <a:pt x="254" y="250"/>
                    <a:pt x="254" y="269"/>
                  </a:cubicBezTo>
                  <a:cubicBezTo>
                    <a:pt x="254" y="285"/>
                    <a:pt x="254" y="300"/>
                    <a:pt x="254" y="317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45" name="Group 444">
              <a:extLst>
                <a:ext uri="{FF2B5EF4-FFF2-40B4-BE49-F238E27FC236}">
                  <a16:creationId xmlns:a16="http://schemas.microsoft.com/office/drawing/2014/main" id="{113E0303-C412-F378-F306-EE802708737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62582" y="3823615"/>
              <a:ext cx="211911" cy="241593"/>
              <a:chOff x="6757988" y="1189038"/>
              <a:chExt cx="974725" cy="1111250"/>
            </a:xfrm>
            <a:solidFill>
              <a:sysClr val="window" lastClr="FFFFFF"/>
            </a:solidFill>
          </p:grpSpPr>
          <p:sp>
            <p:nvSpPr>
              <p:cNvPr id="507" name="Freeform 5">
                <a:extLst>
                  <a:ext uri="{FF2B5EF4-FFF2-40B4-BE49-F238E27FC236}">
                    <a16:creationId xmlns:a16="http://schemas.microsoft.com/office/drawing/2014/main" id="{83DAB4D2-C875-4638-84D8-84257A2E5A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4513" y="1949450"/>
                <a:ext cx="703262" cy="195262"/>
              </a:xfrm>
              <a:custGeom>
                <a:avLst/>
                <a:gdLst>
                  <a:gd name="T0" fmla="*/ 87 w 1032"/>
                  <a:gd name="T1" fmla="*/ 114 h 286"/>
                  <a:gd name="T2" fmla="*/ 201 w 1032"/>
                  <a:gd name="T3" fmla="*/ 114 h 286"/>
                  <a:gd name="T4" fmla="*/ 201 w 1032"/>
                  <a:gd name="T5" fmla="*/ 171 h 286"/>
                  <a:gd name="T6" fmla="*/ 87 w 1032"/>
                  <a:gd name="T7" fmla="*/ 171 h 286"/>
                  <a:gd name="T8" fmla="*/ 87 w 1032"/>
                  <a:gd name="T9" fmla="*/ 114 h 286"/>
                  <a:gd name="T10" fmla="*/ 43 w 1032"/>
                  <a:gd name="T11" fmla="*/ 0 h 286"/>
                  <a:gd name="T12" fmla="*/ 989 w 1032"/>
                  <a:gd name="T13" fmla="*/ 0 h 286"/>
                  <a:gd name="T14" fmla="*/ 1022 w 1032"/>
                  <a:gd name="T15" fmla="*/ 18 h 286"/>
                  <a:gd name="T16" fmla="*/ 1032 w 1032"/>
                  <a:gd name="T17" fmla="*/ 49 h 286"/>
                  <a:gd name="T18" fmla="*/ 1032 w 1032"/>
                  <a:gd name="T19" fmla="*/ 237 h 286"/>
                  <a:gd name="T20" fmla="*/ 1022 w 1032"/>
                  <a:gd name="T21" fmla="*/ 268 h 286"/>
                  <a:gd name="T22" fmla="*/ 989 w 1032"/>
                  <a:gd name="T23" fmla="*/ 286 h 286"/>
                  <a:gd name="T24" fmla="*/ 43 w 1032"/>
                  <a:gd name="T25" fmla="*/ 286 h 286"/>
                  <a:gd name="T26" fmla="*/ 10 w 1032"/>
                  <a:gd name="T27" fmla="*/ 268 h 286"/>
                  <a:gd name="T28" fmla="*/ 0 w 1032"/>
                  <a:gd name="T29" fmla="*/ 237 h 286"/>
                  <a:gd name="T30" fmla="*/ 0 w 1032"/>
                  <a:gd name="T31" fmla="*/ 49 h 286"/>
                  <a:gd name="T32" fmla="*/ 10 w 1032"/>
                  <a:gd name="T33" fmla="*/ 18 h 286"/>
                  <a:gd name="T34" fmla="*/ 43 w 1032"/>
                  <a:gd name="T35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2" h="286">
                    <a:moveTo>
                      <a:pt x="87" y="114"/>
                    </a:moveTo>
                    <a:cubicBezTo>
                      <a:pt x="201" y="114"/>
                      <a:pt x="201" y="114"/>
                      <a:pt x="201" y="114"/>
                    </a:cubicBezTo>
                    <a:cubicBezTo>
                      <a:pt x="201" y="171"/>
                      <a:pt x="201" y="171"/>
                      <a:pt x="201" y="171"/>
                    </a:cubicBezTo>
                    <a:cubicBezTo>
                      <a:pt x="87" y="171"/>
                      <a:pt x="87" y="171"/>
                      <a:pt x="87" y="171"/>
                    </a:cubicBezTo>
                    <a:lnTo>
                      <a:pt x="87" y="114"/>
                    </a:lnTo>
                    <a:close/>
                    <a:moveTo>
                      <a:pt x="43" y="0"/>
                    </a:moveTo>
                    <a:cubicBezTo>
                      <a:pt x="989" y="0"/>
                      <a:pt x="989" y="0"/>
                      <a:pt x="989" y="0"/>
                    </a:cubicBezTo>
                    <a:cubicBezTo>
                      <a:pt x="1003" y="0"/>
                      <a:pt x="1014" y="7"/>
                      <a:pt x="1022" y="18"/>
                    </a:cubicBezTo>
                    <a:cubicBezTo>
                      <a:pt x="1028" y="26"/>
                      <a:pt x="1032" y="37"/>
                      <a:pt x="1032" y="49"/>
                    </a:cubicBezTo>
                    <a:cubicBezTo>
                      <a:pt x="1032" y="237"/>
                      <a:pt x="1032" y="237"/>
                      <a:pt x="1032" y="237"/>
                    </a:cubicBezTo>
                    <a:cubicBezTo>
                      <a:pt x="1032" y="248"/>
                      <a:pt x="1028" y="259"/>
                      <a:pt x="1022" y="268"/>
                    </a:cubicBezTo>
                    <a:cubicBezTo>
                      <a:pt x="1014" y="279"/>
                      <a:pt x="1003" y="286"/>
                      <a:pt x="989" y="286"/>
                    </a:cubicBezTo>
                    <a:cubicBezTo>
                      <a:pt x="43" y="286"/>
                      <a:pt x="43" y="286"/>
                      <a:pt x="43" y="286"/>
                    </a:cubicBezTo>
                    <a:cubicBezTo>
                      <a:pt x="29" y="286"/>
                      <a:pt x="18" y="279"/>
                      <a:pt x="10" y="268"/>
                    </a:cubicBezTo>
                    <a:cubicBezTo>
                      <a:pt x="4" y="259"/>
                      <a:pt x="0" y="248"/>
                      <a:pt x="0" y="237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7"/>
                      <a:pt x="4" y="26"/>
                      <a:pt x="10" y="18"/>
                    </a:cubicBezTo>
                    <a:cubicBezTo>
                      <a:pt x="18" y="7"/>
                      <a:pt x="29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8" name="Freeform 6">
                <a:extLst>
                  <a:ext uri="{FF2B5EF4-FFF2-40B4-BE49-F238E27FC236}">
                    <a16:creationId xmlns:a16="http://schemas.microsoft.com/office/drawing/2014/main" id="{8BA12270-4109-A051-5AEA-BAFC520DFA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4513" y="1735138"/>
                <a:ext cx="703262" cy="193675"/>
              </a:xfrm>
              <a:custGeom>
                <a:avLst/>
                <a:gdLst>
                  <a:gd name="T0" fmla="*/ 87 w 1032"/>
                  <a:gd name="T1" fmla="*/ 114 h 286"/>
                  <a:gd name="T2" fmla="*/ 201 w 1032"/>
                  <a:gd name="T3" fmla="*/ 114 h 286"/>
                  <a:gd name="T4" fmla="*/ 201 w 1032"/>
                  <a:gd name="T5" fmla="*/ 171 h 286"/>
                  <a:gd name="T6" fmla="*/ 87 w 1032"/>
                  <a:gd name="T7" fmla="*/ 171 h 286"/>
                  <a:gd name="T8" fmla="*/ 87 w 1032"/>
                  <a:gd name="T9" fmla="*/ 114 h 286"/>
                  <a:gd name="T10" fmla="*/ 43 w 1032"/>
                  <a:gd name="T11" fmla="*/ 0 h 286"/>
                  <a:gd name="T12" fmla="*/ 989 w 1032"/>
                  <a:gd name="T13" fmla="*/ 0 h 286"/>
                  <a:gd name="T14" fmla="*/ 1022 w 1032"/>
                  <a:gd name="T15" fmla="*/ 18 h 286"/>
                  <a:gd name="T16" fmla="*/ 1032 w 1032"/>
                  <a:gd name="T17" fmla="*/ 49 h 286"/>
                  <a:gd name="T18" fmla="*/ 1032 w 1032"/>
                  <a:gd name="T19" fmla="*/ 237 h 286"/>
                  <a:gd name="T20" fmla="*/ 1022 w 1032"/>
                  <a:gd name="T21" fmla="*/ 268 h 286"/>
                  <a:gd name="T22" fmla="*/ 989 w 1032"/>
                  <a:gd name="T23" fmla="*/ 286 h 286"/>
                  <a:gd name="T24" fmla="*/ 43 w 1032"/>
                  <a:gd name="T25" fmla="*/ 286 h 286"/>
                  <a:gd name="T26" fmla="*/ 10 w 1032"/>
                  <a:gd name="T27" fmla="*/ 268 h 286"/>
                  <a:gd name="T28" fmla="*/ 0 w 1032"/>
                  <a:gd name="T29" fmla="*/ 237 h 286"/>
                  <a:gd name="T30" fmla="*/ 0 w 1032"/>
                  <a:gd name="T31" fmla="*/ 49 h 286"/>
                  <a:gd name="T32" fmla="*/ 10 w 1032"/>
                  <a:gd name="T33" fmla="*/ 18 h 286"/>
                  <a:gd name="T34" fmla="*/ 43 w 1032"/>
                  <a:gd name="T35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2" h="286">
                    <a:moveTo>
                      <a:pt x="87" y="114"/>
                    </a:moveTo>
                    <a:cubicBezTo>
                      <a:pt x="201" y="114"/>
                      <a:pt x="201" y="114"/>
                      <a:pt x="201" y="114"/>
                    </a:cubicBezTo>
                    <a:cubicBezTo>
                      <a:pt x="201" y="171"/>
                      <a:pt x="201" y="171"/>
                      <a:pt x="201" y="171"/>
                    </a:cubicBezTo>
                    <a:cubicBezTo>
                      <a:pt x="87" y="171"/>
                      <a:pt x="87" y="171"/>
                      <a:pt x="87" y="171"/>
                    </a:cubicBezTo>
                    <a:lnTo>
                      <a:pt x="87" y="114"/>
                    </a:lnTo>
                    <a:close/>
                    <a:moveTo>
                      <a:pt x="43" y="0"/>
                    </a:moveTo>
                    <a:cubicBezTo>
                      <a:pt x="989" y="0"/>
                      <a:pt x="989" y="0"/>
                      <a:pt x="989" y="0"/>
                    </a:cubicBezTo>
                    <a:cubicBezTo>
                      <a:pt x="1003" y="0"/>
                      <a:pt x="1014" y="7"/>
                      <a:pt x="1022" y="18"/>
                    </a:cubicBezTo>
                    <a:cubicBezTo>
                      <a:pt x="1028" y="26"/>
                      <a:pt x="1032" y="37"/>
                      <a:pt x="1032" y="49"/>
                    </a:cubicBezTo>
                    <a:cubicBezTo>
                      <a:pt x="1032" y="237"/>
                      <a:pt x="1032" y="237"/>
                      <a:pt x="1032" y="237"/>
                    </a:cubicBezTo>
                    <a:cubicBezTo>
                      <a:pt x="1032" y="248"/>
                      <a:pt x="1028" y="259"/>
                      <a:pt x="1022" y="268"/>
                    </a:cubicBezTo>
                    <a:cubicBezTo>
                      <a:pt x="1014" y="279"/>
                      <a:pt x="1003" y="286"/>
                      <a:pt x="989" y="286"/>
                    </a:cubicBezTo>
                    <a:cubicBezTo>
                      <a:pt x="43" y="286"/>
                      <a:pt x="43" y="286"/>
                      <a:pt x="43" y="286"/>
                    </a:cubicBezTo>
                    <a:cubicBezTo>
                      <a:pt x="29" y="286"/>
                      <a:pt x="18" y="279"/>
                      <a:pt x="10" y="268"/>
                    </a:cubicBezTo>
                    <a:cubicBezTo>
                      <a:pt x="4" y="259"/>
                      <a:pt x="0" y="248"/>
                      <a:pt x="0" y="237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7"/>
                      <a:pt x="4" y="26"/>
                      <a:pt x="10" y="18"/>
                    </a:cubicBezTo>
                    <a:cubicBezTo>
                      <a:pt x="18" y="7"/>
                      <a:pt x="29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9" name="Freeform 7">
                <a:extLst>
                  <a:ext uri="{FF2B5EF4-FFF2-40B4-BE49-F238E27FC236}">
                    <a16:creationId xmlns:a16="http://schemas.microsoft.com/office/drawing/2014/main" id="{B248FA9E-C138-64F0-28C7-80FC780869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4513" y="1520825"/>
                <a:ext cx="703262" cy="193675"/>
              </a:xfrm>
              <a:custGeom>
                <a:avLst/>
                <a:gdLst>
                  <a:gd name="T0" fmla="*/ 87 w 1032"/>
                  <a:gd name="T1" fmla="*/ 114 h 286"/>
                  <a:gd name="T2" fmla="*/ 201 w 1032"/>
                  <a:gd name="T3" fmla="*/ 114 h 286"/>
                  <a:gd name="T4" fmla="*/ 201 w 1032"/>
                  <a:gd name="T5" fmla="*/ 172 h 286"/>
                  <a:gd name="T6" fmla="*/ 87 w 1032"/>
                  <a:gd name="T7" fmla="*/ 172 h 286"/>
                  <a:gd name="T8" fmla="*/ 87 w 1032"/>
                  <a:gd name="T9" fmla="*/ 114 h 286"/>
                  <a:gd name="T10" fmla="*/ 43 w 1032"/>
                  <a:gd name="T11" fmla="*/ 0 h 286"/>
                  <a:gd name="T12" fmla="*/ 989 w 1032"/>
                  <a:gd name="T13" fmla="*/ 0 h 286"/>
                  <a:gd name="T14" fmla="*/ 1022 w 1032"/>
                  <a:gd name="T15" fmla="*/ 18 h 286"/>
                  <a:gd name="T16" fmla="*/ 1032 w 1032"/>
                  <a:gd name="T17" fmla="*/ 49 h 286"/>
                  <a:gd name="T18" fmla="*/ 1032 w 1032"/>
                  <a:gd name="T19" fmla="*/ 237 h 286"/>
                  <a:gd name="T20" fmla="*/ 1022 w 1032"/>
                  <a:gd name="T21" fmla="*/ 268 h 286"/>
                  <a:gd name="T22" fmla="*/ 989 w 1032"/>
                  <a:gd name="T23" fmla="*/ 286 h 286"/>
                  <a:gd name="T24" fmla="*/ 43 w 1032"/>
                  <a:gd name="T25" fmla="*/ 286 h 286"/>
                  <a:gd name="T26" fmla="*/ 10 w 1032"/>
                  <a:gd name="T27" fmla="*/ 268 h 286"/>
                  <a:gd name="T28" fmla="*/ 0 w 1032"/>
                  <a:gd name="T29" fmla="*/ 237 h 286"/>
                  <a:gd name="T30" fmla="*/ 0 w 1032"/>
                  <a:gd name="T31" fmla="*/ 49 h 286"/>
                  <a:gd name="T32" fmla="*/ 10 w 1032"/>
                  <a:gd name="T33" fmla="*/ 18 h 286"/>
                  <a:gd name="T34" fmla="*/ 43 w 1032"/>
                  <a:gd name="T35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2" h="286">
                    <a:moveTo>
                      <a:pt x="87" y="114"/>
                    </a:moveTo>
                    <a:cubicBezTo>
                      <a:pt x="201" y="114"/>
                      <a:pt x="201" y="114"/>
                      <a:pt x="201" y="114"/>
                    </a:cubicBezTo>
                    <a:cubicBezTo>
                      <a:pt x="201" y="172"/>
                      <a:pt x="201" y="172"/>
                      <a:pt x="201" y="172"/>
                    </a:cubicBezTo>
                    <a:cubicBezTo>
                      <a:pt x="87" y="172"/>
                      <a:pt x="87" y="172"/>
                      <a:pt x="87" y="172"/>
                    </a:cubicBezTo>
                    <a:lnTo>
                      <a:pt x="87" y="114"/>
                    </a:lnTo>
                    <a:close/>
                    <a:moveTo>
                      <a:pt x="43" y="0"/>
                    </a:moveTo>
                    <a:cubicBezTo>
                      <a:pt x="989" y="0"/>
                      <a:pt x="989" y="0"/>
                      <a:pt x="989" y="0"/>
                    </a:cubicBezTo>
                    <a:cubicBezTo>
                      <a:pt x="1003" y="0"/>
                      <a:pt x="1014" y="7"/>
                      <a:pt x="1022" y="18"/>
                    </a:cubicBezTo>
                    <a:cubicBezTo>
                      <a:pt x="1028" y="26"/>
                      <a:pt x="1032" y="37"/>
                      <a:pt x="1032" y="49"/>
                    </a:cubicBezTo>
                    <a:cubicBezTo>
                      <a:pt x="1032" y="237"/>
                      <a:pt x="1032" y="237"/>
                      <a:pt x="1032" y="237"/>
                    </a:cubicBezTo>
                    <a:cubicBezTo>
                      <a:pt x="1032" y="248"/>
                      <a:pt x="1028" y="259"/>
                      <a:pt x="1022" y="268"/>
                    </a:cubicBezTo>
                    <a:cubicBezTo>
                      <a:pt x="1014" y="279"/>
                      <a:pt x="1003" y="286"/>
                      <a:pt x="989" y="286"/>
                    </a:cubicBezTo>
                    <a:cubicBezTo>
                      <a:pt x="43" y="286"/>
                      <a:pt x="43" y="286"/>
                      <a:pt x="43" y="286"/>
                    </a:cubicBezTo>
                    <a:cubicBezTo>
                      <a:pt x="29" y="286"/>
                      <a:pt x="18" y="279"/>
                      <a:pt x="10" y="268"/>
                    </a:cubicBezTo>
                    <a:cubicBezTo>
                      <a:pt x="4" y="259"/>
                      <a:pt x="0" y="248"/>
                      <a:pt x="0" y="237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7"/>
                      <a:pt x="4" y="26"/>
                      <a:pt x="10" y="18"/>
                    </a:cubicBezTo>
                    <a:cubicBezTo>
                      <a:pt x="18" y="7"/>
                      <a:pt x="29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0" name="Freeform 8">
                <a:extLst>
                  <a:ext uri="{FF2B5EF4-FFF2-40B4-BE49-F238E27FC236}">
                    <a16:creationId xmlns:a16="http://schemas.microsoft.com/office/drawing/2014/main" id="{BD143887-5B58-B157-B683-629E75D63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2300" y="2163763"/>
                <a:ext cx="546100" cy="136525"/>
              </a:xfrm>
              <a:custGeom>
                <a:avLst/>
                <a:gdLst>
                  <a:gd name="T0" fmla="*/ 185 w 344"/>
                  <a:gd name="T1" fmla="*/ 0 h 86"/>
                  <a:gd name="T2" fmla="*/ 185 w 344"/>
                  <a:gd name="T3" fmla="*/ 61 h 86"/>
                  <a:gd name="T4" fmla="*/ 344 w 344"/>
                  <a:gd name="T5" fmla="*/ 61 h 86"/>
                  <a:gd name="T6" fmla="*/ 344 w 344"/>
                  <a:gd name="T7" fmla="*/ 86 h 86"/>
                  <a:gd name="T8" fmla="*/ 0 w 344"/>
                  <a:gd name="T9" fmla="*/ 86 h 86"/>
                  <a:gd name="T10" fmla="*/ 0 w 344"/>
                  <a:gd name="T11" fmla="*/ 61 h 86"/>
                  <a:gd name="T12" fmla="*/ 160 w 344"/>
                  <a:gd name="T13" fmla="*/ 61 h 86"/>
                  <a:gd name="T14" fmla="*/ 160 w 344"/>
                  <a:gd name="T15" fmla="*/ 0 h 86"/>
                  <a:gd name="T16" fmla="*/ 185 w 344"/>
                  <a:gd name="T17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4" h="86">
                    <a:moveTo>
                      <a:pt x="185" y="0"/>
                    </a:moveTo>
                    <a:lnTo>
                      <a:pt x="185" y="61"/>
                    </a:lnTo>
                    <a:lnTo>
                      <a:pt x="344" y="61"/>
                    </a:lnTo>
                    <a:lnTo>
                      <a:pt x="344" y="86"/>
                    </a:lnTo>
                    <a:lnTo>
                      <a:pt x="0" y="86"/>
                    </a:lnTo>
                    <a:lnTo>
                      <a:pt x="0" y="61"/>
                    </a:lnTo>
                    <a:lnTo>
                      <a:pt x="160" y="61"/>
                    </a:lnTo>
                    <a:lnTo>
                      <a:pt x="160" y="0"/>
                    </a:lnTo>
                    <a:lnTo>
                      <a:pt x="18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1" name="Freeform 9">
                <a:extLst>
                  <a:ext uri="{FF2B5EF4-FFF2-40B4-BE49-F238E27FC236}">
                    <a16:creationId xmlns:a16="http://schemas.microsoft.com/office/drawing/2014/main" id="{4A971A79-A9C1-8C24-A4A1-3A0A9E034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7988" y="1189038"/>
                <a:ext cx="974725" cy="606425"/>
              </a:xfrm>
              <a:custGeom>
                <a:avLst/>
                <a:gdLst>
                  <a:gd name="T0" fmla="*/ 1258 w 1432"/>
                  <a:gd name="T1" fmla="*/ 830 h 892"/>
                  <a:gd name="T2" fmla="*/ 1307 w 1432"/>
                  <a:gd name="T3" fmla="*/ 792 h 892"/>
                  <a:gd name="T4" fmla="*/ 1375 w 1432"/>
                  <a:gd name="T5" fmla="*/ 630 h 892"/>
                  <a:gd name="T6" fmla="*/ 1332 w 1432"/>
                  <a:gd name="T7" fmla="*/ 498 h 892"/>
                  <a:gd name="T8" fmla="*/ 1220 w 1432"/>
                  <a:gd name="T9" fmla="*/ 414 h 892"/>
                  <a:gd name="T10" fmla="*/ 1201 w 1432"/>
                  <a:gd name="T11" fmla="*/ 408 h 892"/>
                  <a:gd name="T12" fmla="*/ 1201 w 1432"/>
                  <a:gd name="T13" fmla="*/ 387 h 892"/>
                  <a:gd name="T14" fmla="*/ 1202 w 1432"/>
                  <a:gd name="T15" fmla="*/ 376 h 892"/>
                  <a:gd name="T16" fmla="*/ 1203 w 1432"/>
                  <a:gd name="T17" fmla="*/ 372 h 892"/>
                  <a:gd name="T18" fmla="*/ 1110 w 1432"/>
                  <a:gd name="T19" fmla="*/ 150 h 892"/>
                  <a:gd name="T20" fmla="*/ 888 w 1432"/>
                  <a:gd name="T21" fmla="*/ 57 h 892"/>
                  <a:gd name="T22" fmla="*/ 730 w 1432"/>
                  <a:gd name="T23" fmla="*/ 100 h 892"/>
                  <a:gd name="T24" fmla="*/ 614 w 1432"/>
                  <a:gd name="T25" fmla="*/ 219 h 892"/>
                  <a:gd name="T26" fmla="*/ 604 w 1432"/>
                  <a:gd name="T27" fmla="*/ 237 h 892"/>
                  <a:gd name="T28" fmla="*/ 584 w 1432"/>
                  <a:gd name="T29" fmla="*/ 233 h 892"/>
                  <a:gd name="T30" fmla="*/ 564 w 1432"/>
                  <a:gd name="T31" fmla="*/ 230 h 892"/>
                  <a:gd name="T32" fmla="*/ 544 w 1432"/>
                  <a:gd name="T33" fmla="*/ 229 h 892"/>
                  <a:gd name="T34" fmla="*/ 413 w 1432"/>
                  <a:gd name="T35" fmla="*/ 271 h 892"/>
                  <a:gd name="T36" fmla="*/ 329 w 1432"/>
                  <a:gd name="T37" fmla="*/ 383 h 892"/>
                  <a:gd name="T38" fmla="*/ 322 w 1432"/>
                  <a:gd name="T39" fmla="*/ 404 h 892"/>
                  <a:gd name="T40" fmla="*/ 300 w 1432"/>
                  <a:gd name="T41" fmla="*/ 402 h 892"/>
                  <a:gd name="T42" fmla="*/ 292 w 1432"/>
                  <a:gd name="T43" fmla="*/ 401 h 892"/>
                  <a:gd name="T44" fmla="*/ 287 w 1432"/>
                  <a:gd name="T45" fmla="*/ 401 h 892"/>
                  <a:gd name="T46" fmla="*/ 125 w 1432"/>
                  <a:gd name="T47" fmla="*/ 468 h 892"/>
                  <a:gd name="T48" fmla="*/ 57 w 1432"/>
                  <a:gd name="T49" fmla="*/ 630 h 892"/>
                  <a:gd name="T50" fmla="*/ 125 w 1432"/>
                  <a:gd name="T51" fmla="*/ 792 h 892"/>
                  <a:gd name="T52" fmla="*/ 174 w 1432"/>
                  <a:gd name="T53" fmla="*/ 830 h 892"/>
                  <a:gd name="T54" fmla="*/ 171 w 1432"/>
                  <a:gd name="T55" fmla="*/ 851 h 892"/>
                  <a:gd name="T56" fmla="*/ 171 w 1432"/>
                  <a:gd name="T57" fmla="*/ 892 h 892"/>
                  <a:gd name="T58" fmla="*/ 84 w 1432"/>
                  <a:gd name="T59" fmla="*/ 832 h 892"/>
                  <a:gd name="T60" fmla="*/ 0 w 1432"/>
                  <a:gd name="T61" fmla="*/ 630 h 892"/>
                  <a:gd name="T62" fmla="*/ 84 w 1432"/>
                  <a:gd name="T63" fmla="*/ 427 h 892"/>
                  <a:gd name="T64" fmla="*/ 283 w 1432"/>
                  <a:gd name="T65" fmla="*/ 344 h 892"/>
                  <a:gd name="T66" fmla="*/ 379 w 1432"/>
                  <a:gd name="T67" fmla="*/ 225 h 892"/>
                  <a:gd name="T68" fmla="*/ 544 w 1432"/>
                  <a:gd name="T69" fmla="*/ 172 h 892"/>
                  <a:gd name="T70" fmla="*/ 570 w 1432"/>
                  <a:gd name="T71" fmla="*/ 173 h 892"/>
                  <a:gd name="T72" fmla="*/ 575 w 1432"/>
                  <a:gd name="T73" fmla="*/ 174 h 892"/>
                  <a:gd name="T74" fmla="*/ 701 w 1432"/>
                  <a:gd name="T75" fmla="*/ 51 h 892"/>
                  <a:gd name="T76" fmla="*/ 888 w 1432"/>
                  <a:gd name="T77" fmla="*/ 0 h 892"/>
                  <a:gd name="T78" fmla="*/ 1151 w 1432"/>
                  <a:gd name="T79" fmla="*/ 109 h 892"/>
                  <a:gd name="T80" fmla="*/ 1260 w 1432"/>
                  <a:gd name="T81" fmla="*/ 369 h 892"/>
                  <a:gd name="T82" fmla="*/ 1379 w 1432"/>
                  <a:gd name="T83" fmla="*/ 465 h 892"/>
                  <a:gd name="T84" fmla="*/ 1432 w 1432"/>
                  <a:gd name="T85" fmla="*/ 630 h 892"/>
                  <a:gd name="T86" fmla="*/ 1348 w 1432"/>
                  <a:gd name="T87" fmla="*/ 832 h 892"/>
                  <a:gd name="T88" fmla="*/ 1261 w 1432"/>
                  <a:gd name="T89" fmla="*/ 892 h 892"/>
                  <a:gd name="T90" fmla="*/ 1261 w 1432"/>
                  <a:gd name="T91" fmla="*/ 851 h 892"/>
                  <a:gd name="T92" fmla="*/ 1258 w 1432"/>
                  <a:gd name="T93" fmla="*/ 830 h 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32" h="892">
                    <a:moveTo>
                      <a:pt x="1258" y="830"/>
                    </a:moveTo>
                    <a:cubicBezTo>
                      <a:pt x="1276" y="819"/>
                      <a:pt x="1293" y="807"/>
                      <a:pt x="1307" y="792"/>
                    </a:cubicBezTo>
                    <a:cubicBezTo>
                      <a:pt x="1349" y="750"/>
                      <a:pt x="1375" y="693"/>
                      <a:pt x="1375" y="630"/>
                    </a:cubicBezTo>
                    <a:cubicBezTo>
                      <a:pt x="1375" y="581"/>
                      <a:pt x="1359" y="535"/>
                      <a:pt x="1332" y="498"/>
                    </a:cubicBezTo>
                    <a:cubicBezTo>
                      <a:pt x="1305" y="460"/>
                      <a:pt x="1266" y="430"/>
                      <a:pt x="1220" y="414"/>
                    </a:cubicBezTo>
                    <a:cubicBezTo>
                      <a:pt x="1201" y="408"/>
                      <a:pt x="1201" y="408"/>
                      <a:pt x="1201" y="408"/>
                    </a:cubicBezTo>
                    <a:cubicBezTo>
                      <a:pt x="1201" y="387"/>
                      <a:pt x="1201" y="387"/>
                      <a:pt x="1201" y="387"/>
                    </a:cubicBezTo>
                    <a:cubicBezTo>
                      <a:pt x="1201" y="382"/>
                      <a:pt x="1202" y="379"/>
                      <a:pt x="1202" y="376"/>
                    </a:cubicBezTo>
                    <a:cubicBezTo>
                      <a:pt x="1203" y="375"/>
                      <a:pt x="1203" y="373"/>
                      <a:pt x="1203" y="372"/>
                    </a:cubicBezTo>
                    <a:cubicBezTo>
                      <a:pt x="1203" y="285"/>
                      <a:pt x="1167" y="207"/>
                      <a:pt x="1110" y="150"/>
                    </a:cubicBezTo>
                    <a:cubicBezTo>
                      <a:pt x="1053" y="93"/>
                      <a:pt x="975" y="57"/>
                      <a:pt x="888" y="57"/>
                    </a:cubicBezTo>
                    <a:cubicBezTo>
                      <a:pt x="830" y="57"/>
                      <a:pt x="776" y="73"/>
                      <a:pt x="730" y="100"/>
                    </a:cubicBezTo>
                    <a:cubicBezTo>
                      <a:pt x="682" y="129"/>
                      <a:pt x="642" y="170"/>
                      <a:pt x="614" y="219"/>
                    </a:cubicBezTo>
                    <a:cubicBezTo>
                      <a:pt x="604" y="237"/>
                      <a:pt x="604" y="237"/>
                      <a:pt x="604" y="237"/>
                    </a:cubicBezTo>
                    <a:cubicBezTo>
                      <a:pt x="584" y="233"/>
                      <a:pt x="584" y="233"/>
                      <a:pt x="584" y="233"/>
                    </a:cubicBezTo>
                    <a:cubicBezTo>
                      <a:pt x="577" y="232"/>
                      <a:pt x="570" y="231"/>
                      <a:pt x="564" y="230"/>
                    </a:cubicBezTo>
                    <a:cubicBezTo>
                      <a:pt x="558" y="229"/>
                      <a:pt x="551" y="229"/>
                      <a:pt x="544" y="229"/>
                    </a:cubicBezTo>
                    <a:cubicBezTo>
                      <a:pt x="495" y="229"/>
                      <a:pt x="450" y="245"/>
                      <a:pt x="413" y="271"/>
                    </a:cubicBezTo>
                    <a:cubicBezTo>
                      <a:pt x="374" y="299"/>
                      <a:pt x="345" y="338"/>
                      <a:pt x="329" y="383"/>
                    </a:cubicBezTo>
                    <a:cubicBezTo>
                      <a:pt x="322" y="404"/>
                      <a:pt x="322" y="404"/>
                      <a:pt x="322" y="404"/>
                    </a:cubicBezTo>
                    <a:cubicBezTo>
                      <a:pt x="300" y="402"/>
                      <a:pt x="300" y="402"/>
                      <a:pt x="300" y="402"/>
                    </a:cubicBezTo>
                    <a:cubicBezTo>
                      <a:pt x="297" y="402"/>
                      <a:pt x="295" y="402"/>
                      <a:pt x="292" y="401"/>
                    </a:cubicBezTo>
                    <a:cubicBezTo>
                      <a:pt x="290" y="401"/>
                      <a:pt x="288" y="401"/>
                      <a:pt x="287" y="401"/>
                    </a:cubicBezTo>
                    <a:cubicBezTo>
                      <a:pt x="223" y="401"/>
                      <a:pt x="166" y="426"/>
                      <a:pt x="125" y="468"/>
                    </a:cubicBezTo>
                    <a:cubicBezTo>
                      <a:pt x="83" y="509"/>
                      <a:pt x="57" y="567"/>
                      <a:pt x="57" y="630"/>
                    </a:cubicBezTo>
                    <a:cubicBezTo>
                      <a:pt x="57" y="693"/>
                      <a:pt x="83" y="750"/>
                      <a:pt x="125" y="792"/>
                    </a:cubicBezTo>
                    <a:cubicBezTo>
                      <a:pt x="139" y="807"/>
                      <a:pt x="156" y="819"/>
                      <a:pt x="174" y="830"/>
                    </a:cubicBezTo>
                    <a:cubicBezTo>
                      <a:pt x="172" y="837"/>
                      <a:pt x="171" y="844"/>
                      <a:pt x="171" y="851"/>
                    </a:cubicBezTo>
                    <a:cubicBezTo>
                      <a:pt x="171" y="892"/>
                      <a:pt x="171" y="892"/>
                      <a:pt x="171" y="892"/>
                    </a:cubicBezTo>
                    <a:cubicBezTo>
                      <a:pt x="139" y="878"/>
                      <a:pt x="109" y="857"/>
                      <a:pt x="84" y="832"/>
                    </a:cubicBezTo>
                    <a:cubicBezTo>
                      <a:pt x="32" y="781"/>
                      <a:pt x="0" y="709"/>
                      <a:pt x="0" y="630"/>
                    </a:cubicBezTo>
                    <a:cubicBezTo>
                      <a:pt x="0" y="551"/>
                      <a:pt x="32" y="479"/>
                      <a:pt x="84" y="427"/>
                    </a:cubicBezTo>
                    <a:cubicBezTo>
                      <a:pt x="135" y="376"/>
                      <a:pt x="205" y="345"/>
                      <a:pt x="283" y="344"/>
                    </a:cubicBezTo>
                    <a:cubicBezTo>
                      <a:pt x="304" y="296"/>
                      <a:pt x="337" y="255"/>
                      <a:pt x="379" y="225"/>
                    </a:cubicBezTo>
                    <a:cubicBezTo>
                      <a:pt x="426" y="191"/>
                      <a:pt x="483" y="172"/>
                      <a:pt x="544" y="172"/>
                    </a:cubicBezTo>
                    <a:cubicBezTo>
                      <a:pt x="553" y="172"/>
                      <a:pt x="561" y="172"/>
                      <a:pt x="570" y="173"/>
                    </a:cubicBezTo>
                    <a:cubicBezTo>
                      <a:pt x="572" y="173"/>
                      <a:pt x="573" y="174"/>
                      <a:pt x="575" y="174"/>
                    </a:cubicBezTo>
                    <a:cubicBezTo>
                      <a:pt x="607" y="124"/>
                      <a:pt x="650" y="81"/>
                      <a:pt x="701" y="51"/>
                    </a:cubicBezTo>
                    <a:cubicBezTo>
                      <a:pt x="756" y="19"/>
                      <a:pt x="820" y="0"/>
                      <a:pt x="888" y="0"/>
                    </a:cubicBezTo>
                    <a:cubicBezTo>
                      <a:pt x="991" y="0"/>
                      <a:pt x="1084" y="42"/>
                      <a:pt x="1151" y="109"/>
                    </a:cubicBezTo>
                    <a:cubicBezTo>
                      <a:pt x="1218" y="176"/>
                      <a:pt x="1259" y="267"/>
                      <a:pt x="1260" y="369"/>
                    </a:cubicBezTo>
                    <a:cubicBezTo>
                      <a:pt x="1308" y="390"/>
                      <a:pt x="1349" y="423"/>
                      <a:pt x="1379" y="465"/>
                    </a:cubicBezTo>
                    <a:cubicBezTo>
                      <a:pt x="1412" y="512"/>
                      <a:pt x="1432" y="568"/>
                      <a:pt x="1432" y="630"/>
                    </a:cubicBezTo>
                    <a:cubicBezTo>
                      <a:pt x="1432" y="709"/>
                      <a:pt x="1400" y="781"/>
                      <a:pt x="1348" y="832"/>
                    </a:cubicBezTo>
                    <a:cubicBezTo>
                      <a:pt x="1323" y="857"/>
                      <a:pt x="1293" y="878"/>
                      <a:pt x="1261" y="892"/>
                    </a:cubicBezTo>
                    <a:cubicBezTo>
                      <a:pt x="1261" y="851"/>
                      <a:pt x="1261" y="851"/>
                      <a:pt x="1261" y="851"/>
                    </a:cubicBezTo>
                    <a:cubicBezTo>
                      <a:pt x="1261" y="844"/>
                      <a:pt x="1260" y="837"/>
                      <a:pt x="1258" y="8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46" name="Group 445">
              <a:extLst>
                <a:ext uri="{FF2B5EF4-FFF2-40B4-BE49-F238E27FC236}">
                  <a16:creationId xmlns:a16="http://schemas.microsoft.com/office/drawing/2014/main" id="{4DA7BF55-6659-AFEC-6BDA-F4A9169925D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52001" y="4166448"/>
              <a:ext cx="248057" cy="256179"/>
              <a:chOff x="2970213" y="2603501"/>
              <a:chExt cx="2424112" cy="2503488"/>
            </a:xfrm>
            <a:solidFill>
              <a:sysClr val="window" lastClr="FFFFFF"/>
            </a:solidFill>
          </p:grpSpPr>
          <p:sp>
            <p:nvSpPr>
              <p:cNvPr id="496" name="Freeform 11">
                <a:extLst>
                  <a:ext uri="{FF2B5EF4-FFF2-40B4-BE49-F238E27FC236}">
                    <a16:creationId xmlns:a16="http://schemas.microsoft.com/office/drawing/2014/main" id="{EC898183-AE67-C9FE-AA20-455220566B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5388" y="2603501"/>
                <a:ext cx="887413" cy="887413"/>
              </a:xfrm>
              <a:custGeom>
                <a:avLst/>
                <a:gdLst>
                  <a:gd name="T0" fmla="*/ 359 w 717"/>
                  <a:gd name="T1" fmla="*/ 672 h 717"/>
                  <a:gd name="T2" fmla="*/ 45 w 717"/>
                  <a:gd name="T3" fmla="*/ 359 h 717"/>
                  <a:gd name="T4" fmla="*/ 359 w 717"/>
                  <a:gd name="T5" fmla="*/ 45 h 717"/>
                  <a:gd name="T6" fmla="*/ 672 w 717"/>
                  <a:gd name="T7" fmla="*/ 359 h 717"/>
                  <a:gd name="T8" fmla="*/ 359 w 717"/>
                  <a:gd name="T9" fmla="*/ 672 h 717"/>
                  <a:gd name="T10" fmla="*/ 359 w 717"/>
                  <a:gd name="T11" fmla="*/ 0 h 717"/>
                  <a:gd name="T12" fmla="*/ 0 w 717"/>
                  <a:gd name="T13" fmla="*/ 359 h 717"/>
                  <a:gd name="T14" fmla="*/ 359 w 717"/>
                  <a:gd name="T15" fmla="*/ 717 h 717"/>
                  <a:gd name="T16" fmla="*/ 717 w 717"/>
                  <a:gd name="T17" fmla="*/ 359 h 717"/>
                  <a:gd name="T18" fmla="*/ 359 w 717"/>
                  <a:gd name="T19" fmla="*/ 0 h 7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7" h="717">
                    <a:moveTo>
                      <a:pt x="359" y="672"/>
                    </a:moveTo>
                    <a:cubicBezTo>
                      <a:pt x="186" y="672"/>
                      <a:pt x="45" y="532"/>
                      <a:pt x="45" y="359"/>
                    </a:cubicBezTo>
                    <a:cubicBezTo>
                      <a:pt x="45" y="186"/>
                      <a:pt x="186" y="45"/>
                      <a:pt x="359" y="45"/>
                    </a:cubicBezTo>
                    <a:cubicBezTo>
                      <a:pt x="532" y="45"/>
                      <a:pt x="672" y="186"/>
                      <a:pt x="672" y="359"/>
                    </a:cubicBezTo>
                    <a:cubicBezTo>
                      <a:pt x="672" y="532"/>
                      <a:pt x="532" y="672"/>
                      <a:pt x="359" y="672"/>
                    </a:cubicBezTo>
                    <a:close/>
                    <a:moveTo>
                      <a:pt x="359" y="0"/>
                    </a:moveTo>
                    <a:cubicBezTo>
                      <a:pt x="161" y="0"/>
                      <a:pt x="0" y="161"/>
                      <a:pt x="0" y="359"/>
                    </a:cubicBezTo>
                    <a:cubicBezTo>
                      <a:pt x="0" y="556"/>
                      <a:pt x="161" y="717"/>
                      <a:pt x="359" y="717"/>
                    </a:cubicBezTo>
                    <a:cubicBezTo>
                      <a:pt x="556" y="717"/>
                      <a:pt x="717" y="556"/>
                      <a:pt x="717" y="359"/>
                    </a:cubicBezTo>
                    <a:cubicBezTo>
                      <a:pt x="717" y="161"/>
                      <a:pt x="556" y="0"/>
                      <a:pt x="35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7" name="Freeform 12">
                <a:extLst>
                  <a:ext uri="{FF2B5EF4-FFF2-40B4-BE49-F238E27FC236}">
                    <a16:creationId xmlns:a16="http://schemas.microsoft.com/office/drawing/2014/main" id="{20BDB56D-71EF-78C5-4C8F-9F5EB84344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5400" y="2762251"/>
                <a:ext cx="628650" cy="625475"/>
              </a:xfrm>
              <a:custGeom>
                <a:avLst/>
                <a:gdLst>
                  <a:gd name="T0" fmla="*/ 48 w 508"/>
                  <a:gd name="T1" fmla="*/ 109 h 506"/>
                  <a:gd name="T2" fmla="*/ 64 w 508"/>
                  <a:gd name="T3" fmla="*/ 92 h 506"/>
                  <a:gd name="T4" fmla="*/ 104 w 508"/>
                  <a:gd name="T5" fmla="*/ 59 h 506"/>
                  <a:gd name="T6" fmla="*/ 132 w 508"/>
                  <a:gd name="T7" fmla="*/ 78 h 506"/>
                  <a:gd name="T8" fmla="*/ 136 w 508"/>
                  <a:gd name="T9" fmla="*/ 157 h 506"/>
                  <a:gd name="T10" fmla="*/ 131 w 508"/>
                  <a:gd name="T11" fmla="*/ 162 h 506"/>
                  <a:gd name="T12" fmla="*/ 198 w 508"/>
                  <a:gd name="T13" fmla="*/ 310 h 506"/>
                  <a:gd name="T14" fmla="*/ 317 w 508"/>
                  <a:gd name="T15" fmla="*/ 388 h 506"/>
                  <a:gd name="T16" fmla="*/ 346 w 508"/>
                  <a:gd name="T17" fmla="*/ 376 h 506"/>
                  <a:gd name="T18" fmla="*/ 351 w 508"/>
                  <a:gd name="T19" fmla="*/ 371 h 506"/>
                  <a:gd name="T20" fmla="*/ 382 w 508"/>
                  <a:gd name="T21" fmla="*/ 350 h 506"/>
                  <a:gd name="T22" fmla="*/ 430 w 508"/>
                  <a:gd name="T23" fmla="*/ 375 h 506"/>
                  <a:gd name="T24" fmla="*/ 450 w 508"/>
                  <a:gd name="T25" fmla="*/ 402 h 506"/>
                  <a:gd name="T26" fmla="*/ 417 w 508"/>
                  <a:gd name="T27" fmla="*/ 442 h 506"/>
                  <a:gd name="T28" fmla="*/ 400 w 508"/>
                  <a:gd name="T29" fmla="*/ 458 h 506"/>
                  <a:gd name="T30" fmla="*/ 379 w 508"/>
                  <a:gd name="T31" fmla="*/ 464 h 506"/>
                  <a:gd name="T32" fmla="*/ 169 w 508"/>
                  <a:gd name="T33" fmla="*/ 340 h 506"/>
                  <a:gd name="T34" fmla="*/ 48 w 508"/>
                  <a:gd name="T35" fmla="*/ 109 h 506"/>
                  <a:gd name="T36" fmla="*/ 416 w 508"/>
                  <a:gd name="T37" fmla="*/ 473 h 506"/>
                  <a:gd name="T38" fmla="*/ 443 w 508"/>
                  <a:gd name="T39" fmla="*/ 358 h 506"/>
                  <a:gd name="T40" fmla="*/ 331 w 508"/>
                  <a:gd name="T41" fmla="*/ 361 h 506"/>
                  <a:gd name="T42" fmla="*/ 214 w 508"/>
                  <a:gd name="T43" fmla="*/ 294 h 506"/>
                  <a:gd name="T44" fmla="*/ 146 w 508"/>
                  <a:gd name="T45" fmla="*/ 177 h 506"/>
                  <a:gd name="T46" fmla="*/ 148 w 508"/>
                  <a:gd name="T47" fmla="*/ 65 h 506"/>
                  <a:gd name="T48" fmla="*/ 33 w 508"/>
                  <a:gd name="T49" fmla="*/ 94 h 506"/>
                  <a:gd name="T50" fmla="*/ 153 w 508"/>
                  <a:gd name="T51" fmla="*/ 355 h 506"/>
                  <a:gd name="T52" fmla="*/ 416 w 508"/>
                  <a:gd name="T53" fmla="*/ 473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8" h="506">
                    <a:moveTo>
                      <a:pt x="48" y="109"/>
                    </a:moveTo>
                    <a:cubicBezTo>
                      <a:pt x="54" y="104"/>
                      <a:pt x="58" y="98"/>
                      <a:pt x="64" y="92"/>
                    </a:cubicBezTo>
                    <a:cubicBezTo>
                      <a:pt x="76" y="77"/>
                      <a:pt x="92" y="59"/>
                      <a:pt x="104" y="59"/>
                    </a:cubicBezTo>
                    <a:cubicBezTo>
                      <a:pt x="112" y="59"/>
                      <a:pt x="121" y="66"/>
                      <a:pt x="132" y="78"/>
                    </a:cubicBezTo>
                    <a:cubicBezTo>
                      <a:pt x="169" y="124"/>
                      <a:pt x="160" y="133"/>
                      <a:pt x="136" y="157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95" y="198"/>
                      <a:pt x="148" y="260"/>
                      <a:pt x="198" y="310"/>
                    </a:cubicBezTo>
                    <a:cubicBezTo>
                      <a:pt x="268" y="379"/>
                      <a:pt x="299" y="388"/>
                      <a:pt x="317" y="388"/>
                    </a:cubicBezTo>
                    <a:cubicBezTo>
                      <a:pt x="329" y="388"/>
                      <a:pt x="339" y="384"/>
                      <a:pt x="346" y="376"/>
                    </a:cubicBezTo>
                    <a:cubicBezTo>
                      <a:pt x="351" y="371"/>
                      <a:pt x="351" y="371"/>
                      <a:pt x="351" y="371"/>
                    </a:cubicBezTo>
                    <a:cubicBezTo>
                      <a:pt x="365" y="357"/>
                      <a:pt x="373" y="350"/>
                      <a:pt x="382" y="350"/>
                    </a:cubicBezTo>
                    <a:cubicBezTo>
                      <a:pt x="390" y="350"/>
                      <a:pt x="404" y="354"/>
                      <a:pt x="430" y="375"/>
                    </a:cubicBezTo>
                    <a:cubicBezTo>
                      <a:pt x="443" y="385"/>
                      <a:pt x="450" y="394"/>
                      <a:pt x="450" y="402"/>
                    </a:cubicBezTo>
                    <a:cubicBezTo>
                      <a:pt x="450" y="414"/>
                      <a:pt x="432" y="430"/>
                      <a:pt x="417" y="442"/>
                    </a:cubicBezTo>
                    <a:cubicBezTo>
                      <a:pt x="411" y="448"/>
                      <a:pt x="405" y="453"/>
                      <a:pt x="400" y="458"/>
                    </a:cubicBezTo>
                    <a:cubicBezTo>
                      <a:pt x="396" y="462"/>
                      <a:pt x="389" y="464"/>
                      <a:pt x="379" y="464"/>
                    </a:cubicBezTo>
                    <a:cubicBezTo>
                      <a:pt x="340" y="464"/>
                      <a:pt x="261" y="431"/>
                      <a:pt x="169" y="340"/>
                    </a:cubicBezTo>
                    <a:cubicBezTo>
                      <a:pt x="43" y="215"/>
                      <a:pt x="32" y="125"/>
                      <a:pt x="48" y="109"/>
                    </a:cubicBezTo>
                    <a:close/>
                    <a:moveTo>
                      <a:pt x="416" y="473"/>
                    </a:moveTo>
                    <a:cubicBezTo>
                      <a:pt x="444" y="445"/>
                      <a:pt x="508" y="410"/>
                      <a:pt x="443" y="358"/>
                    </a:cubicBezTo>
                    <a:cubicBezTo>
                      <a:pt x="378" y="306"/>
                      <a:pt x="360" y="332"/>
                      <a:pt x="331" y="361"/>
                    </a:cubicBezTo>
                    <a:cubicBezTo>
                      <a:pt x="311" y="382"/>
                      <a:pt x="259" y="339"/>
                      <a:pt x="214" y="294"/>
                    </a:cubicBezTo>
                    <a:cubicBezTo>
                      <a:pt x="168" y="250"/>
                      <a:pt x="125" y="198"/>
                      <a:pt x="146" y="177"/>
                    </a:cubicBezTo>
                    <a:cubicBezTo>
                      <a:pt x="175" y="148"/>
                      <a:pt x="201" y="130"/>
                      <a:pt x="148" y="65"/>
                    </a:cubicBezTo>
                    <a:cubicBezTo>
                      <a:pt x="96" y="0"/>
                      <a:pt x="61" y="65"/>
                      <a:pt x="33" y="94"/>
                    </a:cubicBezTo>
                    <a:cubicBezTo>
                      <a:pt x="0" y="127"/>
                      <a:pt x="32" y="234"/>
                      <a:pt x="153" y="355"/>
                    </a:cubicBezTo>
                    <a:cubicBezTo>
                      <a:pt x="275" y="476"/>
                      <a:pt x="383" y="506"/>
                      <a:pt x="416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8" name="Freeform 13">
                <a:extLst>
                  <a:ext uri="{FF2B5EF4-FFF2-40B4-BE49-F238E27FC236}">
                    <a16:creationId xmlns:a16="http://schemas.microsoft.com/office/drawing/2014/main" id="{26C47551-B51E-D661-33D8-CEE375DCB4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9413" y="2876551"/>
                <a:ext cx="157163" cy="157163"/>
              </a:xfrm>
              <a:custGeom>
                <a:avLst/>
                <a:gdLst>
                  <a:gd name="T0" fmla="*/ 23 w 127"/>
                  <a:gd name="T1" fmla="*/ 2 h 127"/>
                  <a:gd name="T2" fmla="*/ 7 w 127"/>
                  <a:gd name="T3" fmla="*/ 7 h 127"/>
                  <a:gd name="T4" fmla="*/ 7 w 127"/>
                  <a:gd name="T5" fmla="*/ 32 h 127"/>
                  <a:gd name="T6" fmla="*/ 17 w 127"/>
                  <a:gd name="T7" fmla="*/ 37 h 127"/>
                  <a:gd name="T8" fmla="*/ 65 w 127"/>
                  <a:gd name="T9" fmla="*/ 62 h 127"/>
                  <a:gd name="T10" fmla="*/ 90 w 127"/>
                  <a:gd name="T11" fmla="*/ 110 h 127"/>
                  <a:gd name="T12" fmla="*/ 95 w 127"/>
                  <a:gd name="T13" fmla="*/ 120 h 127"/>
                  <a:gd name="T14" fmla="*/ 120 w 127"/>
                  <a:gd name="T15" fmla="*/ 120 h 127"/>
                  <a:gd name="T16" fmla="*/ 125 w 127"/>
                  <a:gd name="T17" fmla="*/ 104 h 127"/>
                  <a:gd name="T18" fmla="*/ 91 w 127"/>
                  <a:gd name="T19" fmla="*/ 36 h 127"/>
                  <a:gd name="T20" fmla="*/ 23 w 127"/>
                  <a:gd name="T21" fmla="*/ 2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7" h="127">
                    <a:moveTo>
                      <a:pt x="23" y="2"/>
                    </a:moveTo>
                    <a:cubicBezTo>
                      <a:pt x="23" y="2"/>
                      <a:pt x="14" y="0"/>
                      <a:pt x="7" y="7"/>
                    </a:cubicBezTo>
                    <a:cubicBezTo>
                      <a:pt x="0" y="14"/>
                      <a:pt x="0" y="25"/>
                      <a:pt x="7" y="32"/>
                    </a:cubicBezTo>
                    <a:cubicBezTo>
                      <a:pt x="11" y="37"/>
                      <a:pt x="17" y="37"/>
                      <a:pt x="17" y="37"/>
                    </a:cubicBezTo>
                    <a:cubicBezTo>
                      <a:pt x="29" y="40"/>
                      <a:pt x="47" y="43"/>
                      <a:pt x="65" y="62"/>
                    </a:cubicBezTo>
                    <a:cubicBezTo>
                      <a:pt x="84" y="81"/>
                      <a:pt x="87" y="98"/>
                      <a:pt x="90" y="110"/>
                    </a:cubicBezTo>
                    <a:cubicBezTo>
                      <a:pt x="90" y="110"/>
                      <a:pt x="91" y="116"/>
                      <a:pt x="95" y="120"/>
                    </a:cubicBezTo>
                    <a:cubicBezTo>
                      <a:pt x="102" y="127"/>
                      <a:pt x="114" y="127"/>
                      <a:pt x="120" y="120"/>
                    </a:cubicBezTo>
                    <a:cubicBezTo>
                      <a:pt x="127" y="113"/>
                      <a:pt x="125" y="104"/>
                      <a:pt x="125" y="104"/>
                    </a:cubicBezTo>
                    <a:cubicBezTo>
                      <a:pt x="122" y="80"/>
                      <a:pt x="110" y="56"/>
                      <a:pt x="91" y="36"/>
                    </a:cubicBezTo>
                    <a:cubicBezTo>
                      <a:pt x="71" y="17"/>
                      <a:pt x="47" y="5"/>
                      <a:pt x="23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9" name="Freeform 14">
                <a:extLst>
                  <a:ext uri="{FF2B5EF4-FFF2-40B4-BE49-F238E27FC236}">
                    <a16:creationId xmlns:a16="http://schemas.microsoft.com/office/drawing/2014/main" id="{016D857D-8BB9-68A2-4F96-74360FB05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2792413"/>
                <a:ext cx="263525" cy="263525"/>
              </a:xfrm>
              <a:custGeom>
                <a:avLst/>
                <a:gdLst>
                  <a:gd name="T0" fmla="*/ 177 w 212"/>
                  <a:gd name="T1" fmla="*/ 204 h 212"/>
                  <a:gd name="T2" fmla="*/ 203 w 212"/>
                  <a:gd name="T3" fmla="*/ 204 h 212"/>
                  <a:gd name="T4" fmla="*/ 208 w 212"/>
                  <a:gd name="T5" fmla="*/ 193 h 212"/>
                  <a:gd name="T6" fmla="*/ 154 w 212"/>
                  <a:gd name="T7" fmla="*/ 58 h 212"/>
                  <a:gd name="T8" fmla="*/ 19 w 212"/>
                  <a:gd name="T9" fmla="*/ 4 h 212"/>
                  <a:gd name="T10" fmla="*/ 8 w 212"/>
                  <a:gd name="T11" fmla="*/ 9 h 212"/>
                  <a:gd name="T12" fmla="*/ 8 w 212"/>
                  <a:gd name="T13" fmla="*/ 35 h 212"/>
                  <a:gd name="T14" fmla="*/ 24 w 212"/>
                  <a:gd name="T15" fmla="*/ 40 h 212"/>
                  <a:gd name="T16" fmla="*/ 128 w 212"/>
                  <a:gd name="T17" fmla="*/ 84 h 212"/>
                  <a:gd name="T18" fmla="*/ 172 w 212"/>
                  <a:gd name="T19" fmla="*/ 188 h 212"/>
                  <a:gd name="T20" fmla="*/ 177 w 212"/>
                  <a:gd name="T21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2" h="212">
                    <a:moveTo>
                      <a:pt x="177" y="204"/>
                    </a:moveTo>
                    <a:cubicBezTo>
                      <a:pt x="184" y="212"/>
                      <a:pt x="196" y="211"/>
                      <a:pt x="203" y="204"/>
                    </a:cubicBezTo>
                    <a:cubicBezTo>
                      <a:pt x="207" y="200"/>
                      <a:pt x="208" y="193"/>
                      <a:pt x="208" y="193"/>
                    </a:cubicBezTo>
                    <a:cubicBezTo>
                      <a:pt x="212" y="166"/>
                      <a:pt x="207" y="111"/>
                      <a:pt x="154" y="58"/>
                    </a:cubicBezTo>
                    <a:cubicBezTo>
                      <a:pt x="101" y="5"/>
                      <a:pt x="46" y="0"/>
                      <a:pt x="19" y="4"/>
                    </a:cubicBezTo>
                    <a:cubicBezTo>
                      <a:pt x="19" y="4"/>
                      <a:pt x="12" y="5"/>
                      <a:pt x="8" y="9"/>
                    </a:cubicBezTo>
                    <a:cubicBezTo>
                      <a:pt x="1" y="16"/>
                      <a:pt x="0" y="28"/>
                      <a:pt x="8" y="35"/>
                    </a:cubicBezTo>
                    <a:cubicBezTo>
                      <a:pt x="14" y="41"/>
                      <a:pt x="24" y="40"/>
                      <a:pt x="24" y="40"/>
                    </a:cubicBezTo>
                    <a:cubicBezTo>
                      <a:pt x="56" y="35"/>
                      <a:pt x="94" y="50"/>
                      <a:pt x="128" y="84"/>
                    </a:cubicBezTo>
                    <a:cubicBezTo>
                      <a:pt x="163" y="118"/>
                      <a:pt x="177" y="156"/>
                      <a:pt x="172" y="188"/>
                    </a:cubicBezTo>
                    <a:cubicBezTo>
                      <a:pt x="172" y="188"/>
                      <a:pt x="171" y="198"/>
                      <a:pt x="177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0" name="Freeform 15">
                <a:extLst>
                  <a:ext uri="{FF2B5EF4-FFF2-40B4-BE49-F238E27FC236}">
                    <a16:creationId xmlns:a16="http://schemas.microsoft.com/office/drawing/2014/main" id="{604F359C-DD57-096D-EF25-599F8021F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0838" y="2693988"/>
                <a:ext cx="374650" cy="374650"/>
              </a:xfrm>
              <a:custGeom>
                <a:avLst/>
                <a:gdLst>
                  <a:gd name="T0" fmla="*/ 34 w 303"/>
                  <a:gd name="T1" fmla="*/ 57 h 303"/>
                  <a:gd name="T2" fmla="*/ 183 w 303"/>
                  <a:gd name="T3" fmla="*/ 120 h 303"/>
                  <a:gd name="T4" fmla="*/ 246 w 303"/>
                  <a:gd name="T5" fmla="*/ 269 h 303"/>
                  <a:gd name="T6" fmla="*/ 253 w 303"/>
                  <a:gd name="T7" fmla="*/ 293 h 303"/>
                  <a:gd name="T8" fmla="*/ 290 w 303"/>
                  <a:gd name="T9" fmla="*/ 293 h 303"/>
                  <a:gd name="T10" fmla="*/ 297 w 303"/>
                  <a:gd name="T11" fmla="*/ 276 h 303"/>
                  <a:gd name="T12" fmla="*/ 220 w 303"/>
                  <a:gd name="T13" fmla="*/ 83 h 303"/>
                  <a:gd name="T14" fmla="*/ 27 w 303"/>
                  <a:gd name="T15" fmla="*/ 6 h 303"/>
                  <a:gd name="T16" fmla="*/ 10 w 303"/>
                  <a:gd name="T17" fmla="*/ 13 h 303"/>
                  <a:gd name="T18" fmla="*/ 10 w 303"/>
                  <a:gd name="T19" fmla="*/ 50 h 303"/>
                  <a:gd name="T20" fmla="*/ 34 w 303"/>
                  <a:gd name="T21" fmla="*/ 57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3" h="303">
                    <a:moveTo>
                      <a:pt x="34" y="57"/>
                    </a:moveTo>
                    <a:cubicBezTo>
                      <a:pt x="79" y="50"/>
                      <a:pt x="134" y="71"/>
                      <a:pt x="183" y="120"/>
                    </a:cubicBezTo>
                    <a:cubicBezTo>
                      <a:pt x="232" y="169"/>
                      <a:pt x="253" y="224"/>
                      <a:pt x="246" y="269"/>
                    </a:cubicBezTo>
                    <a:cubicBezTo>
                      <a:pt x="246" y="269"/>
                      <a:pt x="244" y="284"/>
                      <a:pt x="253" y="293"/>
                    </a:cubicBezTo>
                    <a:cubicBezTo>
                      <a:pt x="263" y="303"/>
                      <a:pt x="280" y="303"/>
                      <a:pt x="290" y="293"/>
                    </a:cubicBezTo>
                    <a:cubicBezTo>
                      <a:pt x="296" y="287"/>
                      <a:pt x="297" y="276"/>
                      <a:pt x="297" y="276"/>
                    </a:cubicBezTo>
                    <a:cubicBezTo>
                      <a:pt x="303" y="238"/>
                      <a:pt x="296" y="159"/>
                      <a:pt x="220" y="83"/>
                    </a:cubicBezTo>
                    <a:cubicBezTo>
                      <a:pt x="144" y="7"/>
                      <a:pt x="65" y="0"/>
                      <a:pt x="27" y="6"/>
                    </a:cubicBezTo>
                    <a:cubicBezTo>
                      <a:pt x="27" y="6"/>
                      <a:pt x="16" y="7"/>
                      <a:pt x="10" y="13"/>
                    </a:cubicBezTo>
                    <a:cubicBezTo>
                      <a:pt x="0" y="23"/>
                      <a:pt x="0" y="40"/>
                      <a:pt x="10" y="50"/>
                    </a:cubicBezTo>
                    <a:cubicBezTo>
                      <a:pt x="19" y="60"/>
                      <a:pt x="34" y="57"/>
                      <a:pt x="34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1" name="Freeform 16">
                <a:extLst>
                  <a:ext uri="{FF2B5EF4-FFF2-40B4-BE49-F238E27FC236}">
                    <a16:creationId xmlns:a16="http://schemas.microsoft.com/office/drawing/2014/main" id="{DE86D0DF-9A1C-74A7-1FAC-2632DC41E0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0488" y="4473576"/>
                <a:ext cx="563563" cy="633413"/>
              </a:xfrm>
              <a:custGeom>
                <a:avLst/>
                <a:gdLst>
                  <a:gd name="T0" fmla="*/ 45 w 456"/>
                  <a:gd name="T1" fmla="*/ 293 h 511"/>
                  <a:gd name="T2" fmla="*/ 45 w 456"/>
                  <a:gd name="T3" fmla="*/ 269 h 511"/>
                  <a:gd name="T4" fmla="*/ 48 w 456"/>
                  <a:gd name="T5" fmla="*/ 261 h 511"/>
                  <a:gd name="T6" fmla="*/ 65 w 456"/>
                  <a:gd name="T7" fmla="*/ 261 h 511"/>
                  <a:gd name="T8" fmla="*/ 67 w 456"/>
                  <a:gd name="T9" fmla="*/ 269 h 511"/>
                  <a:gd name="T10" fmla="*/ 67 w 456"/>
                  <a:gd name="T11" fmla="*/ 339 h 511"/>
                  <a:gd name="T12" fmla="*/ 65 w 456"/>
                  <a:gd name="T13" fmla="*/ 347 h 511"/>
                  <a:gd name="T14" fmla="*/ 48 w 456"/>
                  <a:gd name="T15" fmla="*/ 347 h 511"/>
                  <a:gd name="T16" fmla="*/ 45 w 456"/>
                  <a:gd name="T17" fmla="*/ 339 h 511"/>
                  <a:gd name="T18" fmla="*/ 45 w 456"/>
                  <a:gd name="T19" fmla="*/ 293 h 511"/>
                  <a:gd name="T20" fmla="*/ 389 w 456"/>
                  <a:gd name="T21" fmla="*/ 269 h 511"/>
                  <a:gd name="T22" fmla="*/ 391 w 456"/>
                  <a:gd name="T23" fmla="*/ 261 h 511"/>
                  <a:gd name="T24" fmla="*/ 409 w 456"/>
                  <a:gd name="T25" fmla="*/ 261 h 511"/>
                  <a:gd name="T26" fmla="*/ 411 w 456"/>
                  <a:gd name="T27" fmla="*/ 269 h 511"/>
                  <a:gd name="T28" fmla="*/ 411 w 456"/>
                  <a:gd name="T29" fmla="*/ 339 h 511"/>
                  <a:gd name="T30" fmla="*/ 409 w 456"/>
                  <a:gd name="T31" fmla="*/ 347 h 511"/>
                  <a:gd name="T32" fmla="*/ 392 w 456"/>
                  <a:gd name="T33" fmla="*/ 347 h 511"/>
                  <a:gd name="T34" fmla="*/ 389 w 456"/>
                  <a:gd name="T35" fmla="*/ 339 h 511"/>
                  <a:gd name="T36" fmla="*/ 389 w 456"/>
                  <a:gd name="T37" fmla="*/ 269 h 511"/>
                  <a:gd name="T38" fmla="*/ 423 w 456"/>
                  <a:gd name="T39" fmla="*/ 219 h 511"/>
                  <a:gd name="T40" fmla="*/ 423 w 456"/>
                  <a:gd name="T41" fmla="*/ 197 h 511"/>
                  <a:gd name="T42" fmla="*/ 226 w 456"/>
                  <a:gd name="T43" fmla="*/ 0 h 511"/>
                  <a:gd name="T44" fmla="*/ 28 w 456"/>
                  <a:gd name="T45" fmla="*/ 197 h 511"/>
                  <a:gd name="T46" fmla="*/ 28 w 456"/>
                  <a:gd name="T47" fmla="*/ 221 h 511"/>
                  <a:gd name="T48" fmla="*/ 2 w 456"/>
                  <a:gd name="T49" fmla="*/ 259 h 511"/>
                  <a:gd name="T50" fmla="*/ 0 w 456"/>
                  <a:gd name="T51" fmla="*/ 259 h 511"/>
                  <a:gd name="T52" fmla="*/ 0 w 456"/>
                  <a:gd name="T53" fmla="*/ 339 h 511"/>
                  <a:gd name="T54" fmla="*/ 47 w 456"/>
                  <a:gd name="T55" fmla="*/ 391 h 511"/>
                  <a:gd name="T56" fmla="*/ 48 w 456"/>
                  <a:gd name="T57" fmla="*/ 391 h 511"/>
                  <a:gd name="T58" fmla="*/ 158 w 456"/>
                  <a:gd name="T59" fmla="*/ 481 h 511"/>
                  <a:gd name="T60" fmla="*/ 158 w 456"/>
                  <a:gd name="T61" fmla="*/ 481 h 511"/>
                  <a:gd name="T62" fmla="*/ 194 w 456"/>
                  <a:gd name="T63" fmla="*/ 511 h 511"/>
                  <a:gd name="T64" fmla="*/ 246 w 456"/>
                  <a:gd name="T65" fmla="*/ 511 h 511"/>
                  <a:gd name="T66" fmla="*/ 283 w 456"/>
                  <a:gd name="T67" fmla="*/ 474 h 511"/>
                  <a:gd name="T68" fmla="*/ 283 w 456"/>
                  <a:gd name="T69" fmla="*/ 458 h 511"/>
                  <a:gd name="T70" fmla="*/ 246 w 456"/>
                  <a:gd name="T71" fmla="*/ 422 h 511"/>
                  <a:gd name="T72" fmla="*/ 193 w 456"/>
                  <a:gd name="T73" fmla="*/ 422 h 511"/>
                  <a:gd name="T74" fmla="*/ 161 w 456"/>
                  <a:gd name="T75" fmla="*/ 441 h 511"/>
                  <a:gd name="T76" fmla="*/ 88 w 456"/>
                  <a:gd name="T77" fmla="*/ 384 h 511"/>
                  <a:gd name="T78" fmla="*/ 112 w 456"/>
                  <a:gd name="T79" fmla="*/ 339 h 511"/>
                  <a:gd name="T80" fmla="*/ 112 w 456"/>
                  <a:gd name="T81" fmla="*/ 269 h 511"/>
                  <a:gd name="T82" fmla="*/ 79 w 456"/>
                  <a:gd name="T83" fmla="*/ 219 h 511"/>
                  <a:gd name="T84" fmla="*/ 79 w 456"/>
                  <a:gd name="T85" fmla="*/ 197 h 511"/>
                  <a:gd name="T86" fmla="*/ 226 w 456"/>
                  <a:gd name="T87" fmla="*/ 50 h 511"/>
                  <a:gd name="T88" fmla="*/ 373 w 456"/>
                  <a:gd name="T89" fmla="*/ 197 h 511"/>
                  <a:gd name="T90" fmla="*/ 373 w 456"/>
                  <a:gd name="T91" fmla="*/ 220 h 511"/>
                  <a:gd name="T92" fmla="*/ 344 w 456"/>
                  <a:gd name="T93" fmla="*/ 269 h 511"/>
                  <a:gd name="T94" fmla="*/ 344 w 456"/>
                  <a:gd name="T95" fmla="*/ 339 h 511"/>
                  <a:gd name="T96" fmla="*/ 391 w 456"/>
                  <a:gd name="T97" fmla="*/ 391 h 511"/>
                  <a:gd name="T98" fmla="*/ 409 w 456"/>
                  <a:gd name="T99" fmla="*/ 391 h 511"/>
                  <a:gd name="T100" fmla="*/ 456 w 456"/>
                  <a:gd name="T101" fmla="*/ 339 h 511"/>
                  <a:gd name="T102" fmla="*/ 456 w 456"/>
                  <a:gd name="T103" fmla="*/ 269 h 511"/>
                  <a:gd name="T104" fmla="*/ 423 w 456"/>
                  <a:gd name="T105" fmla="*/ 219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56" h="511">
                    <a:moveTo>
                      <a:pt x="45" y="293"/>
                    </a:moveTo>
                    <a:cubicBezTo>
                      <a:pt x="45" y="269"/>
                      <a:pt x="45" y="269"/>
                      <a:pt x="45" y="269"/>
                    </a:cubicBezTo>
                    <a:cubicBezTo>
                      <a:pt x="45" y="265"/>
                      <a:pt x="47" y="262"/>
                      <a:pt x="48" y="261"/>
                    </a:cubicBezTo>
                    <a:cubicBezTo>
                      <a:pt x="65" y="261"/>
                      <a:pt x="65" y="261"/>
                      <a:pt x="65" y="261"/>
                    </a:cubicBezTo>
                    <a:cubicBezTo>
                      <a:pt x="66" y="262"/>
                      <a:pt x="67" y="265"/>
                      <a:pt x="67" y="269"/>
                    </a:cubicBezTo>
                    <a:cubicBezTo>
                      <a:pt x="67" y="339"/>
                      <a:pt x="67" y="339"/>
                      <a:pt x="67" y="339"/>
                    </a:cubicBezTo>
                    <a:cubicBezTo>
                      <a:pt x="67" y="343"/>
                      <a:pt x="65" y="347"/>
                      <a:pt x="65" y="347"/>
                    </a:cubicBezTo>
                    <a:cubicBezTo>
                      <a:pt x="48" y="347"/>
                      <a:pt x="48" y="347"/>
                      <a:pt x="48" y="347"/>
                    </a:cubicBezTo>
                    <a:cubicBezTo>
                      <a:pt x="47" y="347"/>
                      <a:pt x="45" y="343"/>
                      <a:pt x="45" y="339"/>
                    </a:cubicBezTo>
                    <a:cubicBezTo>
                      <a:pt x="45" y="293"/>
                      <a:pt x="45" y="293"/>
                      <a:pt x="45" y="293"/>
                    </a:cubicBezTo>
                    <a:close/>
                    <a:moveTo>
                      <a:pt x="389" y="269"/>
                    </a:moveTo>
                    <a:cubicBezTo>
                      <a:pt x="389" y="265"/>
                      <a:pt x="390" y="262"/>
                      <a:pt x="391" y="261"/>
                    </a:cubicBezTo>
                    <a:cubicBezTo>
                      <a:pt x="409" y="261"/>
                      <a:pt x="409" y="261"/>
                      <a:pt x="409" y="261"/>
                    </a:cubicBezTo>
                    <a:cubicBezTo>
                      <a:pt x="410" y="262"/>
                      <a:pt x="411" y="265"/>
                      <a:pt x="411" y="269"/>
                    </a:cubicBezTo>
                    <a:cubicBezTo>
                      <a:pt x="411" y="339"/>
                      <a:pt x="411" y="339"/>
                      <a:pt x="411" y="339"/>
                    </a:cubicBezTo>
                    <a:cubicBezTo>
                      <a:pt x="411" y="343"/>
                      <a:pt x="409" y="347"/>
                      <a:pt x="409" y="347"/>
                    </a:cubicBezTo>
                    <a:cubicBezTo>
                      <a:pt x="392" y="347"/>
                      <a:pt x="392" y="347"/>
                      <a:pt x="392" y="347"/>
                    </a:cubicBezTo>
                    <a:cubicBezTo>
                      <a:pt x="391" y="347"/>
                      <a:pt x="389" y="343"/>
                      <a:pt x="389" y="339"/>
                    </a:cubicBezTo>
                    <a:cubicBezTo>
                      <a:pt x="389" y="269"/>
                      <a:pt x="389" y="269"/>
                      <a:pt x="389" y="269"/>
                    </a:cubicBezTo>
                    <a:close/>
                    <a:moveTo>
                      <a:pt x="423" y="219"/>
                    </a:moveTo>
                    <a:cubicBezTo>
                      <a:pt x="423" y="197"/>
                      <a:pt x="423" y="197"/>
                      <a:pt x="423" y="197"/>
                    </a:cubicBezTo>
                    <a:cubicBezTo>
                      <a:pt x="423" y="89"/>
                      <a:pt x="335" y="0"/>
                      <a:pt x="226" y="0"/>
                    </a:cubicBezTo>
                    <a:cubicBezTo>
                      <a:pt x="117" y="0"/>
                      <a:pt x="28" y="89"/>
                      <a:pt x="28" y="197"/>
                    </a:cubicBezTo>
                    <a:cubicBezTo>
                      <a:pt x="28" y="221"/>
                      <a:pt x="28" y="221"/>
                      <a:pt x="28" y="221"/>
                    </a:cubicBezTo>
                    <a:cubicBezTo>
                      <a:pt x="15" y="228"/>
                      <a:pt x="5" y="242"/>
                      <a:pt x="2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0" y="368"/>
                      <a:pt x="21" y="391"/>
                      <a:pt x="47" y="391"/>
                    </a:cubicBezTo>
                    <a:cubicBezTo>
                      <a:pt x="48" y="391"/>
                      <a:pt x="48" y="391"/>
                      <a:pt x="48" y="391"/>
                    </a:cubicBezTo>
                    <a:cubicBezTo>
                      <a:pt x="69" y="425"/>
                      <a:pt x="108" y="464"/>
                      <a:pt x="158" y="481"/>
                    </a:cubicBezTo>
                    <a:cubicBezTo>
                      <a:pt x="158" y="481"/>
                      <a:pt x="158" y="481"/>
                      <a:pt x="158" y="481"/>
                    </a:cubicBezTo>
                    <a:cubicBezTo>
                      <a:pt x="161" y="498"/>
                      <a:pt x="176" y="511"/>
                      <a:pt x="194" y="511"/>
                    </a:cubicBezTo>
                    <a:cubicBezTo>
                      <a:pt x="246" y="511"/>
                      <a:pt x="246" y="511"/>
                      <a:pt x="246" y="511"/>
                    </a:cubicBezTo>
                    <a:cubicBezTo>
                      <a:pt x="266" y="511"/>
                      <a:pt x="283" y="494"/>
                      <a:pt x="283" y="474"/>
                    </a:cubicBezTo>
                    <a:cubicBezTo>
                      <a:pt x="283" y="458"/>
                      <a:pt x="283" y="458"/>
                      <a:pt x="283" y="458"/>
                    </a:cubicBezTo>
                    <a:cubicBezTo>
                      <a:pt x="283" y="438"/>
                      <a:pt x="266" y="422"/>
                      <a:pt x="246" y="422"/>
                    </a:cubicBezTo>
                    <a:cubicBezTo>
                      <a:pt x="193" y="422"/>
                      <a:pt x="193" y="422"/>
                      <a:pt x="193" y="422"/>
                    </a:cubicBezTo>
                    <a:cubicBezTo>
                      <a:pt x="180" y="422"/>
                      <a:pt x="167" y="429"/>
                      <a:pt x="161" y="441"/>
                    </a:cubicBezTo>
                    <a:cubicBezTo>
                      <a:pt x="138" y="431"/>
                      <a:pt x="112" y="417"/>
                      <a:pt x="88" y="384"/>
                    </a:cubicBezTo>
                    <a:cubicBezTo>
                      <a:pt x="103" y="375"/>
                      <a:pt x="112" y="358"/>
                      <a:pt x="112" y="339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2" y="245"/>
                      <a:pt x="98" y="225"/>
                      <a:pt x="79" y="219"/>
                    </a:cubicBezTo>
                    <a:cubicBezTo>
                      <a:pt x="79" y="197"/>
                      <a:pt x="79" y="197"/>
                      <a:pt x="79" y="197"/>
                    </a:cubicBezTo>
                    <a:cubicBezTo>
                      <a:pt x="79" y="116"/>
                      <a:pt x="145" y="50"/>
                      <a:pt x="226" y="50"/>
                    </a:cubicBezTo>
                    <a:cubicBezTo>
                      <a:pt x="307" y="50"/>
                      <a:pt x="373" y="116"/>
                      <a:pt x="373" y="197"/>
                    </a:cubicBezTo>
                    <a:cubicBezTo>
                      <a:pt x="373" y="220"/>
                      <a:pt x="373" y="220"/>
                      <a:pt x="373" y="220"/>
                    </a:cubicBezTo>
                    <a:cubicBezTo>
                      <a:pt x="356" y="228"/>
                      <a:pt x="344" y="247"/>
                      <a:pt x="344" y="269"/>
                    </a:cubicBezTo>
                    <a:cubicBezTo>
                      <a:pt x="344" y="339"/>
                      <a:pt x="344" y="339"/>
                      <a:pt x="344" y="339"/>
                    </a:cubicBezTo>
                    <a:cubicBezTo>
                      <a:pt x="344" y="368"/>
                      <a:pt x="365" y="391"/>
                      <a:pt x="391" y="391"/>
                    </a:cubicBezTo>
                    <a:cubicBezTo>
                      <a:pt x="409" y="391"/>
                      <a:pt x="409" y="391"/>
                      <a:pt x="409" y="391"/>
                    </a:cubicBezTo>
                    <a:cubicBezTo>
                      <a:pt x="435" y="391"/>
                      <a:pt x="456" y="368"/>
                      <a:pt x="456" y="339"/>
                    </a:cubicBezTo>
                    <a:cubicBezTo>
                      <a:pt x="456" y="269"/>
                      <a:pt x="456" y="269"/>
                      <a:pt x="456" y="269"/>
                    </a:cubicBezTo>
                    <a:cubicBezTo>
                      <a:pt x="456" y="245"/>
                      <a:pt x="442" y="225"/>
                      <a:pt x="423" y="2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2" name="Freeform 17">
                <a:extLst>
                  <a:ext uri="{FF2B5EF4-FFF2-40B4-BE49-F238E27FC236}">
                    <a16:creationId xmlns:a16="http://schemas.microsoft.com/office/drawing/2014/main" id="{E43D53D6-CA41-3D1D-D793-3B9734AD1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70213" y="3854451"/>
                <a:ext cx="565150" cy="631825"/>
              </a:xfrm>
              <a:custGeom>
                <a:avLst/>
                <a:gdLst>
                  <a:gd name="T0" fmla="*/ 45 w 456"/>
                  <a:gd name="T1" fmla="*/ 339 h 511"/>
                  <a:gd name="T2" fmla="*/ 45 w 456"/>
                  <a:gd name="T3" fmla="*/ 293 h 511"/>
                  <a:gd name="T4" fmla="*/ 45 w 456"/>
                  <a:gd name="T5" fmla="*/ 269 h 511"/>
                  <a:gd name="T6" fmla="*/ 48 w 456"/>
                  <a:gd name="T7" fmla="*/ 261 h 511"/>
                  <a:gd name="T8" fmla="*/ 65 w 456"/>
                  <a:gd name="T9" fmla="*/ 261 h 511"/>
                  <a:gd name="T10" fmla="*/ 68 w 456"/>
                  <a:gd name="T11" fmla="*/ 269 h 511"/>
                  <a:gd name="T12" fmla="*/ 68 w 456"/>
                  <a:gd name="T13" fmla="*/ 339 h 511"/>
                  <a:gd name="T14" fmla="*/ 65 w 456"/>
                  <a:gd name="T15" fmla="*/ 347 h 511"/>
                  <a:gd name="T16" fmla="*/ 48 w 456"/>
                  <a:gd name="T17" fmla="*/ 347 h 511"/>
                  <a:gd name="T18" fmla="*/ 45 w 456"/>
                  <a:gd name="T19" fmla="*/ 339 h 511"/>
                  <a:gd name="T20" fmla="*/ 389 w 456"/>
                  <a:gd name="T21" fmla="*/ 269 h 511"/>
                  <a:gd name="T22" fmla="*/ 391 w 456"/>
                  <a:gd name="T23" fmla="*/ 261 h 511"/>
                  <a:gd name="T24" fmla="*/ 409 w 456"/>
                  <a:gd name="T25" fmla="*/ 261 h 511"/>
                  <a:gd name="T26" fmla="*/ 411 w 456"/>
                  <a:gd name="T27" fmla="*/ 269 h 511"/>
                  <a:gd name="T28" fmla="*/ 411 w 456"/>
                  <a:gd name="T29" fmla="*/ 339 h 511"/>
                  <a:gd name="T30" fmla="*/ 409 w 456"/>
                  <a:gd name="T31" fmla="*/ 347 h 511"/>
                  <a:gd name="T32" fmla="*/ 392 w 456"/>
                  <a:gd name="T33" fmla="*/ 347 h 511"/>
                  <a:gd name="T34" fmla="*/ 389 w 456"/>
                  <a:gd name="T35" fmla="*/ 339 h 511"/>
                  <a:gd name="T36" fmla="*/ 389 w 456"/>
                  <a:gd name="T37" fmla="*/ 269 h 511"/>
                  <a:gd name="T38" fmla="*/ 423 w 456"/>
                  <a:gd name="T39" fmla="*/ 219 h 511"/>
                  <a:gd name="T40" fmla="*/ 423 w 456"/>
                  <a:gd name="T41" fmla="*/ 198 h 511"/>
                  <a:gd name="T42" fmla="*/ 226 w 456"/>
                  <a:gd name="T43" fmla="*/ 0 h 511"/>
                  <a:gd name="T44" fmla="*/ 29 w 456"/>
                  <a:gd name="T45" fmla="*/ 198 h 511"/>
                  <a:gd name="T46" fmla="*/ 29 w 456"/>
                  <a:gd name="T47" fmla="*/ 221 h 511"/>
                  <a:gd name="T48" fmla="*/ 2 w 456"/>
                  <a:gd name="T49" fmla="*/ 259 h 511"/>
                  <a:gd name="T50" fmla="*/ 0 w 456"/>
                  <a:gd name="T51" fmla="*/ 259 h 511"/>
                  <a:gd name="T52" fmla="*/ 0 w 456"/>
                  <a:gd name="T53" fmla="*/ 339 h 511"/>
                  <a:gd name="T54" fmla="*/ 48 w 456"/>
                  <a:gd name="T55" fmla="*/ 392 h 511"/>
                  <a:gd name="T56" fmla="*/ 48 w 456"/>
                  <a:gd name="T57" fmla="*/ 392 h 511"/>
                  <a:gd name="T58" fmla="*/ 158 w 456"/>
                  <a:gd name="T59" fmla="*/ 481 h 511"/>
                  <a:gd name="T60" fmla="*/ 158 w 456"/>
                  <a:gd name="T61" fmla="*/ 481 h 511"/>
                  <a:gd name="T62" fmla="*/ 194 w 456"/>
                  <a:gd name="T63" fmla="*/ 511 h 511"/>
                  <a:gd name="T64" fmla="*/ 246 w 456"/>
                  <a:gd name="T65" fmla="*/ 511 h 511"/>
                  <a:gd name="T66" fmla="*/ 283 w 456"/>
                  <a:gd name="T67" fmla="*/ 474 h 511"/>
                  <a:gd name="T68" fmla="*/ 283 w 456"/>
                  <a:gd name="T69" fmla="*/ 459 h 511"/>
                  <a:gd name="T70" fmla="*/ 246 w 456"/>
                  <a:gd name="T71" fmla="*/ 422 h 511"/>
                  <a:gd name="T72" fmla="*/ 193 w 456"/>
                  <a:gd name="T73" fmla="*/ 422 h 511"/>
                  <a:gd name="T74" fmla="*/ 161 w 456"/>
                  <a:gd name="T75" fmla="*/ 441 h 511"/>
                  <a:gd name="T76" fmla="*/ 88 w 456"/>
                  <a:gd name="T77" fmla="*/ 385 h 511"/>
                  <a:gd name="T78" fmla="*/ 112 w 456"/>
                  <a:gd name="T79" fmla="*/ 339 h 511"/>
                  <a:gd name="T80" fmla="*/ 112 w 456"/>
                  <a:gd name="T81" fmla="*/ 269 h 511"/>
                  <a:gd name="T82" fmla="*/ 79 w 456"/>
                  <a:gd name="T83" fmla="*/ 219 h 511"/>
                  <a:gd name="T84" fmla="*/ 79 w 456"/>
                  <a:gd name="T85" fmla="*/ 217 h 511"/>
                  <a:gd name="T86" fmla="*/ 79 w 456"/>
                  <a:gd name="T87" fmla="*/ 198 h 511"/>
                  <a:gd name="T88" fmla="*/ 226 w 456"/>
                  <a:gd name="T89" fmla="*/ 51 h 511"/>
                  <a:gd name="T90" fmla="*/ 373 w 456"/>
                  <a:gd name="T91" fmla="*/ 198 h 511"/>
                  <a:gd name="T92" fmla="*/ 373 w 456"/>
                  <a:gd name="T93" fmla="*/ 221 h 511"/>
                  <a:gd name="T94" fmla="*/ 344 w 456"/>
                  <a:gd name="T95" fmla="*/ 269 h 511"/>
                  <a:gd name="T96" fmla="*/ 344 w 456"/>
                  <a:gd name="T97" fmla="*/ 339 h 511"/>
                  <a:gd name="T98" fmla="*/ 391 w 456"/>
                  <a:gd name="T99" fmla="*/ 392 h 511"/>
                  <a:gd name="T100" fmla="*/ 409 w 456"/>
                  <a:gd name="T101" fmla="*/ 392 h 511"/>
                  <a:gd name="T102" fmla="*/ 456 w 456"/>
                  <a:gd name="T103" fmla="*/ 339 h 511"/>
                  <a:gd name="T104" fmla="*/ 456 w 456"/>
                  <a:gd name="T105" fmla="*/ 269 h 511"/>
                  <a:gd name="T106" fmla="*/ 423 w 456"/>
                  <a:gd name="T107" fmla="*/ 219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56" h="511">
                    <a:moveTo>
                      <a:pt x="45" y="339"/>
                    </a:moveTo>
                    <a:cubicBezTo>
                      <a:pt x="45" y="293"/>
                      <a:pt x="45" y="293"/>
                      <a:pt x="45" y="293"/>
                    </a:cubicBezTo>
                    <a:cubicBezTo>
                      <a:pt x="45" y="269"/>
                      <a:pt x="45" y="269"/>
                      <a:pt x="45" y="269"/>
                    </a:cubicBezTo>
                    <a:cubicBezTo>
                      <a:pt x="45" y="265"/>
                      <a:pt x="47" y="262"/>
                      <a:pt x="48" y="261"/>
                    </a:cubicBezTo>
                    <a:cubicBezTo>
                      <a:pt x="65" y="261"/>
                      <a:pt x="65" y="261"/>
                      <a:pt x="65" y="261"/>
                    </a:cubicBezTo>
                    <a:cubicBezTo>
                      <a:pt x="66" y="262"/>
                      <a:pt x="68" y="265"/>
                      <a:pt x="68" y="269"/>
                    </a:cubicBezTo>
                    <a:cubicBezTo>
                      <a:pt x="68" y="339"/>
                      <a:pt x="68" y="339"/>
                      <a:pt x="68" y="339"/>
                    </a:cubicBezTo>
                    <a:cubicBezTo>
                      <a:pt x="68" y="344"/>
                      <a:pt x="65" y="347"/>
                      <a:pt x="65" y="347"/>
                    </a:cubicBezTo>
                    <a:cubicBezTo>
                      <a:pt x="48" y="347"/>
                      <a:pt x="48" y="347"/>
                      <a:pt x="48" y="347"/>
                    </a:cubicBezTo>
                    <a:cubicBezTo>
                      <a:pt x="47" y="347"/>
                      <a:pt x="45" y="344"/>
                      <a:pt x="45" y="339"/>
                    </a:cubicBezTo>
                    <a:close/>
                    <a:moveTo>
                      <a:pt x="389" y="269"/>
                    </a:moveTo>
                    <a:cubicBezTo>
                      <a:pt x="389" y="265"/>
                      <a:pt x="390" y="262"/>
                      <a:pt x="391" y="261"/>
                    </a:cubicBezTo>
                    <a:cubicBezTo>
                      <a:pt x="409" y="261"/>
                      <a:pt x="409" y="261"/>
                      <a:pt x="409" y="261"/>
                    </a:cubicBezTo>
                    <a:cubicBezTo>
                      <a:pt x="410" y="262"/>
                      <a:pt x="411" y="265"/>
                      <a:pt x="411" y="269"/>
                    </a:cubicBezTo>
                    <a:cubicBezTo>
                      <a:pt x="411" y="339"/>
                      <a:pt x="411" y="339"/>
                      <a:pt x="411" y="339"/>
                    </a:cubicBezTo>
                    <a:cubicBezTo>
                      <a:pt x="411" y="344"/>
                      <a:pt x="409" y="347"/>
                      <a:pt x="409" y="347"/>
                    </a:cubicBezTo>
                    <a:cubicBezTo>
                      <a:pt x="392" y="347"/>
                      <a:pt x="392" y="347"/>
                      <a:pt x="392" y="347"/>
                    </a:cubicBezTo>
                    <a:cubicBezTo>
                      <a:pt x="391" y="347"/>
                      <a:pt x="389" y="344"/>
                      <a:pt x="389" y="339"/>
                    </a:cubicBezTo>
                    <a:cubicBezTo>
                      <a:pt x="389" y="269"/>
                      <a:pt x="389" y="269"/>
                      <a:pt x="389" y="269"/>
                    </a:cubicBezTo>
                    <a:close/>
                    <a:moveTo>
                      <a:pt x="423" y="219"/>
                    </a:moveTo>
                    <a:cubicBezTo>
                      <a:pt x="423" y="198"/>
                      <a:pt x="423" y="198"/>
                      <a:pt x="423" y="198"/>
                    </a:cubicBezTo>
                    <a:cubicBezTo>
                      <a:pt x="423" y="89"/>
                      <a:pt x="335" y="0"/>
                      <a:pt x="226" y="0"/>
                    </a:cubicBezTo>
                    <a:cubicBezTo>
                      <a:pt x="117" y="0"/>
                      <a:pt x="29" y="89"/>
                      <a:pt x="29" y="198"/>
                    </a:cubicBezTo>
                    <a:cubicBezTo>
                      <a:pt x="29" y="221"/>
                      <a:pt x="29" y="221"/>
                      <a:pt x="29" y="221"/>
                    </a:cubicBezTo>
                    <a:cubicBezTo>
                      <a:pt x="15" y="228"/>
                      <a:pt x="5" y="242"/>
                      <a:pt x="2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0" y="368"/>
                      <a:pt x="22" y="392"/>
                      <a:pt x="48" y="392"/>
                    </a:cubicBezTo>
                    <a:cubicBezTo>
                      <a:pt x="48" y="392"/>
                      <a:pt x="48" y="392"/>
                      <a:pt x="48" y="392"/>
                    </a:cubicBezTo>
                    <a:cubicBezTo>
                      <a:pt x="69" y="426"/>
                      <a:pt x="108" y="465"/>
                      <a:pt x="158" y="481"/>
                    </a:cubicBezTo>
                    <a:cubicBezTo>
                      <a:pt x="158" y="481"/>
                      <a:pt x="158" y="481"/>
                      <a:pt x="158" y="481"/>
                    </a:cubicBezTo>
                    <a:cubicBezTo>
                      <a:pt x="161" y="499"/>
                      <a:pt x="176" y="511"/>
                      <a:pt x="194" y="511"/>
                    </a:cubicBezTo>
                    <a:cubicBezTo>
                      <a:pt x="246" y="511"/>
                      <a:pt x="246" y="511"/>
                      <a:pt x="246" y="511"/>
                    </a:cubicBezTo>
                    <a:cubicBezTo>
                      <a:pt x="266" y="511"/>
                      <a:pt x="283" y="494"/>
                      <a:pt x="283" y="474"/>
                    </a:cubicBezTo>
                    <a:cubicBezTo>
                      <a:pt x="283" y="459"/>
                      <a:pt x="283" y="459"/>
                      <a:pt x="283" y="459"/>
                    </a:cubicBezTo>
                    <a:cubicBezTo>
                      <a:pt x="283" y="438"/>
                      <a:pt x="266" y="422"/>
                      <a:pt x="246" y="422"/>
                    </a:cubicBezTo>
                    <a:cubicBezTo>
                      <a:pt x="193" y="422"/>
                      <a:pt x="193" y="422"/>
                      <a:pt x="193" y="422"/>
                    </a:cubicBezTo>
                    <a:cubicBezTo>
                      <a:pt x="180" y="422"/>
                      <a:pt x="168" y="430"/>
                      <a:pt x="161" y="441"/>
                    </a:cubicBezTo>
                    <a:cubicBezTo>
                      <a:pt x="138" y="432"/>
                      <a:pt x="112" y="417"/>
                      <a:pt x="88" y="385"/>
                    </a:cubicBezTo>
                    <a:cubicBezTo>
                      <a:pt x="103" y="376"/>
                      <a:pt x="112" y="359"/>
                      <a:pt x="112" y="339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2" y="246"/>
                      <a:pt x="99" y="226"/>
                      <a:pt x="79" y="219"/>
                    </a:cubicBezTo>
                    <a:cubicBezTo>
                      <a:pt x="79" y="217"/>
                      <a:pt x="79" y="217"/>
                      <a:pt x="79" y="217"/>
                    </a:cubicBezTo>
                    <a:cubicBezTo>
                      <a:pt x="79" y="198"/>
                      <a:pt x="79" y="198"/>
                      <a:pt x="79" y="198"/>
                    </a:cubicBezTo>
                    <a:cubicBezTo>
                      <a:pt x="79" y="117"/>
                      <a:pt x="145" y="51"/>
                      <a:pt x="226" y="51"/>
                    </a:cubicBezTo>
                    <a:cubicBezTo>
                      <a:pt x="307" y="51"/>
                      <a:pt x="373" y="117"/>
                      <a:pt x="373" y="198"/>
                    </a:cubicBezTo>
                    <a:cubicBezTo>
                      <a:pt x="373" y="221"/>
                      <a:pt x="373" y="221"/>
                      <a:pt x="373" y="221"/>
                    </a:cubicBezTo>
                    <a:cubicBezTo>
                      <a:pt x="356" y="229"/>
                      <a:pt x="344" y="248"/>
                      <a:pt x="344" y="269"/>
                    </a:cubicBezTo>
                    <a:cubicBezTo>
                      <a:pt x="344" y="339"/>
                      <a:pt x="344" y="339"/>
                      <a:pt x="344" y="339"/>
                    </a:cubicBezTo>
                    <a:cubicBezTo>
                      <a:pt x="344" y="368"/>
                      <a:pt x="365" y="392"/>
                      <a:pt x="391" y="392"/>
                    </a:cubicBezTo>
                    <a:cubicBezTo>
                      <a:pt x="409" y="392"/>
                      <a:pt x="409" y="392"/>
                      <a:pt x="409" y="392"/>
                    </a:cubicBezTo>
                    <a:cubicBezTo>
                      <a:pt x="435" y="392"/>
                      <a:pt x="456" y="368"/>
                      <a:pt x="456" y="339"/>
                    </a:cubicBezTo>
                    <a:cubicBezTo>
                      <a:pt x="456" y="269"/>
                      <a:pt x="456" y="269"/>
                      <a:pt x="456" y="269"/>
                    </a:cubicBezTo>
                    <a:cubicBezTo>
                      <a:pt x="456" y="246"/>
                      <a:pt x="442" y="226"/>
                      <a:pt x="423" y="2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3" name="Freeform 18">
                <a:extLst>
                  <a:ext uri="{FF2B5EF4-FFF2-40B4-BE49-F238E27FC236}">
                    <a16:creationId xmlns:a16="http://schemas.microsoft.com/office/drawing/2014/main" id="{8AF5210B-8B38-7FAE-EF91-880C332133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9175" y="3854451"/>
                <a:ext cx="565150" cy="631825"/>
              </a:xfrm>
              <a:custGeom>
                <a:avLst/>
                <a:gdLst>
                  <a:gd name="T0" fmla="*/ 67 w 456"/>
                  <a:gd name="T1" fmla="*/ 339 h 511"/>
                  <a:gd name="T2" fmla="*/ 65 w 456"/>
                  <a:gd name="T3" fmla="*/ 347 h 511"/>
                  <a:gd name="T4" fmla="*/ 48 w 456"/>
                  <a:gd name="T5" fmla="*/ 347 h 511"/>
                  <a:gd name="T6" fmla="*/ 45 w 456"/>
                  <a:gd name="T7" fmla="*/ 339 h 511"/>
                  <a:gd name="T8" fmla="*/ 45 w 456"/>
                  <a:gd name="T9" fmla="*/ 293 h 511"/>
                  <a:gd name="T10" fmla="*/ 45 w 456"/>
                  <a:gd name="T11" fmla="*/ 269 h 511"/>
                  <a:gd name="T12" fmla="*/ 48 w 456"/>
                  <a:gd name="T13" fmla="*/ 261 h 511"/>
                  <a:gd name="T14" fmla="*/ 65 w 456"/>
                  <a:gd name="T15" fmla="*/ 261 h 511"/>
                  <a:gd name="T16" fmla="*/ 67 w 456"/>
                  <a:gd name="T17" fmla="*/ 269 h 511"/>
                  <a:gd name="T18" fmla="*/ 67 w 456"/>
                  <a:gd name="T19" fmla="*/ 339 h 511"/>
                  <a:gd name="T20" fmla="*/ 388 w 456"/>
                  <a:gd name="T21" fmla="*/ 269 h 511"/>
                  <a:gd name="T22" fmla="*/ 391 w 456"/>
                  <a:gd name="T23" fmla="*/ 261 h 511"/>
                  <a:gd name="T24" fmla="*/ 409 w 456"/>
                  <a:gd name="T25" fmla="*/ 261 h 511"/>
                  <a:gd name="T26" fmla="*/ 411 w 456"/>
                  <a:gd name="T27" fmla="*/ 269 h 511"/>
                  <a:gd name="T28" fmla="*/ 411 w 456"/>
                  <a:gd name="T29" fmla="*/ 339 h 511"/>
                  <a:gd name="T30" fmla="*/ 408 w 456"/>
                  <a:gd name="T31" fmla="*/ 347 h 511"/>
                  <a:gd name="T32" fmla="*/ 392 w 456"/>
                  <a:gd name="T33" fmla="*/ 347 h 511"/>
                  <a:gd name="T34" fmla="*/ 388 w 456"/>
                  <a:gd name="T35" fmla="*/ 339 h 511"/>
                  <a:gd name="T36" fmla="*/ 388 w 456"/>
                  <a:gd name="T37" fmla="*/ 269 h 511"/>
                  <a:gd name="T38" fmla="*/ 423 w 456"/>
                  <a:gd name="T39" fmla="*/ 219 h 511"/>
                  <a:gd name="T40" fmla="*/ 423 w 456"/>
                  <a:gd name="T41" fmla="*/ 198 h 511"/>
                  <a:gd name="T42" fmla="*/ 226 w 456"/>
                  <a:gd name="T43" fmla="*/ 0 h 511"/>
                  <a:gd name="T44" fmla="*/ 28 w 456"/>
                  <a:gd name="T45" fmla="*/ 198 h 511"/>
                  <a:gd name="T46" fmla="*/ 28 w 456"/>
                  <a:gd name="T47" fmla="*/ 221 h 511"/>
                  <a:gd name="T48" fmla="*/ 1 w 456"/>
                  <a:gd name="T49" fmla="*/ 259 h 511"/>
                  <a:gd name="T50" fmla="*/ 0 w 456"/>
                  <a:gd name="T51" fmla="*/ 259 h 511"/>
                  <a:gd name="T52" fmla="*/ 0 w 456"/>
                  <a:gd name="T53" fmla="*/ 339 h 511"/>
                  <a:gd name="T54" fmla="*/ 47 w 456"/>
                  <a:gd name="T55" fmla="*/ 392 h 511"/>
                  <a:gd name="T56" fmla="*/ 48 w 456"/>
                  <a:gd name="T57" fmla="*/ 392 h 511"/>
                  <a:gd name="T58" fmla="*/ 157 w 456"/>
                  <a:gd name="T59" fmla="*/ 481 h 511"/>
                  <a:gd name="T60" fmla="*/ 157 w 456"/>
                  <a:gd name="T61" fmla="*/ 481 h 511"/>
                  <a:gd name="T62" fmla="*/ 193 w 456"/>
                  <a:gd name="T63" fmla="*/ 511 h 511"/>
                  <a:gd name="T64" fmla="*/ 246 w 456"/>
                  <a:gd name="T65" fmla="*/ 511 h 511"/>
                  <a:gd name="T66" fmla="*/ 283 w 456"/>
                  <a:gd name="T67" fmla="*/ 474 h 511"/>
                  <a:gd name="T68" fmla="*/ 283 w 456"/>
                  <a:gd name="T69" fmla="*/ 459 h 511"/>
                  <a:gd name="T70" fmla="*/ 246 w 456"/>
                  <a:gd name="T71" fmla="*/ 422 h 511"/>
                  <a:gd name="T72" fmla="*/ 193 w 456"/>
                  <a:gd name="T73" fmla="*/ 422 h 511"/>
                  <a:gd name="T74" fmla="*/ 161 w 456"/>
                  <a:gd name="T75" fmla="*/ 441 h 511"/>
                  <a:gd name="T76" fmla="*/ 88 w 456"/>
                  <a:gd name="T77" fmla="*/ 385 h 511"/>
                  <a:gd name="T78" fmla="*/ 112 w 456"/>
                  <a:gd name="T79" fmla="*/ 339 h 511"/>
                  <a:gd name="T80" fmla="*/ 112 w 456"/>
                  <a:gd name="T81" fmla="*/ 269 h 511"/>
                  <a:gd name="T82" fmla="*/ 79 w 456"/>
                  <a:gd name="T83" fmla="*/ 219 h 511"/>
                  <a:gd name="T84" fmla="*/ 79 w 456"/>
                  <a:gd name="T85" fmla="*/ 217 h 511"/>
                  <a:gd name="T86" fmla="*/ 79 w 456"/>
                  <a:gd name="T87" fmla="*/ 198 h 511"/>
                  <a:gd name="T88" fmla="*/ 226 w 456"/>
                  <a:gd name="T89" fmla="*/ 51 h 511"/>
                  <a:gd name="T90" fmla="*/ 373 w 456"/>
                  <a:gd name="T91" fmla="*/ 198 h 511"/>
                  <a:gd name="T92" fmla="*/ 373 w 456"/>
                  <a:gd name="T93" fmla="*/ 221 h 511"/>
                  <a:gd name="T94" fmla="*/ 344 w 456"/>
                  <a:gd name="T95" fmla="*/ 269 h 511"/>
                  <a:gd name="T96" fmla="*/ 344 w 456"/>
                  <a:gd name="T97" fmla="*/ 339 h 511"/>
                  <a:gd name="T98" fmla="*/ 391 w 456"/>
                  <a:gd name="T99" fmla="*/ 392 h 511"/>
                  <a:gd name="T100" fmla="*/ 408 w 456"/>
                  <a:gd name="T101" fmla="*/ 392 h 511"/>
                  <a:gd name="T102" fmla="*/ 456 w 456"/>
                  <a:gd name="T103" fmla="*/ 339 h 511"/>
                  <a:gd name="T104" fmla="*/ 456 w 456"/>
                  <a:gd name="T105" fmla="*/ 269 h 511"/>
                  <a:gd name="T106" fmla="*/ 423 w 456"/>
                  <a:gd name="T107" fmla="*/ 219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56" h="511">
                    <a:moveTo>
                      <a:pt x="67" y="339"/>
                    </a:moveTo>
                    <a:cubicBezTo>
                      <a:pt x="67" y="344"/>
                      <a:pt x="65" y="347"/>
                      <a:pt x="65" y="347"/>
                    </a:cubicBezTo>
                    <a:cubicBezTo>
                      <a:pt x="48" y="347"/>
                      <a:pt x="48" y="347"/>
                      <a:pt x="48" y="347"/>
                    </a:cubicBezTo>
                    <a:cubicBezTo>
                      <a:pt x="47" y="347"/>
                      <a:pt x="45" y="344"/>
                      <a:pt x="45" y="339"/>
                    </a:cubicBezTo>
                    <a:cubicBezTo>
                      <a:pt x="45" y="293"/>
                      <a:pt x="45" y="293"/>
                      <a:pt x="45" y="293"/>
                    </a:cubicBezTo>
                    <a:cubicBezTo>
                      <a:pt x="45" y="269"/>
                      <a:pt x="45" y="269"/>
                      <a:pt x="45" y="269"/>
                    </a:cubicBezTo>
                    <a:cubicBezTo>
                      <a:pt x="45" y="265"/>
                      <a:pt x="47" y="262"/>
                      <a:pt x="48" y="261"/>
                    </a:cubicBezTo>
                    <a:cubicBezTo>
                      <a:pt x="65" y="261"/>
                      <a:pt x="65" y="261"/>
                      <a:pt x="65" y="261"/>
                    </a:cubicBezTo>
                    <a:cubicBezTo>
                      <a:pt x="66" y="262"/>
                      <a:pt x="67" y="265"/>
                      <a:pt x="67" y="269"/>
                    </a:cubicBezTo>
                    <a:cubicBezTo>
                      <a:pt x="67" y="339"/>
                      <a:pt x="67" y="339"/>
                      <a:pt x="67" y="339"/>
                    </a:cubicBezTo>
                    <a:close/>
                    <a:moveTo>
                      <a:pt x="388" y="269"/>
                    </a:moveTo>
                    <a:cubicBezTo>
                      <a:pt x="388" y="265"/>
                      <a:pt x="390" y="262"/>
                      <a:pt x="391" y="261"/>
                    </a:cubicBezTo>
                    <a:cubicBezTo>
                      <a:pt x="409" y="261"/>
                      <a:pt x="409" y="261"/>
                      <a:pt x="409" y="261"/>
                    </a:cubicBezTo>
                    <a:cubicBezTo>
                      <a:pt x="410" y="262"/>
                      <a:pt x="411" y="265"/>
                      <a:pt x="411" y="269"/>
                    </a:cubicBezTo>
                    <a:cubicBezTo>
                      <a:pt x="411" y="339"/>
                      <a:pt x="411" y="339"/>
                      <a:pt x="411" y="339"/>
                    </a:cubicBezTo>
                    <a:cubicBezTo>
                      <a:pt x="411" y="344"/>
                      <a:pt x="409" y="347"/>
                      <a:pt x="408" y="347"/>
                    </a:cubicBezTo>
                    <a:cubicBezTo>
                      <a:pt x="392" y="347"/>
                      <a:pt x="392" y="347"/>
                      <a:pt x="392" y="347"/>
                    </a:cubicBezTo>
                    <a:cubicBezTo>
                      <a:pt x="391" y="347"/>
                      <a:pt x="388" y="344"/>
                      <a:pt x="388" y="339"/>
                    </a:cubicBezTo>
                    <a:cubicBezTo>
                      <a:pt x="388" y="269"/>
                      <a:pt x="388" y="269"/>
                      <a:pt x="388" y="269"/>
                    </a:cubicBezTo>
                    <a:close/>
                    <a:moveTo>
                      <a:pt x="423" y="219"/>
                    </a:moveTo>
                    <a:cubicBezTo>
                      <a:pt x="423" y="198"/>
                      <a:pt x="423" y="198"/>
                      <a:pt x="423" y="198"/>
                    </a:cubicBezTo>
                    <a:cubicBezTo>
                      <a:pt x="423" y="89"/>
                      <a:pt x="334" y="0"/>
                      <a:pt x="226" y="0"/>
                    </a:cubicBezTo>
                    <a:cubicBezTo>
                      <a:pt x="117" y="0"/>
                      <a:pt x="28" y="89"/>
                      <a:pt x="28" y="198"/>
                    </a:cubicBezTo>
                    <a:cubicBezTo>
                      <a:pt x="28" y="221"/>
                      <a:pt x="28" y="221"/>
                      <a:pt x="28" y="221"/>
                    </a:cubicBezTo>
                    <a:cubicBezTo>
                      <a:pt x="15" y="228"/>
                      <a:pt x="4" y="242"/>
                      <a:pt x="1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0" y="368"/>
                      <a:pt x="21" y="392"/>
                      <a:pt x="47" y="392"/>
                    </a:cubicBezTo>
                    <a:cubicBezTo>
                      <a:pt x="48" y="392"/>
                      <a:pt x="48" y="392"/>
                      <a:pt x="48" y="392"/>
                    </a:cubicBezTo>
                    <a:cubicBezTo>
                      <a:pt x="69" y="426"/>
                      <a:pt x="108" y="465"/>
                      <a:pt x="157" y="481"/>
                    </a:cubicBezTo>
                    <a:cubicBezTo>
                      <a:pt x="157" y="481"/>
                      <a:pt x="157" y="481"/>
                      <a:pt x="157" y="481"/>
                    </a:cubicBezTo>
                    <a:cubicBezTo>
                      <a:pt x="161" y="499"/>
                      <a:pt x="176" y="511"/>
                      <a:pt x="193" y="511"/>
                    </a:cubicBezTo>
                    <a:cubicBezTo>
                      <a:pt x="246" y="511"/>
                      <a:pt x="246" y="511"/>
                      <a:pt x="246" y="511"/>
                    </a:cubicBezTo>
                    <a:cubicBezTo>
                      <a:pt x="266" y="511"/>
                      <a:pt x="283" y="494"/>
                      <a:pt x="283" y="474"/>
                    </a:cubicBezTo>
                    <a:cubicBezTo>
                      <a:pt x="283" y="459"/>
                      <a:pt x="283" y="459"/>
                      <a:pt x="283" y="459"/>
                    </a:cubicBezTo>
                    <a:cubicBezTo>
                      <a:pt x="283" y="438"/>
                      <a:pt x="266" y="422"/>
                      <a:pt x="246" y="422"/>
                    </a:cubicBezTo>
                    <a:cubicBezTo>
                      <a:pt x="193" y="422"/>
                      <a:pt x="193" y="422"/>
                      <a:pt x="193" y="422"/>
                    </a:cubicBezTo>
                    <a:cubicBezTo>
                      <a:pt x="179" y="422"/>
                      <a:pt x="167" y="429"/>
                      <a:pt x="161" y="441"/>
                    </a:cubicBezTo>
                    <a:cubicBezTo>
                      <a:pt x="138" y="432"/>
                      <a:pt x="112" y="417"/>
                      <a:pt x="88" y="385"/>
                    </a:cubicBezTo>
                    <a:cubicBezTo>
                      <a:pt x="103" y="376"/>
                      <a:pt x="112" y="358"/>
                      <a:pt x="112" y="339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2" y="246"/>
                      <a:pt x="98" y="226"/>
                      <a:pt x="79" y="219"/>
                    </a:cubicBezTo>
                    <a:cubicBezTo>
                      <a:pt x="79" y="217"/>
                      <a:pt x="79" y="217"/>
                      <a:pt x="79" y="217"/>
                    </a:cubicBezTo>
                    <a:cubicBezTo>
                      <a:pt x="79" y="198"/>
                      <a:pt x="79" y="198"/>
                      <a:pt x="79" y="198"/>
                    </a:cubicBezTo>
                    <a:cubicBezTo>
                      <a:pt x="79" y="117"/>
                      <a:pt x="145" y="51"/>
                      <a:pt x="226" y="51"/>
                    </a:cubicBezTo>
                    <a:cubicBezTo>
                      <a:pt x="307" y="51"/>
                      <a:pt x="373" y="117"/>
                      <a:pt x="373" y="198"/>
                    </a:cubicBezTo>
                    <a:cubicBezTo>
                      <a:pt x="373" y="221"/>
                      <a:pt x="373" y="221"/>
                      <a:pt x="373" y="221"/>
                    </a:cubicBezTo>
                    <a:cubicBezTo>
                      <a:pt x="356" y="229"/>
                      <a:pt x="344" y="248"/>
                      <a:pt x="344" y="269"/>
                    </a:cubicBezTo>
                    <a:cubicBezTo>
                      <a:pt x="344" y="339"/>
                      <a:pt x="344" y="339"/>
                      <a:pt x="344" y="339"/>
                    </a:cubicBezTo>
                    <a:cubicBezTo>
                      <a:pt x="344" y="368"/>
                      <a:pt x="365" y="392"/>
                      <a:pt x="391" y="392"/>
                    </a:cubicBezTo>
                    <a:cubicBezTo>
                      <a:pt x="408" y="392"/>
                      <a:pt x="408" y="392"/>
                      <a:pt x="408" y="392"/>
                    </a:cubicBezTo>
                    <a:cubicBezTo>
                      <a:pt x="434" y="392"/>
                      <a:pt x="456" y="368"/>
                      <a:pt x="456" y="339"/>
                    </a:cubicBezTo>
                    <a:cubicBezTo>
                      <a:pt x="456" y="269"/>
                      <a:pt x="456" y="269"/>
                      <a:pt x="456" y="269"/>
                    </a:cubicBezTo>
                    <a:cubicBezTo>
                      <a:pt x="456" y="246"/>
                      <a:pt x="442" y="226"/>
                      <a:pt x="423" y="2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4" name="Freeform 19">
                <a:extLst>
                  <a:ext uri="{FF2B5EF4-FFF2-40B4-BE49-F238E27FC236}">
                    <a16:creationId xmlns:a16="http://schemas.microsoft.com/office/drawing/2014/main" id="{3B4D2569-93CF-4CD3-FBD3-DEE417286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3551238"/>
                <a:ext cx="79375" cy="866775"/>
              </a:xfrm>
              <a:custGeom>
                <a:avLst/>
                <a:gdLst>
                  <a:gd name="T0" fmla="*/ 32 w 64"/>
                  <a:gd name="T1" fmla="*/ 0 h 700"/>
                  <a:gd name="T2" fmla="*/ 0 w 64"/>
                  <a:gd name="T3" fmla="*/ 41 h 700"/>
                  <a:gd name="T4" fmla="*/ 0 w 64"/>
                  <a:gd name="T5" fmla="*/ 659 h 700"/>
                  <a:gd name="T6" fmla="*/ 32 w 64"/>
                  <a:gd name="T7" fmla="*/ 700 h 700"/>
                  <a:gd name="T8" fmla="*/ 64 w 64"/>
                  <a:gd name="T9" fmla="*/ 659 h 700"/>
                  <a:gd name="T10" fmla="*/ 64 w 64"/>
                  <a:gd name="T11" fmla="*/ 41 h 700"/>
                  <a:gd name="T12" fmla="*/ 32 w 64"/>
                  <a:gd name="T13" fmla="*/ 0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700">
                    <a:moveTo>
                      <a:pt x="32" y="0"/>
                    </a:moveTo>
                    <a:cubicBezTo>
                      <a:pt x="14" y="0"/>
                      <a:pt x="0" y="18"/>
                      <a:pt x="0" y="41"/>
                    </a:cubicBezTo>
                    <a:cubicBezTo>
                      <a:pt x="0" y="659"/>
                      <a:pt x="0" y="659"/>
                      <a:pt x="0" y="659"/>
                    </a:cubicBezTo>
                    <a:cubicBezTo>
                      <a:pt x="0" y="682"/>
                      <a:pt x="14" y="700"/>
                      <a:pt x="32" y="700"/>
                    </a:cubicBezTo>
                    <a:cubicBezTo>
                      <a:pt x="50" y="700"/>
                      <a:pt x="64" y="681"/>
                      <a:pt x="64" y="659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18"/>
                      <a:pt x="50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5" name="Freeform 20">
                <a:extLst>
                  <a:ext uri="{FF2B5EF4-FFF2-40B4-BE49-F238E27FC236}">
                    <a16:creationId xmlns:a16="http://schemas.microsoft.com/office/drawing/2014/main" id="{90BE8EEB-C4E0-9F5E-2860-EFAD1BA92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338" y="3459163"/>
                <a:ext cx="439738" cy="427038"/>
              </a:xfrm>
              <a:custGeom>
                <a:avLst/>
                <a:gdLst>
                  <a:gd name="T0" fmla="*/ 328 w 354"/>
                  <a:gd name="T1" fmla="*/ 0 h 345"/>
                  <a:gd name="T2" fmla="*/ 297 w 354"/>
                  <a:gd name="T3" fmla="*/ 14 h 345"/>
                  <a:gd name="T4" fmla="*/ 15 w 354"/>
                  <a:gd name="T5" fmla="*/ 288 h 345"/>
                  <a:gd name="T6" fmla="*/ 0 w 354"/>
                  <a:gd name="T7" fmla="*/ 319 h 345"/>
                  <a:gd name="T8" fmla="*/ 7 w 354"/>
                  <a:gd name="T9" fmla="*/ 338 h 345"/>
                  <a:gd name="T10" fmla="*/ 26 w 354"/>
                  <a:gd name="T11" fmla="*/ 345 h 345"/>
                  <a:gd name="T12" fmla="*/ 57 w 354"/>
                  <a:gd name="T13" fmla="*/ 330 h 345"/>
                  <a:gd name="T14" fmla="*/ 339 w 354"/>
                  <a:gd name="T15" fmla="*/ 56 h 345"/>
                  <a:gd name="T16" fmla="*/ 354 w 354"/>
                  <a:gd name="T17" fmla="*/ 25 h 345"/>
                  <a:gd name="T18" fmla="*/ 347 w 354"/>
                  <a:gd name="T19" fmla="*/ 7 h 345"/>
                  <a:gd name="T20" fmla="*/ 328 w 354"/>
                  <a:gd name="T21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45">
                    <a:moveTo>
                      <a:pt x="328" y="0"/>
                    </a:moveTo>
                    <a:cubicBezTo>
                      <a:pt x="318" y="0"/>
                      <a:pt x="306" y="5"/>
                      <a:pt x="297" y="14"/>
                    </a:cubicBezTo>
                    <a:cubicBezTo>
                      <a:pt x="15" y="288"/>
                      <a:pt x="15" y="288"/>
                      <a:pt x="15" y="288"/>
                    </a:cubicBezTo>
                    <a:cubicBezTo>
                      <a:pt x="6" y="297"/>
                      <a:pt x="0" y="309"/>
                      <a:pt x="0" y="319"/>
                    </a:cubicBezTo>
                    <a:cubicBezTo>
                      <a:pt x="0" y="327"/>
                      <a:pt x="3" y="333"/>
                      <a:pt x="7" y="338"/>
                    </a:cubicBezTo>
                    <a:cubicBezTo>
                      <a:pt x="12" y="342"/>
                      <a:pt x="18" y="345"/>
                      <a:pt x="26" y="345"/>
                    </a:cubicBezTo>
                    <a:cubicBezTo>
                      <a:pt x="36" y="345"/>
                      <a:pt x="48" y="339"/>
                      <a:pt x="57" y="330"/>
                    </a:cubicBezTo>
                    <a:cubicBezTo>
                      <a:pt x="339" y="56"/>
                      <a:pt x="339" y="56"/>
                      <a:pt x="339" y="56"/>
                    </a:cubicBezTo>
                    <a:cubicBezTo>
                      <a:pt x="348" y="47"/>
                      <a:pt x="354" y="35"/>
                      <a:pt x="354" y="25"/>
                    </a:cubicBezTo>
                    <a:cubicBezTo>
                      <a:pt x="354" y="18"/>
                      <a:pt x="351" y="11"/>
                      <a:pt x="347" y="7"/>
                    </a:cubicBezTo>
                    <a:cubicBezTo>
                      <a:pt x="342" y="2"/>
                      <a:pt x="335" y="0"/>
                      <a:pt x="3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6" name="Freeform 21">
                <a:extLst>
                  <a:ext uri="{FF2B5EF4-FFF2-40B4-BE49-F238E27FC236}">
                    <a16:creationId xmlns:a16="http://schemas.microsoft.com/office/drawing/2014/main" id="{E1D68DEE-508A-31F8-FAF9-305F293E09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7225" y="3452813"/>
                <a:ext cx="439738" cy="438150"/>
              </a:xfrm>
              <a:custGeom>
                <a:avLst/>
                <a:gdLst>
                  <a:gd name="T0" fmla="*/ 340 w 355"/>
                  <a:gd name="T1" fmla="*/ 297 h 354"/>
                  <a:gd name="T2" fmla="*/ 57 w 355"/>
                  <a:gd name="T3" fmla="*/ 15 h 354"/>
                  <a:gd name="T4" fmla="*/ 25 w 355"/>
                  <a:gd name="T5" fmla="*/ 0 h 354"/>
                  <a:gd name="T6" fmla="*/ 7 w 355"/>
                  <a:gd name="T7" fmla="*/ 7 h 354"/>
                  <a:gd name="T8" fmla="*/ 0 w 355"/>
                  <a:gd name="T9" fmla="*/ 26 h 354"/>
                  <a:gd name="T10" fmla="*/ 14 w 355"/>
                  <a:gd name="T11" fmla="*/ 57 h 354"/>
                  <a:gd name="T12" fmla="*/ 297 w 355"/>
                  <a:gd name="T13" fmla="*/ 340 h 354"/>
                  <a:gd name="T14" fmla="*/ 329 w 355"/>
                  <a:gd name="T15" fmla="*/ 354 h 354"/>
                  <a:gd name="T16" fmla="*/ 347 w 355"/>
                  <a:gd name="T17" fmla="*/ 347 h 354"/>
                  <a:gd name="T18" fmla="*/ 355 w 355"/>
                  <a:gd name="T19" fmla="*/ 329 h 354"/>
                  <a:gd name="T20" fmla="*/ 340 w 355"/>
                  <a:gd name="T21" fmla="*/ 29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5" h="354">
                    <a:moveTo>
                      <a:pt x="340" y="297"/>
                    </a:moveTo>
                    <a:cubicBezTo>
                      <a:pt x="57" y="15"/>
                      <a:pt x="57" y="15"/>
                      <a:pt x="57" y="15"/>
                    </a:cubicBezTo>
                    <a:cubicBezTo>
                      <a:pt x="48" y="6"/>
                      <a:pt x="36" y="0"/>
                      <a:pt x="25" y="0"/>
                    </a:cubicBezTo>
                    <a:cubicBezTo>
                      <a:pt x="18" y="0"/>
                      <a:pt x="12" y="3"/>
                      <a:pt x="7" y="7"/>
                    </a:cubicBezTo>
                    <a:cubicBezTo>
                      <a:pt x="2" y="12"/>
                      <a:pt x="0" y="18"/>
                      <a:pt x="0" y="26"/>
                    </a:cubicBezTo>
                    <a:cubicBezTo>
                      <a:pt x="0" y="36"/>
                      <a:pt x="5" y="48"/>
                      <a:pt x="14" y="57"/>
                    </a:cubicBezTo>
                    <a:cubicBezTo>
                      <a:pt x="297" y="340"/>
                      <a:pt x="297" y="340"/>
                      <a:pt x="297" y="340"/>
                    </a:cubicBezTo>
                    <a:cubicBezTo>
                      <a:pt x="307" y="349"/>
                      <a:pt x="318" y="354"/>
                      <a:pt x="329" y="354"/>
                    </a:cubicBezTo>
                    <a:cubicBezTo>
                      <a:pt x="336" y="354"/>
                      <a:pt x="343" y="352"/>
                      <a:pt x="347" y="347"/>
                    </a:cubicBezTo>
                    <a:cubicBezTo>
                      <a:pt x="352" y="342"/>
                      <a:pt x="355" y="336"/>
                      <a:pt x="355" y="329"/>
                    </a:cubicBezTo>
                    <a:cubicBezTo>
                      <a:pt x="355" y="318"/>
                      <a:pt x="349" y="306"/>
                      <a:pt x="340" y="2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47" name="Group 446">
              <a:extLst>
                <a:ext uri="{FF2B5EF4-FFF2-40B4-BE49-F238E27FC236}">
                  <a16:creationId xmlns:a16="http://schemas.microsoft.com/office/drawing/2014/main" id="{319F3ABB-EC48-0FA4-DB81-8B13548277AB}"/>
                </a:ext>
              </a:extLst>
            </p:cNvPr>
            <p:cNvGrpSpPr/>
            <p:nvPr/>
          </p:nvGrpSpPr>
          <p:grpSpPr>
            <a:xfrm>
              <a:off x="10126169" y="3819552"/>
              <a:ext cx="144204" cy="250206"/>
              <a:chOff x="3657437" y="1184241"/>
              <a:chExt cx="295418" cy="532282"/>
            </a:xfrm>
            <a:solidFill>
              <a:sysClr val="window" lastClr="FFFFFF"/>
            </a:solidFill>
          </p:grpSpPr>
          <p:sp>
            <p:nvSpPr>
              <p:cNvPr id="492" name="Freeform 7">
                <a:extLst>
                  <a:ext uri="{FF2B5EF4-FFF2-40B4-BE49-F238E27FC236}">
                    <a16:creationId xmlns:a16="http://schemas.microsoft.com/office/drawing/2014/main" id="{EF5D3972-90CF-9E31-EE44-9A15F7543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7437" y="1184241"/>
                <a:ext cx="295418" cy="532282"/>
              </a:xfrm>
              <a:custGeom>
                <a:avLst/>
                <a:gdLst>
                  <a:gd name="T0" fmla="*/ 378 w 378"/>
                  <a:gd name="T1" fmla="*/ 341 h 681"/>
                  <a:gd name="T2" fmla="*/ 378 w 378"/>
                  <a:gd name="T3" fmla="*/ 615 h 681"/>
                  <a:gd name="T4" fmla="*/ 315 w 378"/>
                  <a:gd name="T5" fmla="*/ 680 h 681"/>
                  <a:gd name="T6" fmla="*/ 62 w 378"/>
                  <a:gd name="T7" fmla="*/ 680 h 681"/>
                  <a:gd name="T8" fmla="*/ 0 w 378"/>
                  <a:gd name="T9" fmla="*/ 616 h 681"/>
                  <a:gd name="T10" fmla="*/ 0 w 378"/>
                  <a:gd name="T11" fmla="*/ 65 h 681"/>
                  <a:gd name="T12" fmla="*/ 61 w 378"/>
                  <a:gd name="T13" fmla="*/ 1 h 681"/>
                  <a:gd name="T14" fmla="*/ 316 w 378"/>
                  <a:gd name="T15" fmla="*/ 1 h 681"/>
                  <a:gd name="T16" fmla="*/ 378 w 378"/>
                  <a:gd name="T17" fmla="*/ 67 h 681"/>
                  <a:gd name="T18" fmla="*/ 378 w 378"/>
                  <a:gd name="T19" fmla="*/ 341 h 681"/>
                  <a:gd name="T20" fmla="*/ 20 w 378"/>
                  <a:gd name="T21" fmla="*/ 609 h 681"/>
                  <a:gd name="T22" fmla="*/ 358 w 378"/>
                  <a:gd name="T23" fmla="*/ 609 h 681"/>
                  <a:gd name="T24" fmla="*/ 358 w 378"/>
                  <a:gd name="T25" fmla="*/ 62 h 681"/>
                  <a:gd name="T26" fmla="*/ 20 w 378"/>
                  <a:gd name="T27" fmla="*/ 62 h 681"/>
                  <a:gd name="T28" fmla="*/ 20 w 378"/>
                  <a:gd name="T29" fmla="*/ 609 h 681"/>
                  <a:gd name="T30" fmla="*/ 194 w 378"/>
                  <a:gd name="T31" fmla="*/ 22 h 681"/>
                  <a:gd name="T32" fmla="*/ 109 w 378"/>
                  <a:gd name="T33" fmla="*/ 22 h 681"/>
                  <a:gd name="T34" fmla="*/ 93 w 378"/>
                  <a:gd name="T35" fmla="*/ 30 h 681"/>
                  <a:gd name="T36" fmla="*/ 109 w 378"/>
                  <a:gd name="T37" fmla="*/ 39 h 681"/>
                  <a:gd name="T38" fmla="*/ 279 w 378"/>
                  <a:gd name="T39" fmla="*/ 39 h 681"/>
                  <a:gd name="T40" fmla="*/ 294 w 378"/>
                  <a:gd name="T41" fmla="*/ 30 h 681"/>
                  <a:gd name="T42" fmla="*/ 279 w 378"/>
                  <a:gd name="T43" fmla="*/ 22 h 681"/>
                  <a:gd name="T44" fmla="*/ 194 w 378"/>
                  <a:gd name="T45" fmla="*/ 22 h 681"/>
                  <a:gd name="T46" fmla="*/ 325 w 378"/>
                  <a:gd name="T47" fmla="*/ 16 h 681"/>
                  <a:gd name="T48" fmla="*/ 314 w 378"/>
                  <a:gd name="T49" fmla="*/ 30 h 681"/>
                  <a:gd name="T50" fmla="*/ 322 w 378"/>
                  <a:gd name="T51" fmla="*/ 41 h 681"/>
                  <a:gd name="T52" fmla="*/ 333 w 378"/>
                  <a:gd name="T53" fmla="*/ 31 h 681"/>
                  <a:gd name="T54" fmla="*/ 325 w 378"/>
                  <a:gd name="T55" fmla="*/ 16 h 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78" h="681">
                    <a:moveTo>
                      <a:pt x="378" y="341"/>
                    </a:moveTo>
                    <a:cubicBezTo>
                      <a:pt x="378" y="432"/>
                      <a:pt x="378" y="524"/>
                      <a:pt x="378" y="615"/>
                    </a:cubicBezTo>
                    <a:cubicBezTo>
                      <a:pt x="378" y="650"/>
                      <a:pt x="351" y="680"/>
                      <a:pt x="315" y="680"/>
                    </a:cubicBezTo>
                    <a:cubicBezTo>
                      <a:pt x="231" y="681"/>
                      <a:pt x="147" y="681"/>
                      <a:pt x="62" y="680"/>
                    </a:cubicBezTo>
                    <a:cubicBezTo>
                      <a:pt x="28" y="680"/>
                      <a:pt x="0" y="650"/>
                      <a:pt x="0" y="616"/>
                    </a:cubicBezTo>
                    <a:cubicBezTo>
                      <a:pt x="0" y="433"/>
                      <a:pt x="0" y="249"/>
                      <a:pt x="0" y="65"/>
                    </a:cubicBezTo>
                    <a:cubicBezTo>
                      <a:pt x="0" y="32"/>
                      <a:pt x="27" y="2"/>
                      <a:pt x="61" y="1"/>
                    </a:cubicBezTo>
                    <a:cubicBezTo>
                      <a:pt x="146" y="0"/>
                      <a:pt x="231" y="0"/>
                      <a:pt x="316" y="1"/>
                    </a:cubicBezTo>
                    <a:cubicBezTo>
                      <a:pt x="351" y="2"/>
                      <a:pt x="378" y="31"/>
                      <a:pt x="378" y="67"/>
                    </a:cubicBezTo>
                    <a:cubicBezTo>
                      <a:pt x="378" y="158"/>
                      <a:pt x="378" y="250"/>
                      <a:pt x="378" y="341"/>
                    </a:cubicBezTo>
                    <a:close/>
                    <a:moveTo>
                      <a:pt x="20" y="609"/>
                    </a:moveTo>
                    <a:cubicBezTo>
                      <a:pt x="133" y="609"/>
                      <a:pt x="245" y="609"/>
                      <a:pt x="358" y="609"/>
                    </a:cubicBezTo>
                    <a:cubicBezTo>
                      <a:pt x="358" y="426"/>
                      <a:pt x="358" y="244"/>
                      <a:pt x="358" y="62"/>
                    </a:cubicBezTo>
                    <a:cubicBezTo>
                      <a:pt x="245" y="62"/>
                      <a:pt x="133" y="62"/>
                      <a:pt x="20" y="62"/>
                    </a:cubicBezTo>
                    <a:cubicBezTo>
                      <a:pt x="20" y="244"/>
                      <a:pt x="20" y="426"/>
                      <a:pt x="20" y="609"/>
                    </a:cubicBezTo>
                    <a:close/>
                    <a:moveTo>
                      <a:pt x="194" y="22"/>
                    </a:moveTo>
                    <a:cubicBezTo>
                      <a:pt x="166" y="22"/>
                      <a:pt x="137" y="22"/>
                      <a:pt x="109" y="22"/>
                    </a:cubicBezTo>
                    <a:cubicBezTo>
                      <a:pt x="104" y="23"/>
                      <a:pt x="98" y="28"/>
                      <a:pt x="93" y="30"/>
                    </a:cubicBezTo>
                    <a:cubicBezTo>
                      <a:pt x="98" y="33"/>
                      <a:pt x="103" y="39"/>
                      <a:pt x="109" y="39"/>
                    </a:cubicBezTo>
                    <a:cubicBezTo>
                      <a:pt x="165" y="40"/>
                      <a:pt x="222" y="40"/>
                      <a:pt x="279" y="39"/>
                    </a:cubicBezTo>
                    <a:cubicBezTo>
                      <a:pt x="284" y="39"/>
                      <a:pt x="289" y="33"/>
                      <a:pt x="294" y="30"/>
                    </a:cubicBezTo>
                    <a:cubicBezTo>
                      <a:pt x="289" y="27"/>
                      <a:pt x="284" y="23"/>
                      <a:pt x="279" y="22"/>
                    </a:cubicBezTo>
                    <a:cubicBezTo>
                      <a:pt x="251" y="22"/>
                      <a:pt x="222" y="22"/>
                      <a:pt x="194" y="22"/>
                    </a:cubicBezTo>
                    <a:close/>
                    <a:moveTo>
                      <a:pt x="325" y="16"/>
                    </a:moveTo>
                    <a:cubicBezTo>
                      <a:pt x="320" y="22"/>
                      <a:pt x="314" y="26"/>
                      <a:pt x="314" y="30"/>
                    </a:cubicBezTo>
                    <a:cubicBezTo>
                      <a:pt x="314" y="33"/>
                      <a:pt x="319" y="37"/>
                      <a:pt x="322" y="41"/>
                    </a:cubicBezTo>
                    <a:cubicBezTo>
                      <a:pt x="326" y="38"/>
                      <a:pt x="332" y="35"/>
                      <a:pt x="333" y="31"/>
                    </a:cubicBezTo>
                    <a:cubicBezTo>
                      <a:pt x="334" y="28"/>
                      <a:pt x="329" y="23"/>
                      <a:pt x="325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493" name="Group 492">
                <a:extLst>
                  <a:ext uri="{FF2B5EF4-FFF2-40B4-BE49-F238E27FC236}">
                    <a16:creationId xmlns:a16="http://schemas.microsoft.com/office/drawing/2014/main" id="{2CF93EBE-7C7D-65E5-BA03-46B1CC7E07C7}"/>
                  </a:ext>
                </a:extLst>
              </p:cNvPr>
              <p:cNvGrpSpPr/>
              <p:nvPr/>
            </p:nvGrpSpPr>
            <p:grpSpPr>
              <a:xfrm>
                <a:off x="3713395" y="1304178"/>
                <a:ext cx="183502" cy="292409"/>
                <a:chOff x="5217785" y="2416533"/>
                <a:chExt cx="92493" cy="147387"/>
              </a:xfrm>
              <a:grpFill/>
            </p:grpSpPr>
            <p:sp>
              <p:nvSpPr>
                <p:cNvPr id="494" name="Freeform 20">
                  <a:extLst>
                    <a:ext uri="{FF2B5EF4-FFF2-40B4-BE49-F238E27FC236}">
                      <a16:creationId xmlns:a16="http://schemas.microsoft.com/office/drawing/2014/main" id="{F0444432-9ED4-3605-43D6-F50496834F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7785" y="2448116"/>
                  <a:ext cx="92493" cy="115804"/>
                </a:xfrm>
                <a:custGeom>
                  <a:avLst/>
                  <a:gdLst>
                    <a:gd name="T0" fmla="*/ 298 w 307"/>
                    <a:gd name="T1" fmla="*/ 138 h 385"/>
                    <a:gd name="T2" fmla="*/ 275 w 307"/>
                    <a:gd name="T3" fmla="*/ 129 h 385"/>
                    <a:gd name="T4" fmla="*/ 252 w 307"/>
                    <a:gd name="T5" fmla="*/ 138 h 385"/>
                    <a:gd name="T6" fmla="*/ 244 w 307"/>
                    <a:gd name="T7" fmla="*/ 123 h 385"/>
                    <a:gd name="T8" fmla="*/ 221 w 307"/>
                    <a:gd name="T9" fmla="*/ 114 h 385"/>
                    <a:gd name="T10" fmla="*/ 198 w 307"/>
                    <a:gd name="T11" fmla="*/ 123 h 385"/>
                    <a:gd name="T12" fmla="*/ 190 w 307"/>
                    <a:gd name="T13" fmla="*/ 108 h 385"/>
                    <a:gd name="T14" fmla="*/ 167 w 307"/>
                    <a:gd name="T15" fmla="*/ 98 h 385"/>
                    <a:gd name="T16" fmla="*/ 147 w 307"/>
                    <a:gd name="T17" fmla="*/ 105 h 385"/>
                    <a:gd name="T18" fmla="*/ 147 w 307"/>
                    <a:gd name="T19" fmla="*/ 32 h 385"/>
                    <a:gd name="T20" fmla="*/ 138 w 307"/>
                    <a:gd name="T21" fmla="*/ 10 h 385"/>
                    <a:gd name="T22" fmla="*/ 115 w 307"/>
                    <a:gd name="T23" fmla="*/ 0 h 385"/>
                    <a:gd name="T24" fmla="*/ 92 w 307"/>
                    <a:gd name="T25" fmla="*/ 10 h 385"/>
                    <a:gd name="T26" fmla="*/ 82 w 307"/>
                    <a:gd name="T27" fmla="*/ 32 h 385"/>
                    <a:gd name="T28" fmla="*/ 82 w 307"/>
                    <a:gd name="T29" fmla="*/ 214 h 385"/>
                    <a:gd name="T30" fmla="*/ 58 w 307"/>
                    <a:gd name="T31" fmla="*/ 188 h 385"/>
                    <a:gd name="T32" fmla="*/ 37 w 307"/>
                    <a:gd name="T33" fmla="*/ 178 h 385"/>
                    <a:gd name="T34" fmla="*/ 35 w 307"/>
                    <a:gd name="T35" fmla="*/ 178 h 385"/>
                    <a:gd name="T36" fmla="*/ 14 w 307"/>
                    <a:gd name="T37" fmla="*/ 186 h 385"/>
                    <a:gd name="T38" fmla="*/ 12 w 307"/>
                    <a:gd name="T39" fmla="*/ 187 h 385"/>
                    <a:gd name="T40" fmla="*/ 1 w 307"/>
                    <a:gd name="T41" fmla="*/ 208 h 385"/>
                    <a:gd name="T42" fmla="*/ 7 w 307"/>
                    <a:gd name="T43" fmla="*/ 230 h 385"/>
                    <a:gd name="T44" fmla="*/ 93 w 307"/>
                    <a:gd name="T45" fmla="*/ 352 h 385"/>
                    <a:gd name="T46" fmla="*/ 104 w 307"/>
                    <a:gd name="T47" fmla="*/ 374 h 385"/>
                    <a:gd name="T48" fmla="*/ 132 w 307"/>
                    <a:gd name="T49" fmla="*/ 385 h 385"/>
                    <a:gd name="T50" fmla="*/ 241 w 307"/>
                    <a:gd name="T51" fmla="*/ 385 h 385"/>
                    <a:gd name="T52" fmla="*/ 269 w 307"/>
                    <a:gd name="T53" fmla="*/ 374 h 385"/>
                    <a:gd name="T54" fmla="*/ 280 w 307"/>
                    <a:gd name="T55" fmla="*/ 349 h 385"/>
                    <a:gd name="T56" fmla="*/ 302 w 307"/>
                    <a:gd name="T57" fmla="*/ 276 h 385"/>
                    <a:gd name="T58" fmla="*/ 306 w 307"/>
                    <a:gd name="T59" fmla="*/ 258 h 385"/>
                    <a:gd name="T60" fmla="*/ 307 w 307"/>
                    <a:gd name="T61" fmla="*/ 240 h 385"/>
                    <a:gd name="T62" fmla="*/ 307 w 307"/>
                    <a:gd name="T63" fmla="*/ 161 h 385"/>
                    <a:gd name="T64" fmla="*/ 298 w 307"/>
                    <a:gd name="T65" fmla="*/ 138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7" h="385">
                      <a:moveTo>
                        <a:pt x="298" y="138"/>
                      </a:moveTo>
                      <a:cubicBezTo>
                        <a:pt x="292" y="132"/>
                        <a:pt x="283" y="129"/>
                        <a:pt x="275" y="129"/>
                      </a:cubicBezTo>
                      <a:cubicBezTo>
                        <a:pt x="266" y="129"/>
                        <a:pt x="258" y="132"/>
                        <a:pt x="252" y="138"/>
                      </a:cubicBezTo>
                      <a:cubicBezTo>
                        <a:pt x="251" y="132"/>
                        <a:pt x="248" y="127"/>
                        <a:pt x="244" y="123"/>
                      </a:cubicBezTo>
                      <a:cubicBezTo>
                        <a:pt x="238" y="117"/>
                        <a:pt x="230" y="114"/>
                        <a:pt x="221" y="114"/>
                      </a:cubicBezTo>
                      <a:cubicBezTo>
                        <a:pt x="213" y="114"/>
                        <a:pt x="204" y="117"/>
                        <a:pt x="198" y="123"/>
                      </a:cubicBezTo>
                      <a:cubicBezTo>
                        <a:pt x="197" y="117"/>
                        <a:pt x="194" y="112"/>
                        <a:pt x="190" y="108"/>
                      </a:cubicBezTo>
                      <a:cubicBezTo>
                        <a:pt x="184" y="102"/>
                        <a:pt x="176" y="98"/>
                        <a:pt x="167" y="98"/>
                      </a:cubicBezTo>
                      <a:cubicBezTo>
                        <a:pt x="160" y="98"/>
                        <a:pt x="153" y="101"/>
                        <a:pt x="147" y="105"/>
                      </a:cubicBezTo>
                      <a:cubicBezTo>
                        <a:pt x="147" y="32"/>
                        <a:pt x="147" y="32"/>
                        <a:pt x="147" y="32"/>
                      </a:cubicBezTo>
                      <a:cubicBezTo>
                        <a:pt x="147" y="24"/>
                        <a:pt x="144" y="16"/>
                        <a:pt x="138" y="10"/>
                      </a:cubicBezTo>
                      <a:cubicBezTo>
                        <a:pt x="132" y="4"/>
                        <a:pt x="123" y="0"/>
                        <a:pt x="115" y="0"/>
                      </a:cubicBezTo>
                      <a:cubicBezTo>
                        <a:pt x="106" y="0"/>
                        <a:pt x="98" y="4"/>
                        <a:pt x="92" y="10"/>
                      </a:cubicBezTo>
                      <a:cubicBezTo>
                        <a:pt x="86" y="16"/>
                        <a:pt x="82" y="24"/>
                        <a:pt x="82" y="32"/>
                      </a:cubicBezTo>
                      <a:cubicBezTo>
                        <a:pt x="82" y="214"/>
                        <a:pt x="82" y="214"/>
                        <a:pt x="82" y="214"/>
                      </a:cubicBezTo>
                      <a:cubicBezTo>
                        <a:pt x="58" y="188"/>
                        <a:pt x="58" y="188"/>
                        <a:pt x="58" y="188"/>
                      </a:cubicBezTo>
                      <a:cubicBezTo>
                        <a:pt x="53" y="182"/>
                        <a:pt x="45" y="178"/>
                        <a:pt x="37" y="178"/>
                      </a:cubicBezTo>
                      <a:cubicBezTo>
                        <a:pt x="36" y="178"/>
                        <a:pt x="35" y="178"/>
                        <a:pt x="35" y="178"/>
                      </a:cubicBezTo>
                      <a:cubicBezTo>
                        <a:pt x="27" y="178"/>
                        <a:pt x="20" y="181"/>
                        <a:pt x="14" y="186"/>
                      </a:cubicBezTo>
                      <a:cubicBezTo>
                        <a:pt x="12" y="187"/>
                        <a:pt x="12" y="187"/>
                        <a:pt x="12" y="187"/>
                      </a:cubicBezTo>
                      <a:cubicBezTo>
                        <a:pt x="6" y="193"/>
                        <a:pt x="2" y="200"/>
                        <a:pt x="1" y="208"/>
                      </a:cubicBezTo>
                      <a:cubicBezTo>
                        <a:pt x="0" y="216"/>
                        <a:pt x="2" y="224"/>
                        <a:pt x="7" y="230"/>
                      </a:cubicBezTo>
                      <a:cubicBezTo>
                        <a:pt x="93" y="352"/>
                        <a:pt x="93" y="352"/>
                        <a:pt x="93" y="352"/>
                      </a:cubicBezTo>
                      <a:cubicBezTo>
                        <a:pt x="95" y="360"/>
                        <a:pt x="98" y="368"/>
                        <a:pt x="104" y="374"/>
                      </a:cubicBezTo>
                      <a:cubicBezTo>
                        <a:pt x="112" y="381"/>
                        <a:pt x="122" y="385"/>
                        <a:pt x="132" y="385"/>
                      </a:cubicBezTo>
                      <a:cubicBezTo>
                        <a:pt x="241" y="385"/>
                        <a:pt x="241" y="385"/>
                        <a:pt x="241" y="385"/>
                      </a:cubicBezTo>
                      <a:cubicBezTo>
                        <a:pt x="252" y="385"/>
                        <a:pt x="262" y="381"/>
                        <a:pt x="269" y="374"/>
                      </a:cubicBezTo>
                      <a:cubicBezTo>
                        <a:pt x="276" y="367"/>
                        <a:pt x="280" y="358"/>
                        <a:pt x="280" y="349"/>
                      </a:cubicBezTo>
                      <a:cubicBezTo>
                        <a:pt x="302" y="276"/>
                        <a:pt x="302" y="276"/>
                        <a:pt x="302" y="276"/>
                      </a:cubicBezTo>
                      <a:cubicBezTo>
                        <a:pt x="304" y="270"/>
                        <a:pt x="305" y="264"/>
                        <a:pt x="306" y="258"/>
                      </a:cubicBezTo>
                      <a:cubicBezTo>
                        <a:pt x="307" y="252"/>
                        <a:pt x="307" y="246"/>
                        <a:pt x="307" y="240"/>
                      </a:cubicBezTo>
                      <a:cubicBezTo>
                        <a:pt x="307" y="161"/>
                        <a:pt x="307" y="161"/>
                        <a:pt x="307" y="161"/>
                      </a:cubicBezTo>
                      <a:cubicBezTo>
                        <a:pt x="307" y="152"/>
                        <a:pt x="304" y="144"/>
                        <a:pt x="298" y="1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95" name="Freeform 21">
                  <a:extLst>
                    <a:ext uri="{FF2B5EF4-FFF2-40B4-BE49-F238E27FC236}">
                      <a16:creationId xmlns:a16="http://schemas.microsoft.com/office/drawing/2014/main" id="{F197DE0C-60C6-572C-D97F-46CDEC99E4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20793" y="2416533"/>
                  <a:ext cx="63166" cy="60158"/>
                </a:xfrm>
                <a:custGeom>
                  <a:avLst/>
                  <a:gdLst>
                    <a:gd name="T0" fmla="*/ 162 w 209"/>
                    <a:gd name="T1" fmla="*/ 104 h 200"/>
                    <a:gd name="T2" fmla="*/ 105 w 209"/>
                    <a:gd name="T3" fmla="*/ 47 h 200"/>
                    <a:gd name="T4" fmla="*/ 48 w 209"/>
                    <a:gd name="T5" fmla="*/ 104 h 200"/>
                    <a:gd name="T6" fmla="*/ 64 w 209"/>
                    <a:gd name="T7" fmla="*/ 144 h 200"/>
                    <a:gd name="T8" fmla="*/ 64 w 209"/>
                    <a:gd name="T9" fmla="*/ 136 h 200"/>
                    <a:gd name="T10" fmla="*/ 69 w 209"/>
                    <a:gd name="T11" fmla="*/ 117 h 200"/>
                    <a:gd name="T12" fmla="*/ 67 w 209"/>
                    <a:gd name="T13" fmla="*/ 104 h 200"/>
                    <a:gd name="T14" fmla="*/ 105 w 209"/>
                    <a:gd name="T15" fmla="*/ 67 h 200"/>
                    <a:gd name="T16" fmla="*/ 143 w 209"/>
                    <a:gd name="T17" fmla="*/ 104 h 200"/>
                    <a:gd name="T18" fmla="*/ 140 w 209"/>
                    <a:gd name="T19" fmla="*/ 117 h 200"/>
                    <a:gd name="T20" fmla="*/ 145 w 209"/>
                    <a:gd name="T21" fmla="*/ 136 h 200"/>
                    <a:gd name="T22" fmla="*/ 145 w 209"/>
                    <a:gd name="T23" fmla="*/ 144 h 200"/>
                    <a:gd name="T24" fmla="*/ 162 w 209"/>
                    <a:gd name="T25" fmla="*/ 104 h 200"/>
                    <a:gd name="T26" fmla="*/ 0 w 209"/>
                    <a:gd name="T27" fmla="*/ 104 h 200"/>
                    <a:gd name="T28" fmla="*/ 105 w 209"/>
                    <a:gd name="T29" fmla="*/ 0 h 200"/>
                    <a:gd name="T30" fmla="*/ 209 w 209"/>
                    <a:gd name="T31" fmla="*/ 104 h 200"/>
                    <a:gd name="T32" fmla="*/ 158 w 209"/>
                    <a:gd name="T33" fmla="*/ 194 h 200"/>
                    <a:gd name="T34" fmla="*/ 157 w 209"/>
                    <a:gd name="T35" fmla="*/ 194 h 200"/>
                    <a:gd name="T36" fmla="*/ 145 w 209"/>
                    <a:gd name="T37" fmla="*/ 196 h 200"/>
                    <a:gd name="T38" fmla="*/ 145 w 209"/>
                    <a:gd name="T39" fmla="*/ 179 h 200"/>
                    <a:gd name="T40" fmla="*/ 190 w 209"/>
                    <a:gd name="T41" fmla="*/ 104 h 200"/>
                    <a:gd name="T42" fmla="*/ 105 w 209"/>
                    <a:gd name="T43" fmla="*/ 19 h 200"/>
                    <a:gd name="T44" fmla="*/ 20 w 209"/>
                    <a:gd name="T45" fmla="*/ 104 h 200"/>
                    <a:gd name="T46" fmla="*/ 64 w 209"/>
                    <a:gd name="T47" fmla="*/ 179 h 200"/>
                    <a:gd name="T48" fmla="*/ 64 w 209"/>
                    <a:gd name="T49" fmla="*/ 200 h 200"/>
                    <a:gd name="T50" fmla="*/ 0 w 209"/>
                    <a:gd name="T51" fmla="*/ 104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09" h="200">
                      <a:moveTo>
                        <a:pt x="162" y="104"/>
                      </a:moveTo>
                      <a:cubicBezTo>
                        <a:pt x="162" y="73"/>
                        <a:pt x="136" y="47"/>
                        <a:pt x="105" y="47"/>
                      </a:cubicBezTo>
                      <a:cubicBezTo>
                        <a:pt x="73" y="47"/>
                        <a:pt x="48" y="73"/>
                        <a:pt x="48" y="104"/>
                      </a:cubicBezTo>
                      <a:cubicBezTo>
                        <a:pt x="48" y="120"/>
                        <a:pt x="54" y="134"/>
                        <a:pt x="64" y="144"/>
                      </a:cubicBezTo>
                      <a:cubicBezTo>
                        <a:pt x="64" y="136"/>
                        <a:pt x="64" y="136"/>
                        <a:pt x="64" y="136"/>
                      </a:cubicBezTo>
                      <a:cubicBezTo>
                        <a:pt x="64" y="129"/>
                        <a:pt x="66" y="123"/>
                        <a:pt x="69" y="117"/>
                      </a:cubicBezTo>
                      <a:cubicBezTo>
                        <a:pt x="68" y="113"/>
                        <a:pt x="67" y="109"/>
                        <a:pt x="67" y="104"/>
                      </a:cubicBezTo>
                      <a:cubicBezTo>
                        <a:pt x="67" y="84"/>
                        <a:pt x="84" y="67"/>
                        <a:pt x="105" y="67"/>
                      </a:cubicBezTo>
                      <a:cubicBezTo>
                        <a:pt x="126" y="67"/>
                        <a:pt x="143" y="84"/>
                        <a:pt x="143" y="104"/>
                      </a:cubicBezTo>
                      <a:cubicBezTo>
                        <a:pt x="143" y="109"/>
                        <a:pt x="142" y="113"/>
                        <a:pt x="140" y="117"/>
                      </a:cubicBezTo>
                      <a:cubicBezTo>
                        <a:pt x="143" y="123"/>
                        <a:pt x="145" y="129"/>
                        <a:pt x="145" y="136"/>
                      </a:cubicBezTo>
                      <a:cubicBezTo>
                        <a:pt x="145" y="144"/>
                        <a:pt x="145" y="144"/>
                        <a:pt x="145" y="144"/>
                      </a:cubicBezTo>
                      <a:cubicBezTo>
                        <a:pt x="155" y="134"/>
                        <a:pt x="162" y="120"/>
                        <a:pt x="162" y="104"/>
                      </a:cubicBezTo>
                      <a:close/>
                      <a:moveTo>
                        <a:pt x="0" y="104"/>
                      </a:moveTo>
                      <a:cubicBezTo>
                        <a:pt x="0" y="47"/>
                        <a:pt x="47" y="0"/>
                        <a:pt x="105" y="0"/>
                      </a:cubicBezTo>
                      <a:cubicBezTo>
                        <a:pt x="162" y="0"/>
                        <a:pt x="209" y="47"/>
                        <a:pt x="209" y="104"/>
                      </a:cubicBezTo>
                      <a:cubicBezTo>
                        <a:pt x="209" y="143"/>
                        <a:pt x="188" y="176"/>
                        <a:pt x="158" y="194"/>
                      </a:cubicBezTo>
                      <a:cubicBezTo>
                        <a:pt x="157" y="194"/>
                        <a:pt x="157" y="194"/>
                        <a:pt x="157" y="194"/>
                      </a:cubicBezTo>
                      <a:cubicBezTo>
                        <a:pt x="153" y="194"/>
                        <a:pt x="149" y="195"/>
                        <a:pt x="145" y="196"/>
                      </a:cubicBezTo>
                      <a:cubicBezTo>
                        <a:pt x="145" y="179"/>
                        <a:pt x="145" y="179"/>
                        <a:pt x="145" y="179"/>
                      </a:cubicBezTo>
                      <a:cubicBezTo>
                        <a:pt x="172" y="164"/>
                        <a:pt x="190" y="136"/>
                        <a:pt x="190" y="104"/>
                      </a:cubicBezTo>
                      <a:cubicBezTo>
                        <a:pt x="190" y="57"/>
                        <a:pt x="152" y="19"/>
                        <a:pt x="105" y="19"/>
                      </a:cubicBezTo>
                      <a:cubicBezTo>
                        <a:pt x="58" y="19"/>
                        <a:pt x="20" y="57"/>
                        <a:pt x="20" y="104"/>
                      </a:cubicBezTo>
                      <a:cubicBezTo>
                        <a:pt x="20" y="136"/>
                        <a:pt x="38" y="164"/>
                        <a:pt x="64" y="179"/>
                      </a:cubicBezTo>
                      <a:cubicBezTo>
                        <a:pt x="64" y="200"/>
                        <a:pt x="64" y="200"/>
                        <a:pt x="64" y="200"/>
                      </a:cubicBezTo>
                      <a:cubicBezTo>
                        <a:pt x="27" y="185"/>
                        <a:pt x="0" y="147"/>
                        <a:pt x="0" y="10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520077F7-C15C-3DA6-37A4-5645F0CC89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495461" y="4423486"/>
              <a:ext cx="203626" cy="202465"/>
              <a:chOff x="-2636838" y="3625850"/>
              <a:chExt cx="2228850" cy="2216150"/>
            </a:xfrm>
            <a:solidFill>
              <a:sysClr val="window" lastClr="FFFFFF"/>
            </a:solidFill>
          </p:grpSpPr>
          <p:sp>
            <p:nvSpPr>
              <p:cNvPr id="489" name="Freeform 5">
                <a:extLst>
                  <a:ext uri="{FF2B5EF4-FFF2-40B4-BE49-F238E27FC236}">
                    <a16:creationId xmlns:a16="http://schemas.microsoft.com/office/drawing/2014/main" id="{9A76AC50-12FB-73E4-E314-73BF6D03B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36838" y="4356100"/>
                <a:ext cx="2228850" cy="1485900"/>
              </a:xfrm>
              <a:custGeom>
                <a:avLst/>
                <a:gdLst>
                  <a:gd name="T0" fmla="*/ 557 w 656"/>
                  <a:gd name="T1" fmla="*/ 372 h 437"/>
                  <a:gd name="T2" fmla="*/ 571 w 656"/>
                  <a:gd name="T3" fmla="*/ 376 h 437"/>
                  <a:gd name="T4" fmla="*/ 593 w 656"/>
                  <a:gd name="T5" fmla="*/ 410 h 437"/>
                  <a:gd name="T6" fmla="*/ 563 w 656"/>
                  <a:gd name="T7" fmla="*/ 437 h 437"/>
                  <a:gd name="T8" fmla="*/ 551 w 656"/>
                  <a:gd name="T9" fmla="*/ 437 h 437"/>
                  <a:gd name="T10" fmla="*/ 43 w 656"/>
                  <a:gd name="T11" fmla="*/ 437 h 437"/>
                  <a:gd name="T12" fmla="*/ 35 w 656"/>
                  <a:gd name="T13" fmla="*/ 437 h 437"/>
                  <a:gd name="T14" fmla="*/ 1 w 656"/>
                  <a:gd name="T15" fmla="*/ 408 h 437"/>
                  <a:gd name="T16" fmla="*/ 33 w 656"/>
                  <a:gd name="T17" fmla="*/ 374 h 437"/>
                  <a:gd name="T18" fmla="*/ 136 w 656"/>
                  <a:gd name="T19" fmla="*/ 366 h 437"/>
                  <a:gd name="T20" fmla="*/ 479 w 656"/>
                  <a:gd name="T21" fmla="*/ 341 h 437"/>
                  <a:gd name="T22" fmla="*/ 506 w 656"/>
                  <a:gd name="T23" fmla="*/ 319 h 437"/>
                  <a:gd name="T24" fmla="*/ 587 w 656"/>
                  <a:gd name="T25" fmla="*/ 41 h 437"/>
                  <a:gd name="T26" fmla="*/ 591 w 656"/>
                  <a:gd name="T27" fmla="*/ 26 h 437"/>
                  <a:gd name="T28" fmla="*/ 631 w 656"/>
                  <a:gd name="T29" fmla="*/ 5 h 437"/>
                  <a:gd name="T30" fmla="*/ 652 w 656"/>
                  <a:gd name="T31" fmla="*/ 43 h 437"/>
                  <a:gd name="T32" fmla="*/ 613 w 656"/>
                  <a:gd name="T33" fmla="*/ 178 h 437"/>
                  <a:gd name="T34" fmla="*/ 562 w 656"/>
                  <a:gd name="T35" fmla="*/ 354 h 437"/>
                  <a:gd name="T36" fmla="*/ 557 w 656"/>
                  <a:gd name="T37" fmla="*/ 372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56" h="437">
                    <a:moveTo>
                      <a:pt x="557" y="372"/>
                    </a:moveTo>
                    <a:cubicBezTo>
                      <a:pt x="562" y="373"/>
                      <a:pt x="567" y="374"/>
                      <a:pt x="571" y="376"/>
                    </a:cubicBezTo>
                    <a:cubicBezTo>
                      <a:pt x="587" y="382"/>
                      <a:pt x="595" y="393"/>
                      <a:pt x="593" y="410"/>
                    </a:cubicBezTo>
                    <a:cubicBezTo>
                      <a:pt x="590" y="426"/>
                      <a:pt x="580" y="436"/>
                      <a:pt x="563" y="437"/>
                    </a:cubicBezTo>
                    <a:cubicBezTo>
                      <a:pt x="559" y="437"/>
                      <a:pt x="555" y="437"/>
                      <a:pt x="551" y="437"/>
                    </a:cubicBezTo>
                    <a:cubicBezTo>
                      <a:pt x="382" y="437"/>
                      <a:pt x="213" y="437"/>
                      <a:pt x="43" y="437"/>
                    </a:cubicBezTo>
                    <a:cubicBezTo>
                      <a:pt x="41" y="437"/>
                      <a:pt x="38" y="437"/>
                      <a:pt x="35" y="437"/>
                    </a:cubicBezTo>
                    <a:cubicBezTo>
                      <a:pt x="15" y="436"/>
                      <a:pt x="2" y="425"/>
                      <a:pt x="1" y="408"/>
                    </a:cubicBezTo>
                    <a:cubicBezTo>
                      <a:pt x="0" y="390"/>
                      <a:pt x="12" y="376"/>
                      <a:pt x="33" y="374"/>
                    </a:cubicBezTo>
                    <a:cubicBezTo>
                      <a:pt x="67" y="371"/>
                      <a:pt x="102" y="368"/>
                      <a:pt x="136" y="366"/>
                    </a:cubicBezTo>
                    <a:cubicBezTo>
                      <a:pt x="250" y="357"/>
                      <a:pt x="365" y="349"/>
                      <a:pt x="479" y="341"/>
                    </a:cubicBezTo>
                    <a:cubicBezTo>
                      <a:pt x="494" y="340"/>
                      <a:pt x="502" y="334"/>
                      <a:pt x="506" y="319"/>
                    </a:cubicBezTo>
                    <a:cubicBezTo>
                      <a:pt x="533" y="226"/>
                      <a:pt x="560" y="134"/>
                      <a:pt x="587" y="41"/>
                    </a:cubicBezTo>
                    <a:cubicBezTo>
                      <a:pt x="588" y="36"/>
                      <a:pt x="590" y="31"/>
                      <a:pt x="591" y="26"/>
                    </a:cubicBezTo>
                    <a:cubicBezTo>
                      <a:pt x="598" y="8"/>
                      <a:pt x="614" y="0"/>
                      <a:pt x="631" y="5"/>
                    </a:cubicBezTo>
                    <a:cubicBezTo>
                      <a:pt x="647" y="10"/>
                      <a:pt x="656" y="25"/>
                      <a:pt x="652" y="43"/>
                    </a:cubicBezTo>
                    <a:cubicBezTo>
                      <a:pt x="639" y="88"/>
                      <a:pt x="626" y="133"/>
                      <a:pt x="613" y="178"/>
                    </a:cubicBezTo>
                    <a:cubicBezTo>
                      <a:pt x="596" y="236"/>
                      <a:pt x="579" y="295"/>
                      <a:pt x="562" y="354"/>
                    </a:cubicBezTo>
                    <a:cubicBezTo>
                      <a:pt x="560" y="360"/>
                      <a:pt x="559" y="365"/>
                      <a:pt x="557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0" name="Freeform 6">
                <a:extLst>
                  <a:ext uri="{FF2B5EF4-FFF2-40B4-BE49-F238E27FC236}">
                    <a16:creationId xmlns:a16="http://schemas.microsoft.com/office/drawing/2014/main" id="{9FB25AD0-B677-4FAF-A373-AE985AC44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82838" y="3968750"/>
                <a:ext cx="1471613" cy="1465263"/>
              </a:xfrm>
              <a:custGeom>
                <a:avLst/>
                <a:gdLst>
                  <a:gd name="T0" fmla="*/ 220 w 433"/>
                  <a:gd name="T1" fmla="*/ 241 h 431"/>
                  <a:gd name="T2" fmla="*/ 174 w 433"/>
                  <a:gd name="T3" fmla="*/ 327 h 431"/>
                  <a:gd name="T4" fmla="*/ 140 w 433"/>
                  <a:gd name="T5" fmla="*/ 350 h 431"/>
                  <a:gd name="T6" fmla="*/ 38 w 433"/>
                  <a:gd name="T7" fmla="*/ 359 h 431"/>
                  <a:gd name="T8" fmla="*/ 1 w 433"/>
                  <a:gd name="T9" fmla="*/ 331 h 431"/>
                  <a:gd name="T10" fmla="*/ 35 w 433"/>
                  <a:gd name="T11" fmla="*/ 299 h 431"/>
                  <a:gd name="T12" fmla="*/ 112 w 433"/>
                  <a:gd name="T13" fmla="*/ 292 h 431"/>
                  <a:gd name="T14" fmla="*/ 130 w 433"/>
                  <a:gd name="T15" fmla="*/ 283 h 431"/>
                  <a:gd name="T16" fmla="*/ 170 w 433"/>
                  <a:gd name="T17" fmla="*/ 208 h 431"/>
                  <a:gd name="T18" fmla="*/ 160 w 433"/>
                  <a:gd name="T19" fmla="*/ 154 h 431"/>
                  <a:gd name="T20" fmla="*/ 206 w 433"/>
                  <a:gd name="T21" fmla="*/ 59 h 431"/>
                  <a:gd name="T22" fmla="*/ 152 w 433"/>
                  <a:gd name="T23" fmla="*/ 63 h 431"/>
                  <a:gd name="T24" fmla="*/ 116 w 433"/>
                  <a:gd name="T25" fmla="*/ 91 h 431"/>
                  <a:gd name="T26" fmla="*/ 77 w 433"/>
                  <a:gd name="T27" fmla="*/ 88 h 431"/>
                  <a:gd name="T28" fmla="*/ 85 w 433"/>
                  <a:gd name="T29" fmla="*/ 50 h 431"/>
                  <a:gd name="T30" fmla="*/ 145 w 433"/>
                  <a:gd name="T31" fmla="*/ 7 h 431"/>
                  <a:gd name="T32" fmla="*/ 184 w 433"/>
                  <a:gd name="T33" fmla="*/ 1 h 431"/>
                  <a:gd name="T34" fmla="*/ 261 w 433"/>
                  <a:gd name="T35" fmla="*/ 7 h 431"/>
                  <a:gd name="T36" fmla="*/ 307 w 433"/>
                  <a:gd name="T37" fmla="*/ 40 h 431"/>
                  <a:gd name="T38" fmla="*/ 331 w 433"/>
                  <a:gd name="T39" fmla="*/ 89 h 431"/>
                  <a:gd name="T40" fmla="*/ 391 w 433"/>
                  <a:gd name="T41" fmla="*/ 67 h 431"/>
                  <a:gd name="T42" fmla="*/ 427 w 433"/>
                  <a:gd name="T43" fmla="*/ 80 h 431"/>
                  <a:gd name="T44" fmla="*/ 409 w 433"/>
                  <a:gd name="T45" fmla="*/ 115 h 431"/>
                  <a:gd name="T46" fmla="*/ 338 w 433"/>
                  <a:gd name="T47" fmla="*/ 141 h 431"/>
                  <a:gd name="T48" fmla="*/ 304 w 433"/>
                  <a:gd name="T49" fmla="*/ 132 h 431"/>
                  <a:gd name="T50" fmla="*/ 286 w 433"/>
                  <a:gd name="T51" fmla="*/ 111 h 431"/>
                  <a:gd name="T52" fmla="*/ 248 w 433"/>
                  <a:gd name="T53" fmla="*/ 188 h 431"/>
                  <a:gd name="T54" fmla="*/ 323 w 433"/>
                  <a:gd name="T55" fmla="*/ 240 h 431"/>
                  <a:gd name="T56" fmla="*/ 353 w 433"/>
                  <a:gd name="T57" fmla="*/ 280 h 431"/>
                  <a:gd name="T58" fmla="*/ 391 w 433"/>
                  <a:gd name="T59" fmla="*/ 381 h 431"/>
                  <a:gd name="T60" fmla="*/ 374 w 433"/>
                  <a:gd name="T61" fmla="*/ 425 h 431"/>
                  <a:gd name="T62" fmla="*/ 335 w 433"/>
                  <a:gd name="T63" fmla="*/ 401 h 431"/>
                  <a:gd name="T64" fmla="*/ 303 w 433"/>
                  <a:gd name="T65" fmla="*/ 313 h 431"/>
                  <a:gd name="T66" fmla="*/ 277 w 433"/>
                  <a:gd name="T67" fmla="*/ 280 h 431"/>
                  <a:gd name="T68" fmla="*/ 220 w 433"/>
                  <a:gd name="T69" fmla="*/ 24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33" h="431">
                    <a:moveTo>
                      <a:pt x="220" y="241"/>
                    </a:moveTo>
                    <a:cubicBezTo>
                      <a:pt x="204" y="271"/>
                      <a:pt x="188" y="298"/>
                      <a:pt x="174" y="327"/>
                    </a:cubicBezTo>
                    <a:cubicBezTo>
                      <a:pt x="167" y="341"/>
                      <a:pt x="155" y="349"/>
                      <a:pt x="140" y="350"/>
                    </a:cubicBezTo>
                    <a:cubicBezTo>
                      <a:pt x="106" y="353"/>
                      <a:pt x="72" y="356"/>
                      <a:pt x="38" y="359"/>
                    </a:cubicBezTo>
                    <a:cubicBezTo>
                      <a:pt x="16" y="360"/>
                      <a:pt x="2" y="349"/>
                      <a:pt x="1" y="331"/>
                    </a:cubicBezTo>
                    <a:cubicBezTo>
                      <a:pt x="0" y="314"/>
                      <a:pt x="13" y="301"/>
                      <a:pt x="35" y="299"/>
                    </a:cubicBezTo>
                    <a:cubicBezTo>
                      <a:pt x="61" y="297"/>
                      <a:pt x="86" y="296"/>
                      <a:pt x="112" y="292"/>
                    </a:cubicBezTo>
                    <a:cubicBezTo>
                      <a:pt x="118" y="292"/>
                      <a:pt x="127" y="288"/>
                      <a:pt x="130" y="283"/>
                    </a:cubicBezTo>
                    <a:cubicBezTo>
                      <a:pt x="144" y="259"/>
                      <a:pt x="156" y="234"/>
                      <a:pt x="170" y="208"/>
                    </a:cubicBezTo>
                    <a:cubicBezTo>
                      <a:pt x="148" y="193"/>
                      <a:pt x="150" y="174"/>
                      <a:pt x="160" y="154"/>
                    </a:cubicBezTo>
                    <a:cubicBezTo>
                      <a:pt x="176" y="123"/>
                      <a:pt x="191" y="92"/>
                      <a:pt x="206" y="59"/>
                    </a:cubicBezTo>
                    <a:cubicBezTo>
                      <a:pt x="187" y="51"/>
                      <a:pt x="170" y="47"/>
                      <a:pt x="152" y="63"/>
                    </a:cubicBezTo>
                    <a:cubicBezTo>
                      <a:pt x="142" y="74"/>
                      <a:pt x="128" y="82"/>
                      <a:pt x="116" y="91"/>
                    </a:cubicBezTo>
                    <a:cubicBezTo>
                      <a:pt x="102" y="101"/>
                      <a:pt x="89" y="102"/>
                      <a:pt x="77" y="88"/>
                    </a:cubicBezTo>
                    <a:cubicBezTo>
                      <a:pt x="67" y="76"/>
                      <a:pt x="71" y="61"/>
                      <a:pt x="85" y="50"/>
                    </a:cubicBezTo>
                    <a:cubicBezTo>
                      <a:pt x="104" y="35"/>
                      <a:pt x="123" y="19"/>
                      <a:pt x="145" y="7"/>
                    </a:cubicBezTo>
                    <a:cubicBezTo>
                      <a:pt x="156" y="0"/>
                      <a:pt x="171" y="1"/>
                      <a:pt x="184" y="1"/>
                    </a:cubicBezTo>
                    <a:cubicBezTo>
                      <a:pt x="210" y="2"/>
                      <a:pt x="235" y="6"/>
                      <a:pt x="261" y="7"/>
                    </a:cubicBezTo>
                    <a:cubicBezTo>
                      <a:pt x="281" y="8"/>
                      <a:pt x="299" y="21"/>
                      <a:pt x="307" y="40"/>
                    </a:cubicBezTo>
                    <a:cubicBezTo>
                      <a:pt x="313" y="57"/>
                      <a:pt x="323" y="72"/>
                      <a:pt x="331" y="89"/>
                    </a:cubicBezTo>
                    <a:cubicBezTo>
                      <a:pt x="354" y="81"/>
                      <a:pt x="373" y="74"/>
                      <a:pt x="391" y="67"/>
                    </a:cubicBezTo>
                    <a:cubicBezTo>
                      <a:pt x="407" y="61"/>
                      <a:pt x="419" y="65"/>
                      <a:pt x="427" y="80"/>
                    </a:cubicBezTo>
                    <a:cubicBezTo>
                      <a:pt x="433" y="94"/>
                      <a:pt x="426" y="108"/>
                      <a:pt x="409" y="115"/>
                    </a:cubicBezTo>
                    <a:cubicBezTo>
                      <a:pt x="386" y="124"/>
                      <a:pt x="362" y="132"/>
                      <a:pt x="338" y="141"/>
                    </a:cubicBezTo>
                    <a:cubicBezTo>
                      <a:pt x="325" y="146"/>
                      <a:pt x="313" y="143"/>
                      <a:pt x="304" y="132"/>
                    </a:cubicBezTo>
                    <a:cubicBezTo>
                      <a:pt x="299" y="126"/>
                      <a:pt x="294" y="120"/>
                      <a:pt x="286" y="111"/>
                    </a:cubicBezTo>
                    <a:cubicBezTo>
                      <a:pt x="273" y="138"/>
                      <a:pt x="261" y="162"/>
                      <a:pt x="248" y="188"/>
                    </a:cubicBezTo>
                    <a:cubicBezTo>
                      <a:pt x="274" y="206"/>
                      <a:pt x="299" y="221"/>
                      <a:pt x="323" y="240"/>
                    </a:cubicBezTo>
                    <a:cubicBezTo>
                      <a:pt x="335" y="250"/>
                      <a:pt x="347" y="265"/>
                      <a:pt x="353" y="280"/>
                    </a:cubicBezTo>
                    <a:cubicBezTo>
                      <a:pt x="368" y="312"/>
                      <a:pt x="379" y="347"/>
                      <a:pt x="391" y="381"/>
                    </a:cubicBezTo>
                    <a:cubicBezTo>
                      <a:pt x="398" y="403"/>
                      <a:pt x="392" y="419"/>
                      <a:pt x="374" y="425"/>
                    </a:cubicBezTo>
                    <a:cubicBezTo>
                      <a:pt x="358" y="431"/>
                      <a:pt x="343" y="422"/>
                      <a:pt x="335" y="401"/>
                    </a:cubicBezTo>
                    <a:cubicBezTo>
                      <a:pt x="324" y="372"/>
                      <a:pt x="315" y="342"/>
                      <a:pt x="303" y="313"/>
                    </a:cubicBezTo>
                    <a:cubicBezTo>
                      <a:pt x="298" y="301"/>
                      <a:pt x="288" y="289"/>
                      <a:pt x="277" y="280"/>
                    </a:cubicBezTo>
                    <a:cubicBezTo>
                      <a:pt x="260" y="266"/>
                      <a:pt x="241" y="255"/>
                      <a:pt x="220" y="2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1" name="Freeform 7">
                <a:extLst>
                  <a:ext uri="{FF2B5EF4-FFF2-40B4-BE49-F238E27FC236}">
                    <a16:creationId xmlns:a16="http://schemas.microsoft.com/office/drawing/2014/main" id="{808A8369-DCF2-8ACA-0631-F7CBCDE2C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08126" y="3625850"/>
                <a:ext cx="366713" cy="369888"/>
              </a:xfrm>
              <a:custGeom>
                <a:avLst/>
                <a:gdLst>
                  <a:gd name="T0" fmla="*/ 108 w 108"/>
                  <a:gd name="T1" fmla="*/ 55 h 109"/>
                  <a:gd name="T2" fmla="*/ 55 w 108"/>
                  <a:gd name="T3" fmla="*/ 109 h 109"/>
                  <a:gd name="T4" fmla="*/ 0 w 108"/>
                  <a:gd name="T5" fmla="*/ 55 h 109"/>
                  <a:gd name="T6" fmla="*/ 55 w 108"/>
                  <a:gd name="T7" fmla="*/ 1 h 109"/>
                  <a:gd name="T8" fmla="*/ 108 w 108"/>
                  <a:gd name="T9" fmla="*/ 5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109">
                    <a:moveTo>
                      <a:pt x="108" y="55"/>
                    </a:moveTo>
                    <a:cubicBezTo>
                      <a:pt x="108" y="85"/>
                      <a:pt x="85" y="108"/>
                      <a:pt x="55" y="109"/>
                    </a:cubicBezTo>
                    <a:cubicBezTo>
                      <a:pt x="25" y="109"/>
                      <a:pt x="0" y="85"/>
                      <a:pt x="0" y="55"/>
                    </a:cubicBezTo>
                    <a:cubicBezTo>
                      <a:pt x="0" y="26"/>
                      <a:pt x="26" y="0"/>
                      <a:pt x="55" y="1"/>
                    </a:cubicBezTo>
                    <a:cubicBezTo>
                      <a:pt x="85" y="1"/>
                      <a:pt x="108" y="25"/>
                      <a:pt x="108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D547D7C5-2E6D-350F-C906-E81393B9F1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69560" y="4190193"/>
              <a:ext cx="288337" cy="158008"/>
              <a:chOff x="6102764" y="2369472"/>
              <a:chExt cx="1570976" cy="860885"/>
            </a:xfrm>
            <a:solidFill>
              <a:sysClr val="window" lastClr="FFFFFF"/>
            </a:solidFill>
          </p:grpSpPr>
          <p:sp>
            <p:nvSpPr>
              <p:cNvPr id="478" name="Freeform 7">
                <a:extLst>
                  <a:ext uri="{FF2B5EF4-FFF2-40B4-BE49-F238E27FC236}">
                    <a16:creationId xmlns:a16="http://schemas.microsoft.com/office/drawing/2014/main" id="{CCF6B71E-CFA8-3CD8-F2D8-F86B9C2F4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2066" y="2693646"/>
                <a:ext cx="901674" cy="534565"/>
              </a:xfrm>
              <a:custGeom>
                <a:avLst/>
                <a:gdLst>
                  <a:gd name="T0" fmla="*/ 58 w 457"/>
                  <a:gd name="T1" fmla="*/ 271 h 271"/>
                  <a:gd name="T2" fmla="*/ 35 w 457"/>
                  <a:gd name="T3" fmla="*/ 271 h 271"/>
                  <a:gd name="T4" fmla="*/ 35 w 457"/>
                  <a:gd name="T5" fmla="*/ 259 h 271"/>
                  <a:gd name="T6" fmla="*/ 4 w 457"/>
                  <a:gd name="T7" fmla="*/ 243 h 271"/>
                  <a:gd name="T8" fmla="*/ 17 w 457"/>
                  <a:gd name="T9" fmla="*/ 214 h 271"/>
                  <a:gd name="T10" fmla="*/ 70 w 457"/>
                  <a:gd name="T11" fmla="*/ 194 h 271"/>
                  <a:gd name="T12" fmla="*/ 182 w 457"/>
                  <a:gd name="T13" fmla="*/ 183 h 271"/>
                  <a:gd name="T14" fmla="*/ 276 w 457"/>
                  <a:gd name="T15" fmla="*/ 207 h 271"/>
                  <a:gd name="T16" fmla="*/ 286 w 457"/>
                  <a:gd name="T17" fmla="*/ 204 h 271"/>
                  <a:gd name="T18" fmla="*/ 317 w 457"/>
                  <a:gd name="T19" fmla="*/ 157 h 271"/>
                  <a:gd name="T20" fmla="*/ 357 w 457"/>
                  <a:gd name="T21" fmla="*/ 96 h 271"/>
                  <a:gd name="T22" fmla="*/ 411 w 457"/>
                  <a:gd name="T23" fmla="*/ 16 h 271"/>
                  <a:gd name="T24" fmla="*/ 450 w 457"/>
                  <a:gd name="T25" fmla="*/ 13 h 271"/>
                  <a:gd name="T26" fmla="*/ 452 w 457"/>
                  <a:gd name="T27" fmla="*/ 38 h 271"/>
                  <a:gd name="T28" fmla="*/ 430 w 457"/>
                  <a:gd name="T29" fmla="*/ 72 h 271"/>
                  <a:gd name="T30" fmla="*/ 400 w 457"/>
                  <a:gd name="T31" fmla="*/ 116 h 271"/>
                  <a:gd name="T32" fmla="*/ 372 w 457"/>
                  <a:gd name="T33" fmla="*/ 161 h 271"/>
                  <a:gd name="T34" fmla="*/ 351 w 457"/>
                  <a:gd name="T35" fmla="*/ 190 h 271"/>
                  <a:gd name="T36" fmla="*/ 323 w 457"/>
                  <a:gd name="T37" fmla="*/ 234 h 271"/>
                  <a:gd name="T38" fmla="*/ 318 w 457"/>
                  <a:gd name="T39" fmla="*/ 240 h 271"/>
                  <a:gd name="T40" fmla="*/ 309 w 457"/>
                  <a:gd name="T41" fmla="*/ 271 h 271"/>
                  <a:gd name="T42" fmla="*/ 286 w 457"/>
                  <a:gd name="T43" fmla="*/ 271 h 271"/>
                  <a:gd name="T44" fmla="*/ 285 w 457"/>
                  <a:gd name="T45" fmla="*/ 270 h 271"/>
                  <a:gd name="T46" fmla="*/ 273 w 457"/>
                  <a:gd name="T47" fmla="*/ 255 h 271"/>
                  <a:gd name="T48" fmla="*/ 152 w 457"/>
                  <a:gd name="T49" fmla="*/ 227 h 271"/>
                  <a:gd name="T50" fmla="*/ 106 w 457"/>
                  <a:gd name="T51" fmla="*/ 233 h 271"/>
                  <a:gd name="T52" fmla="*/ 63 w 457"/>
                  <a:gd name="T53" fmla="*/ 247 h 271"/>
                  <a:gd name="T54" fmla="*/ 58 w 457"/>
                  <a:gd name="T55" fmla="*/ 254 h 271"/>
                  <a:gd name="T56" fmla="*/ 58 w 457"/>
                  <a:gd name="T57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57" h="271">
                    <a:moveTo>
                      <a:pt x="58" y="271"/>
                    </a:moveTo>
                    <a:cubicBezTo>
                      <a:pt x="50" y="271"/>
                      <a:pt x="43" y="271"/>
                      <a:pt x="35" y="271"/>
                    </a:cubicBezTo>
                    <a:cubicBezTo>
                      <a:pt x="35" y="267"/>
                      <a:pt x="35" y="263"/>
                      <a:pt x="35" y="259"/>
                    </a:cubicBezTo>
                    <a:cubicBezTo>
                      <a:pt x="17" y="260"/>
                      <a:pt x="8" y="255"/>
                      <a:pt x="4" y="243"/>
                    </a:cubicBezTo>
                    <a:cubicBezTo>
                      <a:pt x="0" y="232"/>
                      <a:pt x="7" y="218"/>
                      <a:pt x="17" y="214"/>
                    </a:cubicBezTo>
                    <a:cubicBezTo>
                      <a:pt x="35" y="207"/>
                      <a:pt x="53" y="200"/>
                      <a:pt x="70" y="194"/>
                    </a:cubicBezTo>
                    <a:cubicBezTo>
                      <a:pt x="107" y="183"/>
                      <a:pt x="143" y="175"/>
                      <a:pt x="182" y="183"/>
                    </a:cubicBezTo>
                    <a:cubicBezTo>
                      <a:pt x="214" y="190"/>
                      <a:pt x="245" y="196"/>
                      <a:pt x="276" y="207"/>
                    </a:cubicBezTo>
                    <a:cubicBezTo>
                      <a:pt x="281" y="208"/>
                      <a:pt x="283" y="208"/>
                      <a:pt x="286" y="204"/>
                    </a:cubicBezTo>
                    <a:cubicBezTo>
                      <a:pt x="296" y="188"/>
                      <a:pt x="307" y="173"/>
                      <a:pt x="317" y="157"/>
                    </a:cubicBezTo>
                    <a:cubicBezTo>
                      <a:pt x="331" y="137"/>
                      <a:pt x="344" y="116"/>
                      <a:pt x="357" y="96"/>
                    </a:cubicBezTo>
                    <a:cubicBezTo>
                      <a:pt x="375" y="69"/>
                      <a:pt x="393" y="43"/>
                      <a:pt x="411" y="16"/>
                    </a:cubicBezTo>
                    <a:cubicBezTo>
                      <a:pt x="421" y="1"/>
                      <a:pt x="439" y="0"/>
                      <a:pt x="450" y="13"/>
                    </a:cubicBezTo>
                    <a:cubicBezTo>
                      <a:pt x="456" y="20"/>
                      <a:pt x="457" y="31"/>
                      <a:pt x="452" y="38"/>
                    </a:cubicBezTo>
                    <a:cubicBezTo>
                      <a:pt x="445" y="50"/>
                      <a:pt x="438" y="61"/>
                      <a:pt x="430" y="72"/>
                    </a:cubicBezTo>
                    <a:cubicBezTo>
                      <a:pt x="420" y="87"/>
                      <a:pt x="410" y="101"/>
                      <a:pt x="400" y="116"/>
                    </a:cubicBezTo>
                    <a:cubicBezTo>
                      <a:pt x="391" y="131"/>
                      <a:pt x="382" y="146"/>
                      <a:pt x="372" y="161"/>
                    </a:cubicBezTo>
                    <a:cubicBezTo>
                      <a:pt x="365" y="171"/>
                      <a:pt x="358" y="180"/>
                      <a:pt x="351" y="190"/>
                    </a:cubicBezTo>
                    <a:cubicBezTo>
                      <a:pt x="341" y="204"/>
                      <a:pt x="332" y="219"/>
                      <a:pt x="323" y="234"/>
                    </a:cubicBezTo>
                    <a:cubicBezTo>
                      <a:pt x="321" y="236"/>
                      <a:pt x="320" y="238"/>
                      <a:pt x="318" y="240"/>
                    </a:cubicBezTo>
                    <a:cubicBezTo>
                      <a:pt x="312" y="249"/>
                      <a:pt x="304" y="258"/>
                      <a:pt x="309" y="271"/>
                    </a:cubicBezTo>
                    <a:cubicBezTo>
                      <a:pt x="300" y="271"/>
                      <a:pt x="293" y="271"/>
                      <a:pt x="286" y="271"/>
                    </a:cubicBezTo>
                    <a:cubicBezTo>
                      <a:pt x="286" y="271"/>
                      <a:pt x="285" y="270"/>
                      <a:pt x="285" y="270"/>
                    </a:cubicBezTo>
                    <a:cubicBezTo>
                      <a:pt x="287" y="260"/>
                      <a:pt x="282" y="257"/>
                      <a:pt x="273" y="255"/>
                    </a:cubicBezTo>
                    <a:cubicBezTo>
                      <a:pt x="234" y="242"/>
                      <a:pt x="193" y="232"/>
                      <a:pt x="152" y="227"/>
                    </a:cubicBezTo>
                    <a:cubicBezTo>
                      <a:pt x="136" y="225"/>
                      <a:pt x="121" y="229"/>
                      <a:pt x="106" y="233"/>
                    </a:cubicBezTo>
                    <a:cubicBezTo>
                      <a:pt x="91" y="237"/>
                      <a:pt x="77" y="242"/>
                      <a:pt x="63" y="247"/>
                    </a:cubicBezTo>
                    <a:cubicBezTo>
                      <a:pt x="59" y="248"/>
                      <a:pt x="57" y="250"/>
                      <a:pt x="58" y="254"/>
                    </a:cubicBezTo>
                    <a:cubicBezTo>
                      <a:pt x="58" y="259"/>
                      <a:pt x="58" y="265"/>
                      <a:pt x="58" y="2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9" name="Freeform 8">
                <a:extLst>
                  <a:ext uri="{FF2B5EF4-FFF2-40B4-BE49-F238E27FC236}">
                    <a16:creationId xmlns:a16="http://schemas.microsoft.com/office/drawing/2014/main" id="{3E5FC30E-F75C-7FCF-B7CC-CA27F8888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3219" y="2369472"/>
                <a:ext cx="382138" cy="356376"/>
              </a:xfrm>
              <a:custGeom>
                <a:avLst/>
                <a:gdLst>
                  <a:gd name="T0" fmla="*/ 172 w 194"/>
                  <a:gd name="T1" fmla="*/ 181 h 181"/>
                  <a:gd name="T2" fmla="*/ 147 w 194"/>
                  <a:gd name="T3" fmla="*/ 176 h 181"/>
                  <a:gd name="T4" fmla="*/ 119 w 194"/>
                  <a:gd name="T5" fmla="*/ 164 h 181"/>
                  <a:gd name="T6" fmla="*/ 88 w 194"/>
                  <a:gd name="T7" fmla="*/ 157 h 181"/>
                  <a:gd name="T8" fmla="*/ 36 w 194"/>
                  <a:gd name="T9" fmla="*/ 141 h 181"/>
                  <a:gd name="T10" fmla="*/ 0 w 194"/>
                  <a:gd name="T11" fmla="*/ 83 h 181"/>
                  <a:gd name="T12" fmla="*/ 11 w 194"/>
                  <a:gd name="T13" fmla="*/ 50 h 181"/>
                  <a:gd name="T14" fmla="*/ 150 w 194"/>
                  <a:gd name="T15" fmla="*/ 24 h 181"/>
                  <a:gd name="T16" fmla="*/ 182 w 194"/>
                  <a:gd name="T17" fmla="*/ 54 h 181"/>
                  <a:gd name="T18" fmla="*/ 184 w 194"/>
                  <a:gd name="T19" fmla="*/ 110 h 181"/>
                  <a:gd name="T20" fmla="*/ 168 w 194"/>
                  <a:gd name="T21" fmla="*/ 131 h 181"/>
                  <a:gd name="T22" fmla="*/ 173 w 194"/>
                  <a:gd name="T23" fmla="*/ 180 h 181"/>
                  <a:gd name="T24" fmla="*/ 172 w 194"/>
                  <a:gd name="T25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" h="181">
                    <a:moveTo>
                      <a:pt x="172" y="181"/>
                    </a:moveTo>
                    <a:cubicBezTo>
                      <a:pt x="164" y="180"/>
                      <a:pt x="155" y="178"/>
                      <a:pt x="147" y="176"/>
                    </a:cubicBezTo>
                    <a:cubicBezTo>
                      <a:pt x="138" y="172"/>
                      <a:pt x="129" y="167"/>
                      <a:pt x="119" y="164"/>
                    </a:cubicBezTo>
                    <a:cubicBezTo>
                      <a:pt x="109" y="161"/>
                      <a:pt x="98" y="159"/>
                      <a:pt x="88" y="157"/>
                    </a:cubicBezTo>
                    <a:cubicBezTo>
                      <a:pt x="69" y="154"/>
                      <a:pt x="52" y="152"/>
                      <a:pt x="36" y="141"/>
                    </a:cubicBezTo>
                    <a:cubicBezTo>
                      <a:pt x="15" y="127"/>
                      <a:pt x="1" y="109"/>
                      <a:pt x="0" y="83"/>
                    </a:cubicBezTo>
                    <a:cubicBezTo>
                      <a:pt x="0" y="71"/>
                      <a:pt x="5" y="60"/>
                      <a:pt x="11" y="50"/>
                    </a:cubicBezTo>
                    <a:cubicBezTo>
                      <a:pt x="41" y="6"/>
                      <a:pt x="111" y="0"/>
                      <a:pt x="150" y="24"/>
                    </a:cubicBezTo>
                    <a:cubicBezTo>
                      <a:pt x="164" y="32"/>
                      <a:pt x="174" y="41"/>
                      <a:pt x="182" y="54"/>
                    </a:cubicBezTo>
                    <a:cubicBezTo>
                      <a:pt x="193" y="72"/>
                      <a:pt x="194" y="91"/>
                      <a:pt x="184" y="110"/>
                    </a:cubicBezTo>
                    <a:cubicBezTo>
                      <a:pt x="180" y="118"/>
                      <a:pt x="174" y="125"/>
                      <a:pt x="168" y="131"/>
                    </a:cubicBezTo>
                    <a:cubicBezTo>
                      <a:pt x="155" y="144"/>
                      <a:pt x="157" y="165"/>
                      <a:pt x="173" y="180"/>
                    </a:cubicBezTo>
                    <a:cubicBezTo>
                      <a:pt x="172" y="180"/>
                      <a:pt x="172" y="181"/>
                      <a:pt x="172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0" name="Freeform 9">
                <a:extLst>
                  <a:ext uri="{FF2B5EF4-FFF2-40B4-BE49-F238E27FC236}">
                    <a16:creationId xmlns:a16="http://schemas.microsoft.com/office/drawing/2014/main" id="{03BFF76F-1576-93BD-0AFB-87F45FC3B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2764" y="2719408"/>
                <a:ext cx="395019" cy="510949"/>
              </a:xfrm>
              <a:custGeom>
                <a:avLst/>
                <a:gdLst>
                  <a:gd name="T0" fmla="*/ 201 w 201"/>
                  <a:gd name="T1" fmla="*/ 239 h 259"/>
                  <a:gd name="T2" fmla="*/ 201 w 201"/>
                  <a:gd name="T3" fmla="*/ 246 h 259"/>
                  <a:gd name="T4" fmla="*/ 188 w 201"/>
                  <a:gd name="T5" fmla="*/ 258 h 259"/>
                  <a:gd name="T6" fmla="*/ 177 w 201"/>
                  <a:gd name="T7" fmla="*/ 258 h 259"/>
                  <a:gd name="T8" fmla="*/ 172 w 201"/>
                  <a:gd name="T9" fmla="*/ 255 h 259"/>
                  <a:gd name="T10" fmla="*/ 168 w 201"/>
                  <a:gd name="T11" fmla="*/ 253 h 259"/>
                  <a:gd name="T12" fmla="*/ 67 w 201"/>
                  <a:gd name="T13" fmla="*/ 253 h 259"/>
                  <a:gd name="T14" fmla="*/ 62 w 201"/>
                  <a:gd name="T15" fmla="*/ 256 h 259"/>
                  <a:gd name="T16" fmla="*/ 59 w 201"/>
                  <a:gd name="T17" fmla="*/ 258 h 259"/>
                  <a:gd name="T18" fmla="*/ 50 w 201"/>
                  <a:gd name="T19" fmla="*/ 258 h 259"/>
                  <a:gd name="T20" fmla="*/ 34 w 201"/>
                  <a:gd name="T21" fmla="*/ 245 h 259"/>
                  <a:gd name="T22" fmla="*/ 20 w 201"/>
                  <a:gd name="T23" fmla="*/ 162 h 259"/>
                  <a:gd name="T24" fmla="*/ 2 w 201"/>
                  <a:gd name="T25" fmla="*/ 20 h 259"/>
                  <a:gd name="T26" fmla="*/ 22 w 201"/>
                  <a:gd name="T27" fmla="*/ 7 h 259"/>
                  <a:gd name="T28" fmla="*/ 58 w 201"/>
                  <a:gd name="T29" fmla="*/ 47 h 259"/>
                  <a:gd name="T30" fmla="*/ 58 w 201"/>
                  <a:gd name="T31" fmla="*/ 76 h 259"/>
                  <a:gd name="T32" fmla="*/ 52 w 201"/>
                  <a:gd name="T33" fmla="*/ 116 h 259"/>
                  <a:gd name="T34" fmla="*/ 80 w 201"/>
                  <a:gd name="T35" fmla="*/ 154 h 259"/>
                  <a:gd name="T36" fmla="*/ 117 w 201"/>
                  <a:gd name="T37" fmla="*/ 159 h 259"/>
                  <a:gd name="T38" fmla="*/ 148 w 201"/>
                  <a:gd name="T39" fmla="*/ 164 h 259"/>
                  <a:gd name="T40" fmla="*/ 199 w 201"/>
                  <a:gd name="T41" fmla="*/ 220 h 259"/>
                  <a:gd name="T42" fmla="*/ 201 w 201"/>
                  <a:gd name="T43" fmla="*/ 239 h 259"/>
                  <a:gd name="T44" fmla="*/ 201 w 201"/>
                  <a:gd name="T45" fmla="*/ 23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1" h="259">
                    <a:moveTo>
                      <a:pt x="201" y="239"/>
                    </a:moveTo>
                    <a:cubicBezTo>
                      <a:pt x="201" y="241"/>
                      <a:pt x="201" y="244"/>
                      <a:pt x="201" y="246"/>
                    </a:cubicBezTo>
                    <a:cubicBezTo>
                      <a:pt x="200" y="253"/>
                      <a:pt x="195" y="258"/>
                      <a:pt x="188" y="258"/>
                    </a:cubicBezTo>
                    <a:cubicBezTo>
                      <a:pt x="185" y="258"/>
                      <a:pt x="181" y="259"/>
                      <a:pt x="177" y="258"/>
                    </a:cubicBezTo>
                    <a:cubicBezTo>
                      <a:pt x="176" y="258"/>
                      <a:pt x="174" y="256"/>
                      <a:pt x="172" y="255"/>
                    </a:cubicBezTo>
                    <a:cubicBezTo>
                      <a:pt x="171" y="255"/>
                      <a:pt x="169" y="253"/>
                      <a:pt x="168" y="253"/>
                    </a:cubicBezTo>
                    <a:cubicBezTo>
                      <a:pt x="134" y="253"/>
                      <a:pt x="101" y="253"/>
                      <a:pt x="67" y="253"/>
                    </a:cubicBezTo>
                    <a:cubicBezTo>
                      <a:pt x="65" y="253"/>
                      <a:pt x="64" y="255"/>
                      <a:pt x="62" y="256"/>
                    </a:cubicBezTo>
                    <a:cubicBezTo>
                      <a:pt x="61" y="257"/>
                      <a:pt x="60" y="258"/>
                      <a:pt x="59" y="258"/>
                    </a:cubicBezTo>
                    <a:cubicBezTo>
                      <a:pt x="56" y="259"/>
                      <a:pt x="53" y="258"/>
                      <a:pt x="50" y="258"/>
                    </a:cubicBezTo>
                    <a:cubicBezTo>
                      <a:pt x="41" y="258"/>
                      <a:pt x="35" y="254"/>
                      <a:pt x="34" y="245"/>
                    </a:cubicBezTo>
                    <a:cubicBezTo>
                      <a:pt x="29" y="217"/>
                      <a:pt x="24" y="190"/>
                      <a:pt x="20" y="162"/>
                    </a:cubicBezTo>
                    <a:cubicBezTo>
                      <a:pt x="14" y="115"/>
                      <a:pt x="8" y="68"/>
                      <a:pt x="2" y="20"/>
                    </a:cubicBezTo>
                    <a:cubicBezTo>
                      <a:pt x="0" y="5"/>
                      <a:pt x="8" y="0"/>
                      <a:pt x="22" y="7"/>
                    </a:cubicBezTo>
                    <a:cubicBezTo>
                      <a:pt x="39" y="15"/>
                      <a:pt x="52" y="28"/>
                      <a:pt x="58" y="47"/>
                    </a:cubicBezTo>
                    <a:cubicBezTo>
                      <a:pt x="60" y="56"/>
                      <a:pt x="59" y="66"/>
                      <a:pt x="58" y="76"/>
                    </a:cubicBezTo>
                    <a:cubicBezTo>
                      <a:pt x="57" y="89"/>
                      <a:pt x="53" y="103"/>
                      <a:pt x="52" y="116"/>
                    </a:cubicBezTo>
                    <a:cubicBezTo>
                      <a:pt x="51" y="136"/>
                      <a:pt x="61" y="149"/>
                      <a:pt x="80" y="154"/>
                    </a:cubicBezTo>
                    <a:cubicBezTo>
                      <a:pt x="92" y="157"/>
                      <a:pt x="104" y="158"/>
                      <a:pt x="117" y="159"/>
                    </a:cubicBezTo>
                    <a:cubicBezTo>
                      <a:pt x="127" y="161"/>
                      <a:pt x="138" y="161"/>
                      <a:pt x="148" y="164"/>
                    </a:cubicBezTo>
                    <a:cubicBezTo>
                      <a:pt x="177" y="172"/>
                      <a:pt x="194" y="190"/>
                      <a:pt x="199" y="220"/>
                    </a:cubicBezTo>
                    <a:cubicBezTo>
                      <a:pt x="200" y="226"/>
                      <a:pt x="200" y="233"/>
                      <a:pt x="201" y="239"/>
                    </a:cubicBezTo>
                    <a:cubicBezTo>
                      <a:pt x="201" y="239"/>
                      <a:pt x="201" y="239"/>
                      <a:pt x="201" y="2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1" name="Freeform 10">
                <a:extLst>
                  <a:ext uri="{FF2B5EF4-FFF2-40B4-BE49-F238E27FC236}">
                    <a16:creationId xmlns:a16="http://schemas.microsoft.com/office/drawing/2014/main" id="{64E0F8B4-06EA-DDD3-5598-4D5C3D0D1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162" y="2667884"/>
                <a:ext cx="371404" cy="541005"/>
              </a:xfrm>
              <a:custGeom>
                <a:avLst/>
                <a:gdLst>
                  <a:gd name="T0" fmla="*/ 110 w 188"/>
                  <a:gd name="T1" fmla="*/ 61 h 274"/>
                  <a:gd name="T2" fmla="*/ 101 w 188"/>
                  <a:gd name="T3" fmla="*/ 50 h 274"/>
                  <a:gd name="T4" fmla="*/ 104 w 188"/>
                  <a:gd name="T5" fmla="*/ 47 h 274"/>
                  <a:gd name="T6" fmla="*/ 108 w 188"/>
                  <a:gd name="T7" fmla="*/ 51 h 274"/>
                  <a:gd name="T8" fmla="*/ 124 w 188"/>
                  <a:gd name="T9" fmla="*/ 58 h 274"/>
                  <a:gd name="T10" fmla="*/ 135 w 188"/>
                  <a:gd name="T11" fmla="*/ 82 h 274"/>
                  <a:gd name="T12" fmla="*/ 140 w 188"/>
                  <a:gd name="T13" fmla="*/ 94 h 274"/>
                  <a:gd name="T14" fmla="*/ 138 w 188"/>
                  <a:gd name="T15" fmla="*/ 94 h 274"/>
                  <a:gd name="T16" fmla="*/ 116 w 188"/>
                  <a:gd name="T17" fmla="*/ 90 h 274"/>
                  <a:gd name="T18" fmla="*/ 94 w 188"/>
                  <a:gd name="T19" fmla="*/ 94 h 274"/>
                  <a:gd name="T20" fmla="*/ 62 w 188"/>
                  <a:gd name="T21" fmla="*/ 70 h 274"/>
                  <a:gd name="T22" fmla="*/ 59 w 188"/>
                  <a:gd name="T23" fmla="*/ 37 h 274"/>
                  <a:gd name="T24" fmla="*/ 47 w 188"/>
                  <a:gd name="T25" fmla="*/ 17 h 274"/>
                  <a:gd name="T26" fmla="*/ 26 w 188"/>
                  <a:gd name="T27" fmla="*/ 23 h 274"/>
                  <a:gd name="T28" fmla="*/ 23 w 188"/>
                  <a:gd name="T29" fmla="*/ 29 h 274"/>
                  <a:gd name="T30" fmla="*/ 30 w 188"/>
                  <a:gd name="T31" fmla="*/ 92 h 274"/>
                  <a:gd name="T32" fmla="*/ 79 w 188"/>
                  <a:gd name="T33" fmla="*/ 131 h 274"/>
                  <a:gd name="T34" fmla="*/ 106 w 188"/>
                  <a:gd name="T35" fmla="*/ 136 h 274"/>
                  <a:gd name="T36" fmla="*/ 111 w 188"/>
                  <a:gd name="T37" fmla="*/ 135 h 274"/>
                  <a:gd name="T38" fmla="*/ 121 w 188"/>
                  <a:gd name="T39" fmla="*/ 133 h 274"/>
                  <a:gd name="T40" fmla="*/ 117 w 188"/>
                  <a:gd name="T41" fmla="*/ 138 h 274"/>
                  <a:gd name="T42" fmla="*/ 131 w 188"/>
                  <a:gd name="T43" fmla="*/ 145 h 274"/>
                  <a:gd name="T44" fmla="*/ 175 w 188"/>
                  <a:gd name="T45" fmla="*/ 197 h 274"/>
                  <a:gd name="T46" fmla="*/ 188 w 188"/>
                  <a:gd name="T47" fmla="*/ 245 h 274"/>
                  <a:gd name="T48" fmla="*/ 188 w 188"/>
                  <a:gd name="T49" fmla="*/ 253 h 274"/>
                  <a:gd name="T50" fmla="*/ 166 w 188"/>
                  <a:gd name="T51" fmla="*/ 274 h 274"/>
                  <a:gd name="T52" fmla="*/ 147 w 188"/>
                  <a:gd name="T53" fmla="*/ 252 h 274"/>
                  <a:gd name="T54" fmla="*/ 139 w 188"/>
                  <a:gd name="T55" fmla="*/ 217 h 274"/>
                  <a:gd name="T56" fmla="*/ 73 w 188"/>
                  <a:gd name="T57" fmla="*/ 175 h 274"/>
                  <a:gd name="T58" fmla="*/ 57 w 188"/>
                  <a:gd name="T59" fmla="*/ 175 h 274"/>
                  <a:gd name="T60" fmla="*/ 24 w 188"/>
                  <a:gd name="T61" fmla="*/ 155 h 274"/>
                  <a:gd name="T62" fmla="*/ 4 w 188"/>
                  <a:gd name="T63" fmla="*/ 46 h 274"/>
                  <a:gd name="T64" fmla="*/ 30 w 188"/>
                  <a:gd name="T65" fmla="*/ 6 h 274"/>
                  <a:gd name="T66" fmla="*/ 62 w 188"/>
                  <a:gd name="T67" fmla="*/ 14 h 274"/>
                  <a:gd name="T68" fmla="*/ 73 w 188"/>
                  <a:gd name="T69" fmla="*/ 48 h 274"/>
                  <a:gd name="T70" fmla="*/ 88 w 188"/>
                  <a:gd name="T71" fmla="*/ 63 h 274"/>
                  <a:gd name="T72" fmla="*/ 110 w 188"/>
                  <a:gd name="T73" fmla="*/ 61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8" h="274">
                    <a:moveTo>
                      <a:pt x="110" y="61"/>
                    </a:moveTo>
                    <a:cubicBezTo>
                      <a:pt x="106" y="57"/>
                      <a:pt x="103" y="53"/>
                      <a:pt x="101" y="50"/>
                    </a:cubicBezTo>
                    <a:cubicBezTo>
                      <a:pt x="102" y="49"/>
                      <a:pt x="103" y="48"/>
                      <a:pt x="104" y="47"/>
                    </a:cubicBezTo>
                    <a:cubicBezTo>
                      <a:pt x="106" y="49"/>
                      <a:pt x="107" y="50"/>
                      <a:pt x="108" y="51"/>
                    </a:cubicBezTo>
                    <a:cubicBezTo>
                      <a:pt x="112" y="56"/>
                      <a:pt x="116" y="59"/>
                      <a:pt x="124" y="58"/>
                    </a:cubicBezTo>
                    <a:cubicBezTo>
                      <a:pt x="133" y="57"/>
                      <a:pt x="143" y="70"/>
                      <a:pt x="135" y="82"/>
                    </a:cubicBezTo>
                    <a:cubicBezTo>
                      <a:pt x="136" y="86"/>
                      <a:pt x="138" y="90"/>
                      <a:pt x="140" y="94"/>
                    </a:cubicBezTo>
                    <a:cubicBezTo>
                      <a:pt x="139" y="94"/>
                      <a:pt x="138" y="94"/>
                      <a:pt x="138" y="94"/>
                    </a:cubicBezTo>
                    <a:cubicBezTo>
                      <a:pt x="132" y="86"/>
                      <a:pt x="124" y="88"/>
                      <a:pt x="116" y="90"/>
                    </a:cubicBezTo>
                    <a:cubicBezTo>
                      <a:pt x="109" y="92"/>
                      <a:pt x="102" y="93"/>
                      <a:pt x="94" y="94"/>
                    </a:cubicBezTo>
                    <a:cubicBezTo>
                      <a:pt x="78" y="95"/>
                      <a:pt x="69" y="88"/>
                      <a:pt x="62" y="70"/>
                    </a:cubicBezTo>
                    <a:cubicBezTo>
                      <a:pt x="59" y="60"/>
                      <a:pt x="60" y="48"/>
                      <a:pt x="59" y="37"/>
                    </a:cubicBezTo>
                    <a:cubicBezTo>
                      <a:pt x="59" y="28"/>
                      <a:pt x="55" y="20"/>
                      <a:pt x="47" y="17"/>
                    </a:cubicBezTo>
                    <a:cubicBezTo>
                      <a:pt x="40" y="14"/>
                      <a:pt x="31" y="17"/>
                      <a:pt x="26" y="23"/>
                    </a:cubicBezTo>
                    <a:cubicBezTo>
                      <a:pt x="25" y="25"/>
                      <a:pt x="23" y="27"/>
                      <a:pt x="23" y="29"/>
                    </a:cubicBezTo>
                    <a:cubicBezTo>
                      <a:pt x="21" y="50"/>
                      <a:pt x="20" y="72"/>
                      <a:pt x="30" y="92"/>
                    </a:cubicBezTo>
                    <a:cubicBezTo>
                      <a:pt x="41" y="112"/>
                      <a:pt x="56" y="126"/>
                      <a:pt x="79" y="131"/>
                    </a:cubicBezTo>
                    <a:cubicBezTo>
                      <a:pt x="88" y="132"/>
                      <a:pt x="97" y="134"/>
                      <a:pt x="106" y="136"/>
                    </a:cubicBezTo>
                    <a:cubicBezTo>
                      <a:pt x="108" y="136"/>
                      <a:pt x="109" y="136"/>
                      <a:pt x="111" y="135"/>
                    </a:cubicBezTo>
                    <a:cubicBezTo>
                      <a:pt x="114" y="134"/>
                      <a:pt x="117" y="133"/>
                      <a:pt x="121" y="133"/>
                    </a:cubicBezTo>
                    <a:cubicBezTo>
                      <a:pt x="120" y="134"/>
                      <a:pt x="119" y="136"/>
                      <a:pt x="117" y="138"/>
                    </a:cubicBezTo>
                    <a:cubicBezTo>
                      <a:pt x="122" y="140"/>
                      <a:pt x="126" y="143"/>
                      <a:pt x="131" y="145"/>
                    </a:cubicBezTo>
                    <a:cubicBezTo>
                      <a:pt x="153" y="156"/>
                      <a:pt x="167" y="174"/>
                      <a:pt x="175" y="197"/>
                    </a:cubicBezTo>
                    <a:cubicBezTo>
                      <a:pt x="182" y="213"/>
                      <a:pt x="187" y="228"/>
                      <a:pt x="188" y="245"/>
                    </a:cubicBezTo>
                    <a:cubicBezTo>
                      <a:pt x="188" y="248"/>
                      <a:pt x="188" y="250"/>
                      <a:pt x="188" y="253"/>
                    </a:cubicBezTo>
                    <a:cubicBezTo>
                      <a:pt x="187" y="265"/>
                      <a:pt x="177" y="274"/>
                      <a:pt x="166" y="274"/>
                    </a:cubicBezTo>
                    <a:cubicBezTo>
                      <a:pt x="155" y="273"/>
                      <a:pt x="148" y="265"/>
                      <a:pt x="147" y="252"/>
                    </a:cubicBezTo>
                    <a:cubicBezTo>
                      <a:pt x="145" y="241"/>
                      <a:pt x="144" y="228"/>
                      <a:pt x="139" y="217"/>
                    </a:cubicBezTo>
                    <a:cubicBezTo>
                      <a:pt x="124" y="182"/>
                      <a:pt x="111" y="174"/>
                      <a:pt x="73" y="175"/>
                    </a:cubicBezTo>
                    <a:cubicBezTo>
                      <a:pt x="67" y="175"/>
                      <a:pt x="62" y="175"/>
                      <a:pt x="57" y="175"/>
                    </a:cubicBezTo>
                    <a:cubicBezTo>
                      <a:pt x="41" y="175"/>
                      <a:pt x="30" y="168"/>
                      <a:pt x="24" y="155"/>
                    </a:cubicBezTo>
                    <a:cubicBezTo>
                      <a:pt x="8" y="120"/>
                      <a:pt x="0" y="84"/>
                      <a:pt x="4" y="46"/>
                    </a:cubicBezTo>
                    <a:cubicBezTo>
                      <a:pt x="5" y="28"/>
                      <a:pt x="14" y="14"/>
                      <a:pt x="30" y="6"/>
                    </a:cubicBezTo>
                    <a:cubicBezTo>
                      <a:pt x="42" y="0"/>
                      <a:pt x="53" y="3"/>
                      <a:pt x="62" y="14"/>
                    </a:cubicBezTo>
                    <a:cubicBezTo>
                      <a:pt x="70" y="24"/>
                      <a:pt x="72" y="35"/>
                      <a:pt x="73" y="48"/>
                    </a:cubicBezTo>
                    <a:cubicBezTo>
                      <a:pt x="73" y="61"/>
                      <a:pt x="74" y="63"/>
                      <a:pt x="88" y="63"/>
                    </a:cubicBezTo>
                    <a:cubicBezTo>
                      <a:pt x="95" y="63"/>
                      <a:pt x="101" y="62"/>
                      <a:pt x="110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2" name="Freeform 11">
                <a:extLst>
                  <a:ext uri="{FF2B5EF4-FFF2-40B4-BE49-F238E27FC236}">
                    <a16:creationId xmlns:a16="http://schemas.microsoft.com/office/drawing/2014/main" id="{E8837F0A-1DC3-3417-A940-4F9E8FBC3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262" y="2408117"/>
                <a:ext cx="296264" cy="264062"/>
              </a:xfrm>
              <a:custGeom>
                <a:avLst/>
                <a:gdLst>
                  <a:gd name="T0" fmla="*/ 19 w 151"/>
                  <a:gd name="T1" fmla="*/ 132 h 134"/>
                  <a:gd name="T2" fmla="*/ 15 w 151"/>
                  <a:gd name="T3" fmla="*/ 86 h 134"/>
                  <a:gd name="T4" fmla="*/ 16 w 151"/>
                  <a:gd name="T5" fmla="*/ 29 h 134"/>
                  <a:gd name="T6" fmla="*/ 95 w 151"/>
                  <a:gd name="T7" fmla="*/ 4 h 134"/>
                  <a:gd name="T8" fmla="*/ 139 w 151"/>
                  <a:gd name="T9" fmla="*/ 28 h 134"/>
                  <a:gd name="T10" fmla="*/ 149 w 151"/>
                  <a:gd name="T11" fmla="*/ 65 h 134"/>
                  <a:gd name="T12" fmla="*/ 108 w 151"/>
                  <a:gd name="T13" fmla="*/ 109 h 134"/>
                  <a:gd name="T14" fmla="*/ 76 w 151"/>
                  <a:gd name="T15" fmla="*/ 114 h 134"/>
                  <a:gd name="T16" fmla="*/ 45 w 151"/>
                  <a:gd name="T17" fmla="*/ 126 h 134"/>
                  <a:gd name="T18" fmla="*/ 21 w 151"/>
                  <a:gd name="T19" fmla="*/ 134 h 134"/>
                  <a:gd name="T20" fmla="*/ 19 w 151"/>
                  <a:gd name="T21" fmla="*/ 13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1" h="134">
                    <a:moveTo>
                      <a:pt x="19" y="132"/>
                    </a:moveTo>
                    <a:cubicBezTo>
                      <a:pt x="34" y="115"/>
                      <a:pt x="29" y="100"/>
                      <a:pt x="15" y="86"/>
                    </a:cubicBezTo>
                    <a:cubicBezTo>
                      <a:pt x="0" y="70"/>
                      <a:pt x="3" y="43"/>
                      <a:pt x="16" y="29"/>
                    </a:cubicBezTo>
                    <a:cubicBezTo>
                      <a:pt x="37" y="3"/>
                      <a:pt x="65" y="0"/>
                      <a:pt x="95" y="4"/>
                    </a:cubicBezTo>
                    <a:cubicBezTo>
                      <a:pt x="113" y="6"/>
                      <a:pt x="127" y="15"/>
                      <a:pt x="139" y="28"/>
                    </a:cubicBezTo>
                    <a:cubicBezTo>
                      <a:pt x="148" y="39"/>
                      <a:pt x="151" y="52"/>
                      <a:pt x="149" y="65"/>
                    </a:cubicBezTo>
                    <a:cubicBezTo>
                      <a:pt x="145" y="88"/>
                      <a:pt x="130" y="102"/>
                      <a:pt x="108" y="109"/>
                    </a:cubicBezTo>
                    <a:cubicBezTo>
                      <a:pt x="98" y="112"/>
                      <a:pt x="87" y="112"/>
                      <a:pt x="76" y="114"/>
                    </a:cubicBezTo>
                    <a:cubicBezTo>
                      <a:pt x="66" y="117"/>
                      <a:pt x="55" y="122"/>
                      <a:pt x="45" y="126"/>
                    </a:cubicBezTo>
                    <a:cubicBezTo>
                      <a:pt x="37" y="128"/>
                      <a:pt x="29" y="131"/>
                      <a:pt x="21" y="134"/>
                    </a:cubicBezTo>
                    <a:cubicBezTo>
                      <a:pt x="20" y="133"/>
                      <a:pt x="20" y="132"/>
                      <a:pt x="19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3" name="Freeform 12">
                <a:extLst>
                  <a:ext uri="{FF2B5EF4-FFF2-40B4-BE49-F238E27FC236}">
                    <a16:creationId xmlns:a16="http://schemas.microsoft.com/office/drawing/2014/main" id="{FFF5E31F-3D4F-1848-B544-8556CA9AE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3646" y="2753758"/>
                <a:ext cx="605410" cy="313439"/>
              </a:xfrm>
              <a:custGeom>
                <a:avLst/>
                <a:gdLst>
                  <a:gd name="T0" fmla="*/ 155 w 307"/>
                  <a:gd name="T1" fmla="*/ 96 h 159"/>
                  <a:gd name="T2" fmla="*/ 179 w 307"/>
                  <a:gd name="T3" fmla="*/ 117 h 159"/>
                  <a:gd name="T4" fmla="*/ 251 w 307"/>
                  <a:gd name="T5" fmla="*/ 92 h 159"/>
                  <a:gd name="T6" fmla="*/ 290 w 307"/>
                  <a:gd name="T7" fmla="*/ 37 h 159"/>
                  <a:gd name="T8" fmla="*/ 283 w 307"/>
                  <a:gd name="T9" fmla="*/ 15 h 159"/>
                  <a:gd name="T10" fmla="*/ 264 w 307"/>
                  <a:gd name="T11" fmla="*/ 14 h 159"/>
                  <a:gd name="T12" fmla="*/ 256 w 307"/>
                  <a:gd name="T13" fmla="*/ 24 h 159"/>
                  <a:gd name="T14" fmla="*/ 216 w 307"/>
                  <a:gd name="T15" fmla="*/ 70 h 159"/>
                  <a:gd name="T16" fmla="*/ 214 w 307"/>
                  <a:gd name="T17" fmla="*/ 70 h 159"/>
                  <a:gd name="T18" fmla="*/ 225 w 307"/>
                  <a:gd name="T19" fmla="*/ 54 h 159"/>
                  <a:gd name="T20" fmla="*/ 240 w 307"/>
                  <a:gd name="T21" fmla="*/ 27 h 159"/>
                  <a:gd name="T22" fmla="*/ 265 w 307"/>
                  <a:gd name="T23" fmla="*/ 4 h 159"/>
                  <a:gd name="T24" fmla="*/ 294 w 307"/>
                  <a:gd name="T25" fmla="*/ 12 h 159"/>
                  <a:gd name="T26" fmla="*/ 300 w 307"/>
                  <a:gd name="T27" fmla="*/ 57 h 159"/>
                  <a:gd name="T28" fmla="*/ 280 w 307"/>
                  <a:gd name="T29" fmla="*/ 98 h 159"/>
                  <a:gd name="T30" fmla="*/ 260 w 307"/>
                  <a:gd name="T31" fmla="*/ 124 h 159"/>
                  <a:gd name="T32" fmla="*/ 223 w 307"/>
                  <a:gd name="T33" fmla="*/ 155 h 159"/>
                  <a:gd name="T34" fmla="*/ 203 w 307"/>
                  <a:gd name="T35" fmla="*/ 156 h 159"/>
                  <a:gd name="T36" fmla="*/ 128 w 307"/>
                  <a:gd name="T37" fmla="*/ 136 h 159"/>
                  <a:gd name="T38" fmla="*/ 32 w 307"/>
                  <a:gd name="T39" fmla="*/ 152 h 159"/>
                  <a:gd name="T40" fmla="*/ 8 w 307"/>
                  <a:gd name="T41" fmla="*/ 149 h 159"/>
                  <a:gd name="T42" fmla="*/ 3 w 307"/>
                  <a:gd name="T43" fmla="*/ 125 h 159"/>
                  <a:gd name="T44" fmla="*/ 19 w 307"/>
                  <a:gd name="T45" fmla="*/ 110 h 159"/>
                  <a:gd name="T46" fmla="*/ 82 w 307"/>
                  <a:gd name="T47" fmla="*/ 94 h 159"/>
                  <a:gd name="T48" fmla="*/ 155 w 307"/>
                  <a:gd name="T49" fmla="*/ 96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07" h="159">
                    <a:moveTo>
                      <a:pt x="155" y="96"/>
                    </a:moveTo>
                    <a:cubicBezTo>
                      <a:pt x="156" y="113"/>
                      <a:pt x="163" y="119"/>
                      <a:pt x="179" y="117"/>
                    </a:cubicBezTo>
                    <a:cubicBezTo>
                      <a:pt x="205" y="115"/>
                      <a:pt x="230" y="108"/>
                      <a:pt x="251" y="92"/>
                    </a:cubicBezTo>
                    <a:cubicBezTo>
                      <a:pt x="269" y="78"/>
                      <a:pt x="283" y="60"/>
                      <a:pt x="290" y="37"/>
                    </a:cubicBezTo>
                    <a:cubicBezTo>
                      <a:pt x="293" y="28"/>
                      <a:pt x="291" y="21"/>
                      <a:pt x="283" y="15"/>
                    </a:cubicBezTo>
                    <a:cubicBezTo>
                      <a:pt x="277" y="10"/>
                      <a:pt x="270" y="11"/>
                      <a:pt x="264" y="14"/>
                    </a:cubicBezTo>
                    <a:cubicBezTo>
                      <a:pt x="261" y="16"/>
                      <a:pt x="258" y="20"/>
                      <a:pt x="256" y="24"/>
                    </a:cubicBezTo>
                    <a:cubicBezTo>
                      <a:pt x="248" y="44"/>
                      <a:pt x="235" y="60"/>
                      <a:pt x="216" y="70"/>
                    </a:cubicBezTo>
                    <a:cubicBezTo>
                      <a:pt x="215" y="70"/>
                      <a:pt x="215" y="70"/>
                      <a:pt x="214" y="70"/>
                    </a:cubicBezTo>
                    <a:cubicBezTo>
                      <a:pt x="217" y="64"/>
                      <a:pt x="221" y="59"/>
                      <a:pt x="225" y="54"/>
                    </a:cubicBezTo>
                    <a:cubicBezTo>
                      <a:pt x="230" y="45"/>
                      <a:pt x="235" y="36"/>
                      <a:pt x="240" y="27"/>
                    </a:cubicBezTo>
                    <a:cubicBezTo>
                      <a:pt x="246" y="16"/>
                      <a:pt x="253" y="8"/>
                      <a:pt x="265" y="4"/>
                    </a:cubicBezTo>
                    <a:cubicBezTo>
                      <a:pt x="276" y="0"/>
                      <a:pt x="288" y="4"/>
                      <a:pt x="294" y="12"/>
                    </a:cubicBezTo>
                    <a:cubicBezTo>
                      <a:pt x="305" y="26"/>
                      <a:pt x="307" y="41"/>
                      <a:pt x="300" y="57"/>
                    </a:cubicBezTo>
                    <a:cubicBezTo>
                      <a:pt x="294" y="71"/>
                      <a:pt x="288" y="85"/>
                      <a:pt x="280" y="98"/>
                    </a:cubicBezTo>
                    <a:cubicBezTo>
                      <a:pt x="275" y="108"/>
                      <a:pt x="267" y="116"/>
                      <a:pt x="260" y="124"/>
                    </a:cubicBezTo>
                    <a:cubicBezTo>
                      <a:pt x="249" y="136"/>
                      <a:pt x="238" y="147"/>
                      <a:pt x="223" y="155"/>
                    </a:cubicBezTo>
                    <a:cubicBezTo>
                      <a:pt x="217" y="158"/>
                      <a:pt x="211" y="159"/>
                      <a:pt x="203" y="156"/>
                    </a:cubicBezTo>
                    <a:cubicBezTo>
                      <a:pt x="179" y="145"/>
                      <a:pt x="154" y="138"/>
                      <a:pt x="128" y="136"/>
                    </a:cubicBezTo>
                    <a:cubicBezTo>
                      <a:pt x="95" y="133"/>
                      <a:pt x="63" y="139"/>
                      <a:pt x="32" y="152"/>
                    </a:cubicBezTo>
                    <a:cubicBezTo>
                      <a:pt x="24" y="156"/>
                      <a:pt x="14" y="155"/>
                      <a:pt x="8" y="149"/>
                    </a:cubicBezTo>
                    <a:cubicBezTo>
                      <a:pt x="3" y="144"/>
                      <a:pt x="0" y="133"/>
                      <a:pt x="3" y="125"/>
                    </a:cubicBezTo>
                    <a:cubicBezTo>
                      <a:pt x="5" y="117"/>
                      <a:pt x="11" y="112"/>
                      <a:pt x="19" y="110"/>
                    </a:cubicBezTo>
                    <a:cubicBezTo>
                      <a:pt x="40" y="104"/>
                      <a:pt x="61" y="98"/>
                      <a:pt x="82" y="94"/>
                    </a:cubicBezTo>
                    <a:cubicBezTo>
                      <a:pt x="106" y="90"/>
                      <a:pt x="130" y="92"/>
                      <a:pt x="155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4" name="Freeform 13">
                <a:extLst>
                  <a:ext uri="{FF2B5EF4-FFF2-40B4-BE49-F238E27FC236}">
                    <a16:creationId xmlns:a16="http://schemas.microsoft.com/office/drawing/2014/main" id="{ACC3B52F-E5FD-433E-07E3-397398065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9622" y="2586304"/>
                <a:ext cx="171747" cy="171747"/>
              </a:xfrm>
              <a:custGeom>
                <a:avLst/>
                <a:gdLst>
                  <a:gd name="T0" fmla="*/ 43 w 87"/>
                  <a:gd name="T1" fmla="*/ 86 h 87"/>
                  <a:gd name="T2" fmla="*/ 1 w 87"/>
                  <a:gd name="T3" fmla="*/ 43 h 87"/>
                  <a:gd name="T4" fmla="*/ 43 w 87"/>
                  <a:gd name="T5" fmla="*/ 1 h 87"/>
                  <a:gd name="T6" fmla="*/ 86 w 87"/>
                  <a:gd name="T7" fmla="*/ 44 h 87"/>
                  <a:gd name="T8" fmla="*/ 43 w 87"/>
                  <a:gd name="T9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7">
                    <a:moveTo>
                      <a:pt x="43" y="86"/>
                    </a:moveTo>
                    <a:cubicBezTo>
                      <a:pt x="21" y="87"/>
                      <a:pt x="0" y="65"/>
                      <a:pt x="1" y="43"/>
                    </a:cubicBezTo>
                    <a:cubicBezTo>
                      <a:pt x="1" y="21"/>
                      <a:pt x="21" y="1"/>
                      <a:pt x="43" y="1"/>
                    </a:cubicBezTo>
                    <a:cubicBezTo>
                      <a:pt x="64" y="0"/>
                      <a:pt x="87" y="21"/>
                      <a:pt x="86" y="44"/>
                    </a:cubicBezTo>
                    <a:cubicBezTo>
                      <a:pt x="86" y="67"/>
                      <a:pt x="66" y="86"/>
                      <a:pt x="43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5" name="Freeform 14">
                <a:extLst>
                  <a:ext uri="{FF2B5EF4-FFF2-40B4-BE49-F238E27FC236}">
                    <a16:creationId xmlns:a16="http://schemas.microsoft.com/office/drawing/2014/main" id="{F7382080-A3F4-5E22-3853-57B891B7D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099" y="2502578"/>
                <a:ext cx="171747" cy="169601"/>
              </a:xfrm>
              <a:custGeom>
                <a:avLst/>
                <a:gdLst>
                  <a:gd name="T0" fmla="*/ 1 w 87"/>
                  <a:gd name="T1" fmla="*/ 43 h 86"/>
                  <a:gd name="T2" fmla="*/ 44 w 87"/>
                  <a:gd name="T3" fmla="*/ 1 h 86"/>
                  <a:gd name="T4" fmla="*/ 86 w 87"/>
                  <a:gd name="T5" fmla="*/ 42 h 86"/>
                  <a:gd name="T6" fmla="*/ 45 w 87"/>
                  <a:gd name="T7" fmla="*/ 85 h 86"/>
                  <a:gd name="T8" fmla="*/ 1 w 87"/>
                  <a:gd name="T9" fmla="*/ 4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6">
                    <a:moveTo>
                      <a:pt x="1" y="43"/>
                    </a:moveTo>
                    <a:cubicBezTo>
                      <a:pt x="0" y="18"/>
                      <a:pt x="22" y="0"/>
                      <a:pt x="44" y="1"/>
                    </a:cubicBezTo>
                    <a:cubicBezTo>
                      <a:pt x="69" y="1"/>
                      <a:pt x="85" y="16"/>
                      <a:pt x="86" y="42"/>
                    </a:cubicBezTo>
                    <a:cubicBezTo>
                      <a:pt x="87" y="63"/>
                      <a:pt x="70" y="86"/>
                      <a:pt x="45" y="85"/>
                    </a:cubicBezTo>
                    <a:cubicBezTo>
                      <a:pt x="20" y="84"/>
                      <a:pt x="2" y="67"/>
                      <a:pt x="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Freeform 15">
                <a:extLst>
                  <a:ext uri="{FF2B5EF4-FFF2-40B4-BE49-F238E27FC236}">
                    <a16:creationId xmlns:a16="http://schemas.microsoft.com/office/drawing/2014/main" id="{E05B6312-CF12-9BF1-F264-22690979D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5246" y="2706527"/>
                <a:ext cx="240446" cy="221126"/>
              </a:xfrm>
              <a:custGeom>
                <a:avLst/>
                <a:gdLst>
                  <a:gd name="T0" fmla="*/ 82 w 122"/>
                  <a:gd name="T1" fmla="*/ 81 h 112"/>
                  <a:gd name="T2" fmla="*/ 104 w 122"/>
                  <a:gd name="T3" fmla="*/ 78 h 112"/>
                  <a:gd name="T4" fmla="*/ 120 w 122"/>
                  <a:gd name="T5" fmla="*/ 84 h 112"/>
                  <a:gd name="T6" fmla="*/ 121 w 122"/>
                  <a:gd name="T7" fmla="*/ 99 h 112"/>
                  <a:gd name="T8" fmla="*/ 112 w 122"/>
                  <a:gd name="T9" fmla="*/ 107 h 112"/>
                  <a:gd name="T10" fmla="*/ 52 w 122"/>
                  <a:gd name="T11" fmla="*/ 107 h 112"/>
                  <a:gd name="T12" fmla="*/ 7 w 122"/>
                  <a:gd name="T13" fmla="*/ 62 h 112"/>
                  <a:gd name="T14" fmla="*/ 2 w 122"/>
                  <a:gd name="T15" fmla="*/ 14 h 112"/>
                  <a:gd name="T16" fmla="*/ 20 w 122"/>
                  <a:gd name="T17" fmla="*/ 1 h 112"/>
                  <a:gd name="T18" fmla="*/ 33 w 122"/>
                  <a:gd name="T19" fmla="*/ 17 h 112"/>
                  <a:gd name="T20" fmla="*/ 32 w 122"/>
                  <a:gd name="T21" fmla="*/ 32 h 112"/>
                  <a:gd name="T22" fmla="*/ 82 w 122"/>
                  <a:gd name="T23" fmla="*/ 8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2" h="112">
                    <a:moveTo>
                      <a:pt x="82" y="81"/>
                    </a:moveTo>
                    <a:cubicBezTo>
                      <a:pt x="89" y="80"/>
                      <a:pt x="96" y="80"/>
                      <a:pt x="104" y="78"/>
                    </a:cubicBezTo>
                    <a:cubicBezTo>
                      <a:pt x="110" y="77"/>
                      <a:pt x="117" y="79"/>
                      <a:pt x="120" y="84"/>
                    </a:cubicBezTo>
                    <a:cubicBezTo>
                      <a:pt x="122" y="88"/>
                      <a:pt x="122" y="95"/>
                      <a:pt x="121" y="99"/>
                    </a:cubicBezTo>
                    <a:cubicBezTo>
                      <a:pt x="120" y="103"/>
                      <a:pt x="115" y="106"/>
                      <a:pt x="112" y="107"/>
                    </a:cubicBezTo>
                    <a:cubicBezTo>
                      <a:pt x="92" y="111"/>
                      <a:pt x="72" y="112"/>
                      <a:pt x="52" y="107"/>
                    </a:cubicBezTo>
                    <a:cubicBezTo>
                      <a:pt x="29" y="101"/>
                      <a:pt x="15" y="84"/>
                      <a:pt x="7" y="62"/>
                    </a:cubicBezTo>
                    <a:cubicBezTo>
                      <a:pt x="1" y="47"/>
                      <a:pt x="0" y="30"/>
                      <a:pt x="2" y="14"/>
                    </a:cubicBezTo>
                    <a:cubicBezTo>
                      <a:pt x="3" y="6"/>
                      <a:pt x="12" y="0"/>
                      <a:pt x="20" y="1"/>
                    </a:cubicBezTo>
                    <a:cubicBezTo>
                      <a:pt x="27" y="2"/>
                      <a:pt x="33" y="9"/>
                      <a:pt x="33" y="17"/>
                    </a:cubicBezTo>
                    <a:cubicBezTo>
                      <a:pt x="32" y="22"/>
                      <a:pt x="32" y="27"/>
                      <a:pt x="32" y="32"/>
                    </a:cubicBezTo>
                    <a:cubicBezTo>
                      <a:pt x="32" y="60"/>
                      <a:pt x="48" y="83"/>
                      <a:pt x="82" y="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7" name="Freeform 16">
                <a:extLst>
                  <a:ext uri="{FF2B5EF4-FFF2-40B4-BE49-F238E27FC236}">
                    <a16:creationId xmlns:a16="http://schemas.microsoft.com/office/drawing/2014/main" id="{02A964C9-7516-DF24-FC8B-0014990EC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8498" y="2781667"/>
                <a:ext cx="264062" cy="197510"/>
              </a:xfrm>
              <a:custGeom>
                <a:avLst/>
                <a:gdLst>
                  <a:gd name="T0" fmla="*/ 23 w 134"/>
                  <a:gd name="T1" fmla="*/ 100 h 101"/>
                  <a:gd name="T2" fmla="*/ 4 w 134"/>
                  <a:gd name="T3" fmla="*/ 80 h 101"/>
                  <a:gd name="T4" fmla="*/ 20 w 134"/>
                  <a:gd name="T5" fmla="*/ 70 h 101"/>
                  <a:gd name="T6" fmla="*/ 69 w 134"/>
                  <a:gd name="T7" fmla="*/ 55 h 101"/>
                  <a:gd name="T8" fmla="*/ 103 w 134"/>
                  <a:gd name="T9" fmla="*/ 13 h 101"/>
                  <a:gd name="T10" fmla="*/ 123 w 134"/>
                  <a:gd name="T11" fmla="*/ 2 h 101"/>
                  <a:gd name="T12" fmla="*/ 131 w 134"/>
                  <a:gd name="T13" fmla="*/ 22 h 101"/>
                  <a:gd name="T14" fmla="*/ 90 w 134"/>
                  <a:gd name="T15" fmla="*/ 78 h 101"/>
                  <a:gd name="T16" fmla="*/ 23 w 134"/>
                  <a:gd name="T17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4" h="101">
                    <a:moveTo>
                      <a:pt x="23" y="100"/>
                    </a:moveTo>
                    <a:cubicBezTo>
                      <a:pt x="8" y="101"/>
                      <a:pt x="0" y="92"/>
                      <a:pt x="4" y="80"/>
                    </a:cubicBezTo>
                    <a:cubicBezTo>
                      <a:pt x="6" y="74"/>
                      <a:pt x="11" y="69"/>
                      <a:pt x="20" y="70"/>
                    </a:cubicBezTo>
                    <a:cubicBezTo>
                      <a:pt x="38" y="70"/>
                      <a:pt x="54" y="65"/>
                      <a:pt x="69" y="55"/>
                    </a:cubicBezTo>
                    <a:cubicBezTo>
                      <a:pt x="84" y="44"/>
                      <a:pt x="98" y="32"/>
                      <a:pt x="103" y="13"/>
                    </a:cubicBezTo>
                    <a:cubicBezTo>
                      <a:pt x="105" y="4"/>
                      <a:pt x="114" y="0"/>
                      <a:pt x="123" y="2"/>
                    </a:cubicBezTo>
                    <a:cubicBezTo>
                      <a:pt x="130" y="4"/>
                      <a:pt x="134" y="14"/>
                      <a:pt x="131" y="22"/>
                    </a:cubicBezTo>
                    <a:cubicBezTo>
                      <a:pt x="124" y="46"/>
                      <a:pt x="109" y="63"/>
                      <a:pt x="90" y="78"/>
                    </a:cubicBezTo>
                    <a:cubicBezTo>
                      <a:pt x="70" y="93"/>
                      <a:pt x="47" y="98"/>
                      <a:pt x="23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8" name="Freeform 17">
                <a:extLst>
                  <a:ext uri="{FF2B5EF4-FFF2-40B4-BE49-F238E27FC236}">
                    <a16:creationId xmlns:a16="http://schemas.microsoft.com/office/drawing/2014/main" id="{744947D8-8ACD-DA0B-C4FE-87AE8A4B6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105" y="2779520"/>
                <a:ext cx="88021" cy="90167"/>
              </a:xfrm>
              <a:custGeom>
                <a:avLst/>
                <a:gdLst>
                  <a:gd name="T0" fmla="*/ 45 w 45"/>
                  <a:gd name="T1" fmla="*/ 3 h 46"/>
                  <a:gd name="T2" fmla="*/ 8 w 45"/>
                  <a:gd name="T3" fmla="*/ 46 h 46"/>
                  <a:gd name="T4" fmla="*/ 0 w 45"/>
                  <a:gd name="T5" fmla="*/ 40 h 46"/>
                  <a:gd name="T6" fmla="*/ 29 w 45"/>
                  <a:gd name="T7" fmla="*/ 1 h 46"/>
                  <a:gd name="T8" fmla="*/ 34 w 45"/>
                  <a:gd name="T9" fmla="*/ 0 h 46"/>
                  <a:gd name="T10" fmla="*/ 45 w 45"/>
                  <a:gd name="T1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46">
                    <a:moveTo>
                      <a:pt x="45" y="3"/>
                    </a:moveTo>
                    <a:cubicBezTo>
                      <a:pt x="32" y="18"/>
                      <a:pt x="20" y="32"/>
                      <a:pt x="8" y="46"/>
                    </a:cubicBezTo>
                    <a:cubicBezTo>
                      <a:pt x="5" y="44"/>
                      <a:pt x="3" y="43"/>
                      <a:pt x="0" y="40"/>
                    </a:cubicBezTo>
                    <a:cubicBezTo>
                      <a:pt x="10" y="27"/>
                      <a:pt x="20" y="14"/>
                      <a:pt x="29" y="1"/>
                    </a:cubicBezTo>
                    <a:cubicBezTo>
                      <a:pt x="30" y="0"/>
                      <a:pt x="33" y="0"/>
                      <a:pt x="34" y="0"/>
                    </a:cubicBezTo>
                    <a:cubicBezTo>
                      <a:pt x="38" y="1"/>
                      <a:pt x="41" y="2"/>
                      <a:pt x="4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0" name="Group 449">
              <a:extLst>
                <a:ext uri="{FF2B5EF4-FFF2-40B4-BE49-F238E27FC236}">
                  <a16:creationId xmlns:a16="http://schemas.microsoft.com/office/drawing/2014/main" id="{3584F821-6FD4-11A0-B34E-0E54A0A26C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46123" y="4418414"/>
              <a:ext cx="220337" cy="223674"/>
              <a:chOff x="-2505076" y="3225801"/>
              <a:chExt cx="1782763" cy="1809749"/>
            </a:xfrm>
            <a:solidFill>
              <a:sysClr val="window" lastClr="FFFFFF"/>
            </a:solidFill>
          </p:grpSpPr>
          <p:sp>
            <p:nvSpPr>
              <p:cNvPr id="474" name="Freeform 5">
                <a:extLst>
                  <a:ext uri="{FF2B5EF4-FFF2-40B4-BE49-F238E27FC236}">
                    <a16:creationId xmlns:a16="http://schemas.microsoft.com/office/drawing/2014/main" id="{8C336C1D-FA5C-D889-0142-33A1C72F2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320925" y="3225801"/>
                <a:ext cx="1371600" cy="1417637"/>
              </a:xfrm>
              <a:custGeom>
                <a:avLst/>
                <a:gdLst>
                  <a:gd name="T0" fmla="*/ 477 w 695"/>
                  <a:gd name="T1" fmla="*/ 538 h 718"/>
                  <a:gd name="T2" fmla="*/ 485 w 695"/>
                  <a:gd name="T3" fmla="*/ 572 h 718"/>
                  <a:gd name="T4" fmla="*/ 388 w 695"/>
                  <a:gd name="T5" fmla="*/ 672 h 718"/>
                  <a:gd name="T6" fmla="*/ 406 w 695"/>
                  <a:gd name="T7" fmla="*/ 668 h 718"/>
                  <a:gd name="T8" fmla="*/ 354 w 695"/>
                  <a:gd name="T9" fmla="*/ 716 h 718"/>
                  <a:gd name="T10" fmla="*/ 50 w 695"/>
                  <a:gd name="T11" fmla="*/ 546 h 718"/>
                  <a:gd name="T12" fmla="*/ 90 w 695"/>
                  <a:gd name="T13" fmla="*/ 543 h 718"/>
                  <a:gd name="T14" fmla="*/ 122 w 695"/>
                  <a:gd name="T15" fmla="*/ 578 h 718"/>
                  <a:gd name="T16" fmla="*/ 200 w 695"/>
                  <a:gd name="T17" fmla="*/ 559 h 718"/>
                  <a:gd name="T18" fmla="*/ 142 w 695"/>
                  <a:gd name="T19" fmla="*/ 598 h 718"/>
                  <a:gd name="T20" fmla="*/ 227 w 695"/>
                  <a:gd name="T21" fmla="*/ 575 h 718"/>
                  <a:gd name="T22" fmla="*/ 323 w 695"/>
                  <a:gd name="T23" fmla="*/ 659 h 718"/>
                  <a:gd name="T24" fmla="*/ 328 w 695"/>
                  <a:gd name="T25" fmla="*/ 639 h 718"/>
                  <a:gd name="T26" fmla="*/ 349 w 695"/>
                  <a:gd name="T27" fmla="*/ 540 h 718"/>
                  <a:gd name="T28" fmla="*/ 429 w 695"/>
                  <a:gd name="T29" fmla="*/ 528 h 718"/>
                  <a:gd name="T30" fmla="*/ 474 w 695"/>
                  <a:gd name="T31" fmla="*/ 396 h 718"/>
                  <a:gd name="T32" fmla="*/ 391 w 695"/>
                  <a:gd name="T33" fmla="*/ 396 h 718"/>
                  <a:gd name="T34" fmla="*/ 328 w 695"/>
                  <a:gd name="T35" fmla="*/ 358 h 718"/>
                  <a:gd name="T36" fmla="*/ 328 w 695"/>
                  <a:gd name="T37" fmla="*/ 249 h 718"/>
                  <a:gd name="T38" fmla="*/ 232 w 695"/>
                  <a:gd name="T39" fmla="*/ 245 h 718"/>
                  <a:gd name="T40" fmla="*/ 200 w 695"/>
                  <a:gd name="T41" fmla="*/ 370 h 718"/>
                  <a:gd name="T42" fmla="*/ 146 w 695"/>
                  <a:gd name="T43" fmla="*/ 396 h 718"/>
                  <a:gd name="T44" fmla="*/ 48 w 695"/>
                  <a:gd name="T45" fmla="*/ 396 h 718"/>
                  <a:gd name="T46" fmla="*/ 14 w 695"/>
                  <a:gd name="T47" fmla="*/ 427 h 718"/>
                  <a:gd name="T48" fmla="*/ 126 w 695"/>
                  <a:gd name="T49" fmla="*/ 127 h 718"/>
                  <a:gd name="T50" fmla="*/ 628 w 695"/>
                  <a:gd name="T51" fmla="*/ 555 h 718"/>
                  <a:gd name="T52" fmla="*/ 569 w 695"/>
                  <a:gd name="T53" fmla="*/ 574 h 718"/>
                  <a:gd name="T54" fmla="*/ 635 w 695"/>
                  <a:gd name="T55" fmla="*/ 397 h 718"/>
                  <a:gd name="T56" fmla="*/ 561 w 695"/>
                  <a:gd name="T57" fmla="*/ 188 h 718"/>
                  <a:gd name="T58" fmla="*/ 505 w 695"/>
                  <a:gd name="T59" fmla="*/ 368 h 718"/>
                  <a:gd name="T60" fmla="*/ 561 w 695"/>
                  <a:gd name="T61" fmla="*/ 188 h 718"/>
                  <a:gd name="T62" fmla="*/ 128 w 695"/>
                  <a:gd name="T63" fmla="*/ 189 h 718"/>
                  <a:gd name="T64" fmla="*/ 48 w 695"/>
                  <a:gd name="T65" fmla="*/ 368 h 718"/>
                  <a:gd name="T66" fmla="*/ 206 w 695"/>
                  <a:gd name="T67" fmla="*/ 227 h 718"/>
                  <a:gd name="T68" fmla="*/ 448 w 695"/>
                  <a:gd name="T69" fmla="*/ 241 h 718"/>
                  <a:gd name="T70" fmla="*/ 365 w 695"/>
                  <a:gd name="T71" fmla="*/ 246 h 718"/>
                  <a:gd name="T72" fmla="*/ 355 w 695"/>
                  <a:gd name="T73" fmla="*/ 360 h 718"/>
                  <a:gd name="T74" fmla="*/ 474 w 695"/>
                  <a:gd name="T75" fmla="*/ 369 h 718"/>
                  <a:gd name="T76" fmla="*/ 383 w 695"/>
                  <a:gd name="T77" fmla="*/ 96 h 718"/>
                  <a:gd name="T78" fmla="*/ 450 w 695"/>
                  <a:gd name="T79" fmla="*/ 180 h 718"/>
                  <a:gd name="T80" fmla="*/ 541 w 695"/>
                  <a:gd name="T81" fmla="*/ 167 h 718"/>
                  <a:gd name="T82" fmla="*/ 216 w 695"/>
                  <a:gd name="T83" fmla="*/ 201 h 718"/>
                  <a:gd name="T84" fmla="*/ 141 w 695"/>
                  <a:gd name="T85" fmla="*/ 167 h 718"/>
                  <a:gd name="T86" fmla="*/ 356 w 695"/>
                  <a:gd name="T87" fmla="*/ 220 h 718"/>
                  <a:gd name="T88" fmla="*/ 356 w 695"/>
                  <a:gd name="T89" fmla="*/ 107 h 718"/>
                  <a:gd name="T90" fmla="*/ 356 w 695"/>
                  <a:gd name="T91" fmla="*/ 659 h 718"/>
                  <a:gd name="T92" fmla="*/ 356 w 695"/>
                  <a:gd name="T93" fmla="*/ 545 h 718"/>
                  <a:gd name="T94" fmla="*/ 327 w 695"/>
                  <a:gd name="T95" fmla="*/ 106 h 718"/>
                  <a:gd name="T96" fmla="*/ 327 w 695"/>
                  <a:gd name="T97" fmla="*/ 22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95" h="718">
                    <a:moveTo>
                      <a:pt x="505" y="397"/>
                    </a:moveTo>
                    <a:cubicBezTo>
                      <a:pt x="496" y="444"/>
                      <a:pt x="487" y="491"/>
                      <a:pt x="477" y="538"/>
                    </a:cubicBezTo>
                    <a:cubicBezTo>
                      <a:pt x="500" y="549"/>
                      <a:pt x="526" y="560"/>
                      <a:pt x="553" y="573"/>
                    </a:cubicBezTo>
                    <a:cubicBezTo>
                      <a:pt x="528" y="588"/>
                      <a:pt x="507" y="582"/>
                      <a:pt x="485" y="572"/>
                    </a:cubicBezTo>
                    <a:cubicBezTo>
                      <a:pt x="463" y="562"/>
                      <a:pt x="464" y="564"/>
                      <a:pt x="450" y="584"/>
                    </a:cubicBezTo>
                    <a:cubicBezTo>
                      <a:pt x="431" y="614"/>
                      <a:pt x="409" y="643"/>
                      <a:pt x="388" y="672"/>
                    </a:cubicBezTo>
                    <a:cubicBezTo>
                      <a:pt x="393" y="671"/>
                      <a:pt x="401" y="670"/>
                      <a:pt x="408" y="669"/>
                    </a:cubicBezTo>
                    <a:cubicBezTo>
                      <a:pt x="407" y="669"/>
                      <a:pt x="406" y="668"/>
                      <a:pt x="406" y="668"/>
                    </a:cubicBezTo>
                    <a:cubicBezTo>
                      <a:pt x="392" y="683"/>
                      <a:pt x="378" y="699"/>
                      <a:pt x="364" y="714"/>
                    </a:cubicBezTo>
                    <a:cubicBezTo>
                      <a:pt x="362" y="716"/>
                      <a:pt x="357" y="716"/>
                      <a:pt x="354" y="716"/>
                    </a:cubicBezTo>
                    <a:cubicBezTo>
                      <a:pt x="222" y="718"/>
                      <a:pt x="122" y="662"/>
                      <a:pt x="52" y="551"/>
                    </a:cubicBezTo>
                    <a:cubicBezTo>
                      <a:pt x="51" y="549"/>
                      <a:pt x="51" y="547"/>
                      <a:pt x="50" y="546"/>
                    </a:cubicBezTo>
                    <a:cubicBezTo>
                      <a:pt x="50" y="545"/>
                      <a:pt x="50" y="544"/>
                      <a:pt x="50" y="542"/>
                    </a:cubicBezTo>
                    <a:cubicBezTo>
                      <a:pt x="63" y="542"/>
                      <a:pt x="77" y="542"/>
                      <a:pt x="90" y="543"/>
                    </a:cubicBezTo>
                    <a:cubicBezTo>
                      <a:pt x="93" y="543"/>
                      <a:pt x="97" y="546"/>
                      <a:pt x="99" y="549"/>
                    </a:cubicBezTo>
                    <a:cubicBezTo>
                      <a:pt x="107" y="559"/>
                      <a:pt x="114" y="568"/>
                      <a:pt x="122" y="578"/>
                    </a:cubicBezTo>
                    <a:cubicBezTo>
                      <a:pt x="137" y="571"/>
                      <a:pt x="152" y="564"/>
                      <a:pt x="166" y="556"/>
                    </a:cubicBezTo>
                    <a:cubicBezTo>
                      <a:pt x="178" y="549"/>
                      <a:pt x="190" y="547"/>
                      <a:pt x="200" y="559"/>
                    </a:cubicBezTo>
                    <a:cubicBezTo>
                      <a:pt x="202" y="562"/>
                      <a:pt x="206" y="563"/>
                      <a:pt x="210" y="566"/>
                    </a:cubicBezTo>
                    <a:cubicBezTo>
                      <a:pt x="187" y="577"/>
                      <a:pt x="166" y="587"/>
                      <a:pt x="142" y="598"/>
                    </a:cubicBezTo>
                    <a:cubicBezTo>
                      <a:pt x="188" y="639"/>
                      <a:pt x="238" y="663"/>
                      <a:pt x="297" y="671"/>
                    </a:cubicBezTo>
                    <a:cubicBezTo>
                      <a:pt x="270" y="642"/>
                      <a:pt x="246" y="611"/>
                      <a:pt x="227" y="575"/>
                    </a:cubicBezTo>
                    <a:cubicBezTo>
                      <a:pt x="247" y="576"/>
                      <a:pt x="262" y="579"/>
                      <a:pt x="273" y="598"/>
                    </a:cubicBezTo>
                    <a:cubicBezTo>
                      <a:pt x="287" y="620"/>
                      <a:pt x="306" y="639"/>
                      <a:pt x="323" y="659"/>
                    </a:cubicBezTo>
                    <a:cubicBezTo>
                      <a:pt x="325" y="658"/>
                      <a:pt x="326" y="657"/>
                      <a:pt x="328" y="657"/>
                    </a:cubicBezTo>
                    <a:cubicBezTo>
                      <a:pt x="328" y="651"/>
                      <a:pt x="328" y="645"/>
                      <a:pt x="328" y="639"/>
                    </a:cubicBezTo>
                    <a:cubicBezTo>
                      <a:pt x="328" y="626"/>
                      <a:pt x="329" y="612"/>
                      <a:pt x="328" y="599"/>
                    </a:cubicBezTo>
                    <a:cubicBezTo>
                      <a:pt x="326" y="576"/>
                      <a:pt x="333" y="559"/>
                      <a:pt x="349" y="540"/>
                    </a:cubicBezTo>
                    <a:cubicBezTo>
                      <a:pt x="366" y="519"/>
                      <a:pt x="383" y="519"/>
                      <a:pt x="405" y="523"/>
                    </a:cubicBezTo>
                    <a:cubicBezTo>
                      <a:pt x="413" y="524"/>
                      <a:pt x="422" y="525"/>
                      <a:pt x="429" y="528"/>
                    </a:cubicBezTo>
                    <a:cubicBezTo>
                      <a:pt x="442" y="532"/>
                      <a:pt x="448" y="529"/>
                      <a:pt x="453" y="515"/>
                    </a:cubicBezTo>
                    <a:cubicBezTo>
                      <a:pt x="465" y="477"/>
                      <a:pt x="473" y="438"/>
                      <a:pt x="474" y="396"/>
                    </a:cubicBezTo>
                    <a:cubicBezTo>
                      <a:pt x="462" y="396"/>
                      <a:pt x="451" y="396"/>
                      <a:pt x="440" y="396"/>
                    </a:cubicBezTo>
                    <a:cubicBezTo>
                      <a:pt x="424" y="396"/>
                      <a:pt x="407" y="396"/>
                      <a:pt x="391" y="396"/>
                    </a:cubicBezTo>
                    <a:cubicBezTo>
                      <a:pt x="356" y="396"/>
                      <a:pt x="356" y="396"/>
                      <a:pt x="333" y="371"/>
                    </a:cubicBezTo>
                    <a:cubicBezTo>
                      <a:pt x="330" y="368"/>
                      <a:pt x="328" y="362"/>
                      <a:pt x="328" y="358"/>
                    </a:cubicBezTo>
                    <a:cubicBezTo>
                      <a:pt x="328" y="326"/>
                      <a:pt x="328" y="294"/>
                      <a:pt x="328" y="263"/>
                    </a:cubicBezTo>
                    <a:cubicBezTo>
                      <a:pt x="328" y="258"/>
                      <a:pt x="328" y="253"/>
                      <a:pt x="328" y="249"/>
                    </a:cubicBezTo>
                    <a:cubicBezTo>
                      <a:pt x="298" y="244"/>
                      <a:pt x="271" y="239"/>
                      <a:pt x="243" y="236"/>
                    </a:cubicBezTo>
                    <a:cubicBezTo>
                      <a:pt x="240" y="235"/>
                      <a:pt x="233" y="241"/>
                      <a:pt x="232" y="245"/>
                    </a:cubicBezTo>
                    <a:cubicBezTo>
                      <a:pt x="224" y="282"/>
                      <a:pt x="217" y="318"/>
                      <a:pt x="209" y="354"/>
                    </a:cubicBezTo>
                    <a:cubicBezTo>
                      <a:pt x="208" y="360"/>
                      <a:pt x="204" y="365"/>
                      <a:pt x="200" y="370"/>
                    </a:cubicBezTo>
                    <a:cubicBezTo>
                      <a:pt x="197" y="374"/>
                      <a:pt x="191" y="376"/>
                      <a:pt x="188" y="380"/>
                    </a:cubicBezTo>
                    <a:cubicBezTo>
                      <a:pt x="177" y="395"/>
                      <a:pt x="163" y="397"/>
                      <a:pt x="146" y="396"/>
                    </a:cubicBezTo>
                    <a:cubicBezTo>
                      <a:pt x="119" y="395"/>
                      <a:pt x="91" y="396"/>
                      <a:pt x="63" y="396"/>
                    </a:cubicBezTo>
                    <a:cubicBezTo>
                      <a:pt x="58" y="396"/>
                      <a:pt x="54" y="396"/>
                      <a:pt x="48" y="396"/>
                    </a:cubicBezTo>
                    <a:cubicBezTo>
                      <a:pt x="49" y="409"/>
                      <a:pt x="50" y="420"/>
                      <a:pt x="51" y="434"/>
                    </a:cubicBezTo>
                    <a:cubicBezTo>
                      <a:pt x="38" y="432"/>
                      <a:pt x="26" y="430"/>
                      <a:pt x="14" y="427"/>
                    </a:cubicBezTo>
                    <a:cubicBezTo>
                      <a:pt x="12" y="426"/>
                      <a:pt x="9" y="420"/>
                      <a:pt x="9" y="416"/>
                    </a:cubicBezTo>
                    <a:cubicBezTo>
                      <a:pt x="0" y="300"/>
                      <a:pt x="38" y="203"/>
                      <a:pt x="126" y="127"/>
                    </a:cubicBezTo>
                    <a:cubicBezTo>
                      <a:pt x="274" y="0"/>
                      <a:pt x="518" y="26"/>
                      <a:pt x="628" y="211"/>
                    </a:cubicBezTo>
                    <a:cubicBezTo>
                      <a:pt x="695" y="324"/>
                      <a:pt x="692" y="440"/>
                      <a:pt x="628" y="555"/>
                    </a:cubicBezTo>
                    <a:cubicBezTo>
                      <a:pt x="623" y="564"/>
                      <a:pt x="617" y="568"/>
                      <a:pt x="607" y="569"/>
                    </a:cubicBezTo>
                    <a:cubicBezTo>
                      <a:pt x="594" y="570"/>
                      <a:pt x="581" y="572"/>
                      <a:pt x="569" y="574"/>
                    </a:cubicBezTo>
                    <a:cubicBezTo>
                      <a:pt x="585" y="546"/>
                      <a:pt x="601" y="519"/>
                      <a:pt x="614" y="490"/>
                    </a:cubicBezTo>
                    <a:cubicBezTo>
                      <a:pt x="628" y="461"/>
                      <a:pt x="633" y="430"/>
                      <a:pt x="635" y="397"/>
                    </a:cubicBezTo>
                    <a:cubicBezTo>
                      <a:pt x="590" y="397"/>
                      <a:pt x="546" y="397"/>
                      <a:pt x="505" y="397"/>
                    </a:cubicBezTo>
                    <a:close/>
                    <a:moveTo>
                      <a:pt x="561" y="188"/>
                    </a:moveTo>
                    <a:cubicBezTo>
                      <a:pt x="531" y="202"/>
                      <a:pt x="502" y="215"/>
                      <a:pt x="477" y="227"/>
                    </a:cubicBezTo>
                    <a:cubicBezTo>
                      <a:pt x="487" y="275"/>
                      <a:pt x="496" y="321"/>
                      <a:pt x="505" y="368"/>
                    </a:cubicBezTo>
                    <a:cubicBezTo>
                      <a:pt x="547" y="368"/>
                      <a:pt x="590" y="368"/>
                      <a:pt x="635" y="368"/>
                    </a:cubicBezTo>
                    <a:cubicBezTo>
                      <a:pt x="630" y="298"/>
                      <a:pt x="606" y="239"/>
                      <a:pt x="561" y="188"/>
                    </a:cubicBezTo>
                    <a:close/>
                    <a:moveTo>
                      <a:pt x="206" y="227"/>
                    </a:moveTo>
                    <a:cubicBezTo>
                      <a:pt x="181" y="215"/>
                      <a:pt x="155" y="202"/>
                      <a:pt x="128" y="189"/>
                    </a:cubicBezTo>
                    <a:cubicBezTo>
                      <a:pt x="126" y="188"/>
                      <a:pt x="120" y="190"/>
                      <a:pt x="118" y="192"/>
                    </a:cubicBezTo>
                    <a:cubicBezTo>
                      <a:pt x="75" y="243"/>
                      <a:pt x="52" y="301"/>
                      <a:pt x="48" y="368"/>
                    </a:cubicBezTo>
                    <a:cubicBezTo>
                      <a:pt x="93" y="368"/>
                      <a:pt x="137" y="368"/>
                      <a:pt x="177" y="368"/>
                    </a:cubicBezTo>
                    <a:cubicBezTo>
                      <a:pt x="187" y="320"/>
                      <a:pt x="197" y="273"/>
                      <a:pt x="206" y="227"/>
                    </a:cubicBezTo>
                    <a:close/>
                    <a:moveTo>
                      <a:pt x="474" y="369"/>
                    </a:moveTo>
                    <a:cubicBezTo>
                      <a:pt x="473" y="323"/>
                      <a:pt x="464" y="281"/>
                      <a:pt x="448" y="241"/>
                    </a:cubicBezTo>
                    <a:cubicBezTo>
                      <a:pt x="447" y="238"/>
                      <a:pt x="441" y="236"/>
                      <a:pt x="438" y="236"/>
                    </a:cubicBezTo>
                    <a:cubicBezTo>
                      <a:pt x="413" y="239"/>
                      <a:pt x="389" y="242"/>
                      <a:pt x="365" y="246"/>
                    </a:cubicBezTo>
                    <a:cubicBezTo>
                      <a:pt x="361" y="247"/>
                      <a:pt x="355" y="252"/>
                      <a:pt x="355" y="256"/>
                    </a:cubicBezTo>
                    <a:cubicBezTo>
                      <a:pt x="355" y="290"/>
                      <a:pt x="355" y="325"/>
                      <a:pt x="355" y="360"/>
                    </a:cubicBezTo>
                    <a:cubicBezTo>
                      <a:pt x="355" y="363"/>
                      <a:pt x="360" y="368"/>
                      <a:pt x="363" y="368"/>
                    </a:cubicBezTo>
                    <a:cubicBezTo>
                      <a:pt x="399" y="369"/>
                      <a:pt x="436" y="369"/>
                      <a:pt x="474" y="369"/>
                    </a:cubicBezTo>
                    <a:close/>
                    <a:moveTo>
                      <a:pt x="386" y="92"/>
                    </a:moveTo>
                    <a:cubicBezTo>
                      <a:pt x="385" y="93"/>
                      <a:pt x="384" y="95"/>
                      <a:pt x="383" y="96"/>
                    </a:cubicBezTo>
                    <a:cubicBezTo>
                      <a:pt x="386" y="98"/>
                      <a:pt x="390" y="100"/>
                      <a:pt x="392" y="102"/>
                    </a:cubicBezTo>
                    <a:cubicBezTo>
                      <a:pt x="411" y="128"/>
                      <a:pt x="432" y="153"/>
                      <a:pt x="450" y="180"/>
                    </a:cubicBezTo>
                    <a:cubicBezTo>
                      <a:pt x="464" y="201"/>
                      <a:pt x="463" y="202"/>
                      <a:pt x="486" y="193"/>
                    </a:cubicBezTo>
                    <a:cubicBezTo>
                      <a:pt x="504" y="185"/>
                      <a:pt x="522" y="177"/>
                      <a:pt x="541" y="167"/>
                    </a:cubicBezTo>
                    <a:cubicBezTo>
                      <a:pt x="495" y="126"/>
                      <a:pt x="444" y="101"/>
                      <a:pt x="386" y="92"/>
                    </a:cubicBezTo>
                    <a:close/>
                    <a:moveTo>
                      <a:pt x="216" y="201"/>
                    </a:moveTo>
                    <a:cubicBezTo>
                      <a:pt x="244" y="162"/>
                      <a:pt x="270" y="127"/>
                      <a:pt x="295" y="93"/>
                    </a:cubicBezTo>
                    <a:cubicBezTo>
                      <a:pt x="239" y="101"/>
                      <a:pt x="188" y="126"/>
                      <a:pt x="141" y="167"/>
                    </a:cubicBezTo>
                    <a:cubicBezTo>
                      <a:pt x="169" y="180"/>
                      <a:pt x="194" y="191"/>
                      <a:pt x="216" y="201"/>
                    </a:cubicBezTo>
                    <a:close/>
                    <a:moveTo>
                      <a:pt x="356" y="220"/>
                    </a:moveTo>
                    <a:cubicBezTo>
                      <a:pt x="383" y="217"/>
                      <a:pt x="408" y="214"/>
                      <a:pt x="436" y="210"/>
                    </a:cubicBezTo>
                    <a:cubicBezTo>
                      <a:pt x="415" y="169"/>
                      <a:pt x="391" y="135"/>
                      <a:pt x="356" y="107"/>
                    </a:cubicBezTo>
                    <a:cubicBezTo>
                      <a:pt x="356" y="146"/>
                      <a:pt x="356" y="182"/>
                      <a:pt x="356" y="220"/>
                    </a:cubicBezTo>
                    <a:close/>
                    <a:moveTo>
                      <a:pt x="356" y="659"/>
                    </a:moveTo>
                    <a:cubicBezTo>
                      <a:pt x="390" y="629"/>
                      <a:pt x="415" y="596"/>
                      <a:pt x="435" y="555"/>
                    </a:cubicBezTo>
                    <a:cubicBezTo>
                      <a:pt x="407" y="551"/>
                      <a:pt x="382" y="548"/>
                      <a:pt x="356" y="545"/>
                    </a:cubicBezTo>
                    <a:cubicBezTo>
                      <a:pt x="356" y="584"/>
                      <a:pt x="356" y="620"/>
                      <a:pt x="356" y="659"/>
                    </a:cubicBezTo>
                    <a:close/>
                    <a:moveTo>
                      <a:pt x="327" y="106"/>
                    </a:moveTo>
                    <a:cubicBezTo>
                      <a:pt x="292" y="135"/>
                      <a:pt x="268" y="169"/>
                      <a:pt x="247" y="210"/>
                    </a:cubicBezTo>
                    <a:cubicBezTo>
                      <a:pt x="275" y="213"/>
                      <a:pt x="301" y="217"/>
                      <a:pt x="327" y="220"/>
                    </a:cubicBezTo>
                    <a:cubicBezTo>
                      <a:pt x="327" y="181"/>
                      <a:pt x="327" y="145"/>
                      <a:pt x="327" y="1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5" name="Freeform 6">
                <a:extLst>
                  <a:ext uri="{FF2B5EF4-FFF2-40B4-BE49-F238E27FC236}">
                    <a16:creationId xmlns:a16="http://schemas.microsoft.com/office/drawing/2014/main" id="{F12C171C-DE2A-B6D5-EE9E-99CD94C48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563688" y="3856038"/>
                <a:ext cx="841375" cy="1179512"/>
              </a:xfrm>
              <a:custGeom>
                <a:avLst/>
                <a:gdLst>
                  <a:gd name="T0" fmla="*/ 321 w 426"/>
                  <a:gd name="T1" fmla="*/ 0 h 597"/>
                  <a:gd name="T2" fmla="*/ 369 w 426"/>
                  <a:gd name="T3" fmla="*/ 245 h 597"/>
                  <a:gd name="T4" fmla="*/ 346 w 426"/>
                  <a:gd name="T5" fmla="*/ 280 h 597"/>
                  <a:gd name="T6" fmla="*/ 327 w 426"/>
                  <a:gd name="T7" fmla="*/ 327 h 597"/>
                  <a:gd name="T8" fmla="*/ 313 w 426"/>
                  <a:gd name="T9" fmla="*/ 428 h 597"/>
                  <a:gd name="T10" fmla="*/ 289 w 426"/>
                  <a:gd name="T11" fmla="*/ 483 h 597"/>
                  <a:gd name="T12" fmla="*/ 200 w 426"/>
                  <a:gd name="T13" fmla="*/ 579 h 597"/>
                  <a:gd name="T14" fmla="*/ 147 w 426"/>
                  <a:gd name="T15" fmla="*/ 586 h 597"/>
                  <a:gd name="T16" fmla="*/ 133 w 426"/>
                  <a:gd name="T17" fmla="*/ 582 h 597"/>
                  <a:gd name="T18" fmla="*/ 87 w 426"/>
                  <a:gd name="T19" fmla="*/ 543 h 597"/>
                  <a:gd name="T20" fmla="*/ 125 w 426"/>
                  <a:gd name="T21" fmla="*/ 501 h 597"/>
                  <a:gd name="T22" fmla="*/ 168 w 426"/>
                  <a:gd name="T23" fmla="*/ 543 h 597"/>
                  <a:gd name="T24" fmla="*/ 168 w 426"/>
                  <a:gd name="T25" fmla="*/ 552 h 597"/>
                  <a:gd name="T26" fmla="*/ 178 w 426"/>
                  <a:gd name="T27" fmla="*/ 543 h 597"/>
                  <a:gd name="T28" fmla="*/ 256 w 426"/>
                  <a:gd name="T29" fmla="*/ 459 h 597"/>
                  <a:gd name="T30" fmla="*/ 253 w 426"/>
                  <a:gd name="T31" fmla="*/ 351 h 597"/>
                  <a:gd name="T32" fmla="*/ 147 w 426"/>
                  <a:gd name="T33" fmla="*/ 345 h 597"/>
                  <a:gd name="T34" fmla="*/ 52 w 426"/>
                  <a:gd name="T35" fmla="*/ 427 h 597"/>
                  <a:gd name="T36" fmla="*/ 46 w 426"/>
                  <a:gd name="T37" fmla="*/ 434 h 597"/>
                  <a:gd name="T38" fmla="*/ 61 w 426"/>
                  <a:gd name="T39" fmla="*/ 436 h 597"/>
                  <a:gd name="T40" fmla="*/ 96 w 426"/>
                  <a:gd name="T41" fmla="*/ 480 h 597"/>
                  <a:gd name="T42" fmla="*/ 53 w 426"/>
                  <a:gd name="T43" fmla="*/ 517 h 597"/>
                  <a:gd name="T44" fmla="*/ 14 w 426"/>
                  <a:gd name="T45" fmla="*/ 475 h 597"/>
                  <a:gd name="T46" fmla="*/ 9 w 426"/>
                  <a:gd name="T47" fmla="*/ 454 h 597"/>
                  <a:gd name="T48" fmla="*/ 15 w 426"/>
                  <a:gd name="T49" fmla="*/ 406 h 597"/>
                  <a:gd name="T50" fmla="*/ 131 w 426"/>
                  <a:gd name="T51" fmla="*/ 308 h 597"/>
                  <a:gd name="T52" fmla="*/ 172 w 426"/>
                  <a:gd name="T53" fmla="*/ 292 h 597"/>
                  <a:gd name="T54" fmla="*/ 289 w 426"/>
                  <a:gd name="T55" fmla="*/ 274 h 597"/>
                  <a:gd name="T56" fmla="*/ 309 w 426"/>
                  <a:gd name="T57" fmla="*/ 262 h 597"/>
                  <a:gd name="T58" fmla="*/ 355 w 426"/>
                  <a:gd name="T59" fmla="*/ 162 h 597"/>
                  <a:gd name="T60" fmla="*/ 335 w 426"/>
                  <a:gd name="T61" fmla="*/ 75 h 597"/>
                  <a:gd name="T62" fmla="*/ 325 w 426"/>
                  <a:gd name="T63" fmla="*/ 43 h 597"/>
                  <a:gd name="T64" fmla="*/ 321 w 426"/>
                  <a:gd name="T65" fmla="*/ 0 h 597"/>
                  <a:gd name="T66" fmla="*/ 285 w 426"/>
                  <a:gd name="T67" fmla="*/ 341 h 597"/>
                  <a:gd name="T68" fmla="*/ 288 w 426"/>
                  <a:gd name="T69" fmla="*/ 316 h 597"/>
                  <a:gd name="T70" fmla="*/ 263 w 426"/>
                  <a:gd name="T71" fmla="*/ 319 h 597"/>
                  <a:gd name="T72" fmla="*/ 285 w 426"/>
                  <a:gd name="T73" fmla="*/ 341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6" h="597">
                    <a:moveTo>
                      <a:pt x="321" y="0"/>
                    </a:moveTo>
                    <a:cubicBezTo>
                      <a:pt x="387" y="53"/>
                      <a:pt x="426" y="147"/>
                      <a:pt x="369" y="245"/>
                    </a:cubicBezTo>
                    <a:cubicBezTo>
                      <a:pt x="362" y="257"/>
                      <a:pt x="355" y="269"/>
                      <a:pt x="346" y="280"/>
                    </a:cubicBezTo>
                    <a:cubicBezTo>
                      <a:pt x="334" y="294"/>
                      <a:pt x="329" y="309"/>
                      <a:pt x="327" y="327"/>
                    </a:cubicBezTo>
                    <a:cubicBezTo>
                      <a:pt x="323" y="360"/>
                      <a:pt x="318" y="394"/>
                      <a:pt x="313" y="428"/>
                    </a:cubicBezTo>
                    <a:cubicBezTo>
                      <a:pt x="311" y="448"/>
                      <a:pt x="303" y="467"/>
                      <a:pt x="289" y="483"/>
                    </a:cubicBezTo>
                    <a:cubicBezTo>
                      <a:pt x="259" y="515"/>
                      <a:pt x="230" y="547"/>
                      <a:pt x="200" y="579"/>
                    </a:cubicBezTo>
                    <a:cubicBezTo>
                      <a:pt x="185" y="595"/>
                      <a:pt x="165" y="597"/>
                      <a:pt x="147" y="586"/>
                    </a:cubicBezTo>
                    <a:cubicBezTo>
                      <a:pt x="143" y="583"/>
                      <a:pt x="138" y="582"/>
                      <a:pt x="133" y="582"/>
                    </a:cubicBezTo>
                    <a:cubicBezTo>
                      <a:pt x="107" y="583"/>
                      <a:pt x="88" y="567"/>
                      <a:pt x="87" y="543"/>
                    </a:cubicBezTo>
                    <a:cubicBezTo>
                      <a:pt x="86" y="520"/>
                      <a:pt x="103" y="502"/>
                      <a:pt x="125" y="501"/>
                    </a:cubicBezTo>
                    <a:cubicBezTo>
                      <a:pt x="150" y="499"/>
                      <a:pt x="167" y="517"/>
                      <a:pt x="168" y="543"/>
                    </a:cubicBezTo>
                    <a:cubicBezTo>
                      <a:pt x="168" y="545"/>
                      <a:pt x="168" y="547"/>
                      <a:pt x="168" y="552"/>
                    </a:cubicBezTo>
                    <a:cubicBezTo>
                      <a:pt x="173" y="548"/>
                      <a:pt x="176" y="546"/>
                      <a:pt x="178" y="543"/>
                    </a:cubicBezTo>
                    <a:cubicBezTo>
                      <a:pt x="204" y="515"/>
                      <a:pt x="230" y="487"/>
                      <a:pt x="256" y="459"/>
                    </a:cubicBezTo>
                    <a:cubicBezTo>
                      <a:pt x="283" y="428"/>
                      <a:pt x="282" y="381"/>
                      <a:pt x="253" y="351"/>
                    </a:cubicBezTo>
                    <a:cubicBezTo>
                      <a:pt x="226" y="323"/>
                      <a:pt x="178" y="320"/>
                      <a:pt x="147" y="345"/>
                    </a:cubicBezTo>
                    <a:cubicBezTo>
                      <a:pt x="115" y="372"/>
                      <a:pt x="84" y="400"/>
                      <a:pt x="52" y="427"/>
                    </a:cubicBezTo>
                    <a:cubicBezTo>
                      <a:pt x="50" y="429"/>
                      <a:pt x="49" y="431"/>
                      <a:pt x="46" y="434"/>
                    </a:cubicBezTo>
                    <a:cubicBezTo>
                      <a:pt x="52" y="435"/>
                      <a:pt x="57" y="435"/>
                      <a:pt x="61" y="436"/>
                    </a:cubicBezTo>
                    <a:cubicBezTo>
                      <a:pt x="83" y="439"/>
                      <a:pt x="98" y="458"/>
                      <a:pt x="96" y="480"/>
                    </a:cubicBezTo>
                    <a:cubicBezTo>
                      <a:pt x="94" y="502"/>
                      <a:pt x="75" y="518"/>
                      <a:pt x="53" y="517"/>
                    </a:cubicBezTo>
                    <a:cubicBezTo>
                      <a:pt x="31" y="515"/>
                      <a:pt x="15" y="497"/>
                      <a:pt x="14" y="475"/>
                    </a:cubicBezTo>
                    <a:cubicBezTo>
                      <a:pt x="14" y="468"/>
                      <a:pt x="12" y="460"/>
                      <a:pt x="9" y="454"/>
                    </a:cubicBezTo>
                    <a:cubicBezTo>
                      <a:pt x="0" y="437"/>
                      <a:pt x="1" y="419"/>
                      <a:pt x="15" y="406"/>
                    </a:cubicBezTo>
                    <a:cubicBezTo>
                      <a:pt x="53" y="373"/>
                      <a:pt x="91" y="340"/>
                      <a:pt x="131" y="308"/>
                    </a:cubicBezTo>
                    <a:cubicBezTo>
                      <a:pt x="142" y="299"/>
                      <a:pt x="157" y="294"/>
                      <a:pt x="172" y="292"/>
                    </a:cubicBezTo>
                    <a:cubicBezTo>
                      <a:pt x="210" y="285"/>
                      <a:pt x="250" y="280"/>
                      <a:pt x="289" y="274"/>
                    </a:cubicBezTo>
                    <a:cubicBezTo>
                      <a:pt x="296" y="273"/>
                      <a:pt x="304" y="268"/>
                      <a:pt x="309" y="262"/>
                    </a:cubicBezTo>
                    <a:cubicBezTo>
                      <a:pt x="331" y="232"/>
                      <a:pt x="351" y="200"/>
                      <a:pt x="355" y="162"/>
                    </a:cubicBezTo>
                    <a:cubicBezTo>
                      <a:pt x="359" y="131"/>
                      <a:pt x="350" y="102"/>
                      <a:pt x="335" y="75"/>
                    </a:cubicBezTo>
                    <a:cubicBezTo>
                      <a:pt x="330" y="66"/>
                      <a:pt x="327" y="54"/>
                      <a:pt x="325" y="43"/>
                    </a:cubicBezTo>
                    <a:cubicBezTo>
                      <a:pt x="323" y="29"/>
                      <a:pt x="322" y="15"/>
                      <a:pt x="321" y="0"/>
                    </a:cubicBezTo>
                    <a:close/>
                    <a:moveTo>
                      <a:pt x="285" y="341"/>
                    </a:moveTo>
                    <a:cubicBezTo>
                      <a:pt x="286" y="333"/>
                      <a:pt x="287" y="325"/>
                      <a:pt x="288" y="316"/>
                    </a:cubicBezTo>
                    <a:cubicBezTo>
                      <a:pt x="278" y="317"/>
                      <a:pt x="270" y="318"/>
                      <a:pt x="263" y="319"/>
                    </a:cubicBezTo>
                    <a:cubicBezTo>
                      <a:pt x="271" y="326"/>
                      <a:pt x="277" y="333"/>
                      <a:pt x="285" y="3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6" name="Freeform 7">
                <a:extLst>
                  <a:ext uri="{FF2B5EF4-FFF2-40B4-BE49-F238E27FC236}">
                    <a16:creationId xmlns:a16="http://schemas.microsoft.com/office/drawing/2014/main" id="{A6A1133C-9903-4DDD-109E-91B3109878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505076" y="3821113"/>
                <a:ext cx="900113" cy="517525"/>
              </a:xfrm>
              <a:custGeom>
                <a:avLst/>
                <a:gdLst>
                  <a:gd name="T0" fmla="*/ 76 w 456"/>
                  <a:gd name="T1" fmla="*/ 0 h 262"/>
                  <a:gd name="T2" fmla="*/ 56 w 456"/>
                  <a:gd name="T3" fmla="*/ 70 h 262"/>
                  <a:gd name="T4" fmla="*/ 78 w 456"/>
                  <a:gd name="T5" fmla="*/ 148 h 262"/>
                  <a:gd name="T6" fmla="*/ 157 w 456"/>
                  <a:gd name="T7" fmla="*/ 166 h 262"/>
                  <a:gd name="T8" fmla="*/ 257 w 456"/>
                  <a:gd name="T9" fmla="*/ 161 h 262"/>
                  <a:gd name="T10" fmla="*/ 272 w 456"/>
                  <a:gd name="T11" fmla="*/ 147 h 262"/>
                  <a:gd name="T12" fmla="*/ 380 w 456"/>
                  <a:gd name="T13" fmla="*/ 79 h 262"/>
                  <a:gd name="T14" fmla="*/ 443 w 456"/>
                  <a:gd name="T15" fmla="*/ 187 h 262"/>
                  <a:gd name="T16" fmla="*/ 330 w 456"/>
                  <a:gd name="T17" fmla="*/ 247 h 262"/>
                  <a:gd name="T18" fmla="*/ 284 w 456"/>
                  <a:gd name="T19" fmla="*/ 209 h 262"/>
                  <a:gd name="T20" fmla="*/ 265 w 456"/>
                  <a:gd name="T21" fmla="*/ 201 h 262"/>
                  <a:gd name="T22" fmla="*/ 123 w 456"/>
                  <a:gd name="T23" fmla="*/ 203 h 262"/>
                  <a:gd name="T24" fmla="*/ 68 w 456"/>
                  <a:gd name="T25" fmla="*/ 189 h 262"/>
                  <a:gd name="T26" fmla="*/ 18 w 456"/>
                  <a:gd name="T27" fmla="*/ 61 h 262"/>
                  <a:gd name="T28" fmla="*/ 76 w 456"/>
                  <a:gd name="T29" fmla="*/ 0 h 262"/>
                  <a:gd name="T30" fmla="*/ 405 w 456"/>
                  <a:gd name="T31" fmla="*/ 164 h 262"/>
                  <a:gd name="T32" fmla="*/ 359 w 456"/>
                  <a:gd name="T33" fmla="*/ 116 h 262"/>
                  <a:gd name="T34" fmla="*/ 311 w 456"/>
                  <a:gd name="T35" fmla="*/ 164 h 262"/>
                  <a:gd name="T36" fmla="*/ 358 w 456"/>
                  <a:gd name="T37" fmla="*/ 211 h 262"/>
                  <a:gd name="T38" fmla="*/ 405 w 456"/>
                  <a:gd name="T39" fmla="*/ 164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6" h="262">
                    <a:moveTo>
                      <a:pt x="76" y="0"/>
                    </a:moveTo>
                    <a:cubicBezTo>
                      <a:pt x="68" y="26"/>
                      <a:pt x="71" y="49"/>
                      <a:pt x="56" y="70"/>
                    </a:cubicBezTo>
                    <a:cubicBezTo>
                      <a:pt x="38" y="96"/>
                      <a:pt x="50" y="133"/>
                      <a:pt x="78" y="148"/>
                    </a:cubicBezTo>
                    <a:cubicBezTo>
                      <a:pt x="103" y="162"/>
                      <a:pt x="130" y="166"/>
                      <a:pt x="157" y="166"/>
                    </a:cubicBezTo>
                    <a:cubicBezTo>
                      <a:pt x="191" y="166"/>
                      <a:pt x="224" y="163"/>
                      <a:pt x="257" y="161"/>
                    </a:cubicBezTo>
                    <a:cubicBezTo>
                      <a:pt x="267" y="161"/>
                      <a:pt x="270" y="157"/>
                      <a:pt x="272" y="147"/>
                    </a:cubicBezTo>
                    <a:cubicBezTo>
                      <a:pt x="282" y="97"/>
                      <a:pt x="331" y="66"/>
                      <a:pt x="380" y="79"/>
                    </a:cubicBezTo>
                    <a:cubicBezTo>
                      <a:pt x="427" y="90"/>
                      <a:pt x="456" y="140"/>
                      <a:pt x="443" y="187"/>
                    </a:cubicBezTo>
                    <a:cubicBezTo>
                      <a:pt x="429" y="235"/>
                      <a:pt x="378" y="262"/>
                      <a:pt x="330" y="247"/>
                    </a:cubicBezTo>
                    <a:cubicBezTo>
                      <a:pt x="310" y="240"/>
                      <a:pt x="294" y="228"/>
                      <a:pt x="284" y="209"/>
                    </a:cubicBezTo>
                    <a:cubicBezTo>
                      <a:pt x="279" y="201"/>
                      <a:pt x="274" y="199"/>
                      <a:pt x="265" y="201"/>
                    </a:cubicBezTo>
                    <a:cubicBezTo>
                      <a:pt x="217" y="207"/>
                      <a:pt x="170" y="210"/>
                      <a:pt x="123" y="203"/>
                    </a:cubicBezTo>
                    <a:cubicBezTo>
                      <a:pt x="104" y="200"/>
                      <a:pt x="85" y="196"/>
                      <a:pt x="68" y="189"/>
                    </a:cubicBezTo>
                    <a:cubicBezTo>
                      <a:pt x="5" y="164"/>
                      <a:pt x="0" y="107"/>
                      <a:pt x="18" y="61"/>
                    </a:cubicBezTo>
                    <a:cubicBezTo>
                      <a:pt x="29" y="35"/>
                      <a:pt x="49" y="17"/>
                      <a:pt x="76" y="0"/>
                    </a:cubicBezTo>
                    <a:close/>
                    <a:moveTo>
                      <a:pt x="405" y="164"/>
                    </a:moveTo>
                    <a:cubicBezTo>
                      <a:pt x="405" y="138"/>
                      <a:pt x="385" y="117"/>
                      <a:pt x="359" y="116"/>
                    </a:cubicBezTo>
                    <a:cubicBezTo>
                      <a:pt x="332" y="116"/>
                      <a:pt x="311" y="137"/>
                      <a:pt x="311" y="164"/>
                    </a:cubicBezTo>
                    <a:cubicBezTo>
                      <a:pt x="311" y="189"/>
                      <a:pt x="333" y="211"/>
                      <a:pt x="358" y="211"/>
                    </a:cubicBezTo>
                    <a:cubicBezTo>
                      <a:pt x="384" y="210"/>
                      <a:pt x="405" y="190"/>
                      <a:pt x="405" y="1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7" name="Freeform 16">
                <a:extLst>
                  <a:ext uri="{FF2B5EF4-FFF2-40B4-BE49-F238E27FC236}">
                    <a16:creationId xmlns:a16="http://schemas.microsoft.com/office/drawing/2014/main" id="{73DA6888-0F78-5FDC-293D-E33F8885F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51025" y="4089400"/>
                <a:ext cx="106363" cy="107950"/>
              </a:xfrm>
              <a:custGeom>
                <a:avLst/>
                <a:gdLst>
                  <a:gd name="T0" fmla="*/ 54 w 54"/>
                  <a:gd name="T1" fmla="*/ 28 h 55"/>
                  <a:gd name="T2" fmla="*/ 26 w 54"/>
                  <a:gd name="T3" fmla="*/ 54 h 55"/>
                  <a:gd name="T4" fmla="*/ 0 w 54"/>
                  <a:gd name="T5" fmla="*/ 27 h 55"/>
                  <a:gd name="T6" fmla="*/ 28 w 54"/>
                  <a:gd name="T7" fmla="*/ 1 h 55"/>
                  <a:gd name="T8" fmla="*/ 54 w 54"/>
                  <a:gd name="T9" fmla="*/ 2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55">
                    <a:moveTo>
                      <a:pt x="54" y="28"/>
                    </a:moveTo>
                    <a:cubicBezTo>
                      <a:pt x="54" y="43"/>
                      <a:pt x="41" y="55"/>
                      <a:pt x="26" y="54"/>
                    </a:cubicBezTo>
                    <a:cubicBezTo>
                      <a:pt x="11" y="54"/>
                      <a:pt x="0" y="42"/>
                      <a:pt x="0" y="27"/>
                    </a:cubicBezTo>
                    <a:cubicBezTo>
                      <a:pt x="1" y="12"/>
                      <a:pt x="13" y="0"/>
                      <a:pt x="28" y="1"/>
                    </a:cubicBezTo>
                    <a:cubicBezTo>
                      <a:pt x="43" y="1"/>
                      <a:pt x="54" y="14"/>
                      <a:pt x="5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451" name="Freeform 23">
              <a:extLst>
                <a:ext uri="{FF2B5EF4-FFF2-40B4-BE49-F238E27FC236}">
                  <a16:creationId xmlns:a16="http://schemas.microsoft.com/office/drawing/2014/main" id="{66B0AD61-3A08-B5E2-BA86-8111A6710841}"/>
                </a:ext>
              </a:extLst>
            </p:cNvPr>
            <p:cNvSpPr>
              <a:spLocks/>
            </p:cNvSpPr>
            <p:nvPr/>
          </p:nvSpPr>
          <p:spPr bwMode="auto">
            <a:xfrm rot="1635232">
              <a:off x="10023049" y="3997763"/>
              <a:ext cx="22374" cy="22375"/>
            </a:xfrm>
            <a:custGeom>
              <a:avLst/>
              <a:gdLst>
                <a:gd name="T0" fmla="*/ 40 w 80"/>
                <a:gd name="T1" fmla="*/ 0 h 80"/>
                <a:gd name="T2" fmla="*/ 40 w 80"/>
                <a:gd name="T3" fmla="*/ 0 h 80"/>
                <a:gd name="T4" fmla="*/ 32 w 80"/>
                <a:gd name="T5" fmla="*/ 2 h 80"/>
                <a:gd name="T6" fmla="*/ 24 w 80"/>
                <a:gd name="T7" fmla="*/ 4 h 80"/>
                <a:gd name="T8" fmla="*/ 18 w 80"/>
                <a:gd name="T9" fmla="*/ 8 h 80"/>
                <a:gd name="T10" fmla="*/ 12 w 80"/>
                <a:gd name="T11" fmla="*/ 12 h 80"/>
                <a:gd name="T12" fmla="*/ 6 w 80"/>
                <a:gd name="T13" fmla="*/ 18 h 80"/>
                <a:gd name="T14" fmla="*/ 2 w 80"/>
                <a:gd name="T15" fmla="*/ 26 h 80"/>
                <a:gd name="T16" fmla="*/ 0 w 80"/>
                <a:gd name="T17" fmla="*/ 32 h 80"/>
                <a:gd name="T18" fmla="*/ 0 w 80"/>
                <a:gd name="T19" fmla="*/ 40 h 80"/>
                <a:gd name="T20" fmla="*/ 0 w 80"/>
                <a:gd name="T21" fmla="*/ 40 h 80"/>
                <a:gd name="T22" fmla="*/ 0 w 80"/>
                <a:gd name="T23" fmla="*/ 48 h 80"/>
                <a:gd name="T24" fmla="*/ 4 w 80"/>
                <a:gd name="T25" fmla="*/ 56 h 80"/>
                <a:gd name="T26" fmla="*/ 8 w 80"/>
                <a:gd name="T27" fmla="*/ 62 h 80"/>
                <a:gd name="T28" fmla="*/ 12 w 80"/>
                <a:gd name="T29" fmla="*/ 68 h 80"/>
                <a:gd name="T30" fmla="*/ 18 w 80"/>
                <a:gd name="T31" fmla="*/ 74 h 80"/>
                <a:gd name="T32" fmla="*/ 26 w 80"/>
                <a:gd name="T33" fmla="*/ 76 h 80"/>
                <a:gd name="T34" fmla="*/ 34 w 80"/>
                <a:gd name="T35" fmla="*/ 78 h 80"/>
                <a:gd name="T36" fmla="*/ 42 w 80"/>
                <a:gd name="T37" fmla="*/ 80 h 80"/>
                <a:gd name="T38" fmla="*/ 42 w 80"/>
                <a:gd name="T39" fmla="*/ 80 h 80"/>
                <a:gd name="T40" fmla="*/ 50 w 80"/>
                <a:gd name="T41" fmla="*/ 78 h 80"/>
                <a:gd name="T42" fmla="*/ 56 w 80"/>
                <a:gd name="T43" fmla="*/ 76 h 80"/>
                <a:gd name="T44" fmla="*/ 62 w 80"/>
                <a:gd name="T45" fmla="*/ 72 h 80"/>
                <a:gd name="T46" fmla="*/ 68 w 80"/>
                <a:gd name="T47" fmla="*/ 68 h 80"/>
                <a:gd name="T48" fmla="*/ 74 w 80"/>
                <a:gd name="T49" fmla="*/ 62 h 80"/>
                <a:gd name="T50" fmla="*/ 76 w 80"/>
                <a:gd name="T51" fmla="*/ 54 h 80"/>
                <a:gd name="T52" fmla="*/ 78 w 80"/>
                <a:gd name="T53" fmla="*/ 48 h 80"/>
                <a:gd name="T54" fmla="*/ 80 w 80"/>
                <a:gd name="T55" fmla="*/ 40 h 80"/>
                <a:gd name="T56" fmla="*/ 80 w 80"/>
                <a:gd name="T57" fmla="*/ 40 h 80"/>
                <a:gd name="T58" fmla="*/ 78 w 80"/>
                <a:gd name="T59" fmla="*/ 32 h 80"/>
                <a:gd name="T60" fmla="*/ 76 w 80"/>
                <a:gd name="T61" fmla="*/ 24 h 80"/>
                <a:gd name="T62" fmla="*/ 72 w 80"/>
                <a:gd name="T63" fmla="*/ 18 h 80"/>
                <a:gd name="T64" fmla="*/ 68 w 80"/>
                <a:gd name="T65" fmla="*/ 12 h 80"/>
                <a:gd name="T66" fmla="*/ 62 w 80"/>
                <a:gd name="T67" fmla="*/ 8 h 80"/>
                <a:gd name="T68" fmla="*/ 56 w 80"/>
                <a:gd name="T69" fmla="*/ 4 h 80"/>
                <a:gd name="T70" fmla="*/ 48 w 80"/>
                <a:gd name="T71" fmla="*/ 2 h 80"/>
                <a:gd name="T72" fmla="*/ 40 w 80"/>
                <a:gd name="T73" fmla="*/ 0 h 80"/>
                <a:gd name="T74" fmla="*/ 40 w 80"/>
                <a:gd name="T7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lnTo>
                    <a:pt x="40" y="0"/>
                  </a:lnTo>
                  <a:lnTo>
                    <a:pt x="32" y="2"/>
                  </a:lnTo>
                  <a:lnTo>
                    <a:pt x="24" y="4"/>
                  </a:lnTo>
                  <a:lnTo>
                    <a:pt x="18" y="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4" y="56"/>
                  </a:lnTo>
                  <a:lnTo>
                    <a:pt x="8" y="62"/>
                  </a:lnTo>
                  <a:lnTo>
                    <a:pt x="12" y="68"/>
                  </a:lnTo>
                  <a:lnTo>
                    <a:pt x="18" y="74"/>
                  </a:lnTo>
                  <a:lnTo>
                    <a:pt x="26" y="76"/>
                  </a:lnTo>
                  <a:lnTo>
                    <a:pt x="34" y="78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50" y="78"/>
                  </a:lnTo>
                  <a:lnTo>
                    <a:pt x="56" y="76"/>
                  </a:lnTo>
                  <a:lnTo>
                    <a:pt x="62" y="72"/>
                  </a:lnTo>
                  <a:lnTo>
                    <a:pt x="68" y="68"/>
                  </a:lnTo>
                  <a:lnTo>
                    <a:pt x="74" y="62"/>
                  </a:lnTo>
                  <a:lnTo>
                    <a:pt x="76" y="54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8" y="32"/>
                  </a:lnTo>
                  <a:lnTo>
                    <a:pt x="76" y="24"/>
                  </a:lnTo>
                  <a:lnTo>
                    <a:pt x="72" y="18"/>
                  </a:lnTo>
                  <a:lnTo>
                    <a:pt x="68" y="12"/>
                  </a:lnTo>
                  <a:lnTo>
                    <a:pt x="62" y="8"/>
                  </a:lnTo>
                  <a:lnTo>
                    <a:pt x="56" y="4"/>
                  </a:lnTo>
                  <a:lnTo>
                    <a:pt x="48" y="2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2" name="Freeform 30">
              <a:extLst>
                <a:ext uri="{FF2B5EF4-FFF2-40B4-BE49-F238E27FC236}">
                  <a16:creationId xmlns:a16="http://schemas.microsoft.com/office/drawing/2014/main" id="{2D13A711-1D57-B8C1-8C96-79F5EA4F70DB}"/>
                </a:ext>
              </a:extLst>
            </p:cNvPr>
            <p:cNvSpPr>
              <a:spLocks/>
            </p:cNvSpPr>
            <p:nvPr/>
          </p:nvSpPr>
          <p:spPr bwMode="auto">
            <a:xfrm rot="1635232">
              <a:off x="9991745" y="4011176"/>
              <a:ext cx="22374" cy="21816"/>
            </a:xfrm>
            <a:custGeom>
              <a:avLst/>
              <a:gdLst>
                <a:gd name="T0" fmla="*/ 40 w 80"/>
                <a:gd name="T1" fmla="*/ 78 h 78"/>
                <a:gd name="T2" fmla="*/ 40 w 80"/>
                <a:gd name="T3" fmla="*/ 78 h 78"/>
                <a:gd name="T4" fmla="*/ 48 w 80"/>
                <a:gd name="T5" fmla="*/ 76 h 78"/>
                <a:gd name="T6" fmla="*/ 56 w 80"/>
                <a:gd name="T7" fmla="*/ 74 h 78"/>
                <a:gd name="T8" fmla="*/ 62 w 80"/>
                <a:gd name="T9" fmla="*/ 72 h 78"/>
                <a:gd name="T10" fmla="*/ 68 w 80"/>
                <a:gd name="T11" fmla="*/ 66 h 78"/>
                <a:gd name="T12" fmla="*/ 72 w 80"/>
                <a:gd name="T13" fmla="*/ 62 h 78"/>
                <a:gd name="T14" fmla="*/ 76 w 80"/>
                <a:gd name="T15" fmla="*/ 54 h 78"/>
                <a:gd name="T16" fmla="*/ 78 w 80"/>
                <a:gd name="T17" fmla="*/ 48 h 78"/>
                <a:gd name="T18" fmla="*/ 80 w 80"/>
                <a:gd name="T19" fmla="*/ 40 h 78"/>
                <a:gd name="T20" fmla="*/ 80 w 80"/>
                <a:gd name="T21" fmla="*/ 40 h 78"/>
                <a:gd name="T22" fmla="*/ 80 w 80"/>
                <a:gd name="T23" fmla="*/ 32 h 78"/>
                <a:gd name="T24" fmla="*/ 78 w 80"/>
                <a:gd name="T25" fmla="*/ 24 h 78"/>
                <a:gd name="T26" fmla="*/ 74 w 80"/>
                <a:gd name="T27" fmla="*/ 18 h 78"/>
                <a:gd name="T28" fmla="*/ 68 w 80"/>
                <a:gd name="T29" fmla="*/ 12 h 78"/>
                <a:gd name="T30" fmla="*/ 62 w 80"/>
                <a:gd name="T31" fmla="*/ 6 h 78"/>
                <a:gd name="T32" fmla="*/ 56 w 80"/>
                <a:gd name="T33" fmla="*/ 2 h 78"/>
                <a:gd name="T34" fmla="*/ 48 w 80"/>
                <a:gd name="T35" fmla="*/ 0 h 78"/>
                <a:gd name="T36" fmla="*/ 40 w 80"/>
                <a:gd name="T37" fmla="*/ 0 h 78"/>
                <a:gd name="T38" fmla="*/ 40 w 80"/>
                <a:gd name="T39" fmla="*/ 0 h 78"/>
                <a:gd name="T40" fmla="*/ 32 w 80"/>
                <a:gd name="T41" fmla="*/ 0 h 78"/>
                <a:gd name="T42" fmla="*/ 26 w 80"/>
                <a:gd name="T43" fmla="*/ 2 h 78"/>
                <a:gd name="T44" fmla="*/ 18 w 80"/>
                <a:gd name="T45" fmla="*/ 6 h 78"/>
                <a:gd name="T46" fmla="*/ 12 w 80"/>
                <a:gd name="T47" fmla="*/ 10 h 78"/>
                <a:gd name="T48" fmla="*/ 8 w 80"/>
                <a:gd name="T49" fmla="*/ 16 h 78"/>
                <a:gd name="T50" fmla="*/ 4 w 80"/>
                <a:gd name="T51" fmla="*/ 22 h 78"/>
                <a:gd name="T52" fmla="*/ 2 w 80"/>
                <a:gd name="T53" fmla="*/ 30 h 78"/>
                <a:gd name="T54" fmla="*/ 0 w 80"/>
                <a:gd name="T55" fmla="*/ 38 h 78"/>
                <a:gd name="T56" fmla="*/ 0 w 80"/>
                <a:gd name="T57" fmla="*/ 38 h 78"/>
                <a:gd name="T58" fmla="*/ 0 w 80"/>
                <a:gd name="T59" fmla="*/ 46 h 78"/>
                <a:gd name="T60" fmla="*/ 4 w 80"/>
                <a:gd name="T61" fmla="*/ 54 h 78"/>
                <a:gd name="T62" fmla="*/ 6 w 80"/>
                <a:gd name="T63" fmla="*/ 60 h 78"/>
                <a:gd name="T64" fmla="*/ 12 w 80"/>
                <a:gd name="T65" fmla="*/ 66 h 78"/>
                <a:gd name="T66" fmla="*/ 18 w 80"/>
                <a:gd name="T67" fmla="*/ 70 h 78"/>
                <a:gd name="T68" fmla="*/ 24 w 80"/>
                <a:gd name="T69" fmla="*/ 74 h 78"/>
                <a:gd name="T70" fmla="*/ 32 w 80"/>
                <a:gd name="T71" fmla="*/ 76 h 78"/>
                <a:gd name="T72" fmla="*/ 40 w 80"/>
                <a:gd name="T73" fmla="*/ 78 h 78"/>
                <a:gd name="T74" fmla="*/ 40 w 80"/>
                <a:gd name="T7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78">
                  <a:moveTo>
                    <a:pt x="40" y="78"/>
                  </a:moveTo>
                  <a:lnTo>
                    <a:pt x="40" y="78"/>
                  </a:lnTo>
                  <a:lnTo>
                    <a:pt x="48" y="76"/>
                  </a:lnTo>
                  <a:lnTo>
                    <a:pt x="56" y="74"/>
                  </a:lnTo>
                  <a:lnTo>
                    <a:pt x="62" y="72"/>
                  </a:lnTo>
                  <a:lnTo>
                    <a:pt x="68" y="66"/>
                  </a:lnTo>
                  <a:lnTo>
                    <a:pt x="72" y="62"/>
                  </a:lnTo>
                  <a:lnTo>
                    <a:pt x="76" y="54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2"/>
                  </a:lnTo>
                  <a:lnTo>
                    <a:pt x="78" y="24"/>
                  </a:lnTo>
                  <a:lnTo>
                    <a:pt x="74" y="18"/>
                  </a:lnTo>
                  <a:lnTo>
                    <a:pt x="68" y="12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8" y="16"/>
                  </a:lnTo>
                  <a:lnTo>
                    <a:pt x="4" y="22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6"/>
                  </a:lnTo>
                  <a:lnTo>
                    <a:pt x="4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0"/>
                  </a:lnTo>
                  <a:lnTo>
                    <a:pt x="24" y="74"/>
                  </a:lnTo>
                  <a:lnTo>
                    <a:pt x="32" y="76"/>
                  </a:lnTo>
                  <a:lnTo>
                    <a:pt x="40" y="78"/>
                  </a:lnTo>
                  <a:lnTo>
                    <a:pt x="4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grpSp>
          <p:nvGrpSpPr>
            <p:cNvPr id="453" name="Group 452">
              <a:extLst>
                <a:ext uri="{FF2B5EF4-FFF2-40B4-BE49-F238E27FC236}">
                  <a16:creationId xmlns:a16="http://schemas.microsoft.com/office/drawing/2014/main" id="{A3C2BFB1-9925-B524-B4CA-C7A7A38679BA}"/>
                </a:ext>
              </a:extLst>
            </p:cNvPr>
            <p:cNvGrpSpPr/>
            <p:nvPr/>
          </p:nvGrpSpPr>
          <p:grpSpPr>
            <a:xfrm rot="2620282">
              <a:off x="9988218" y="4205013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72" name="Freeform 23">
                <a:extLst>
                  <a:ext uri="{FF2B5EF4-FFF2-40B4-BE49-F238E27FC236}">
                    <a16:creationId xmlns:a16="http://schemas.microsoft.com/office/drawing/2014/main" id="{AA4E3836-C5F2-70B2-A6D5-AA50615390C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3" name="Freeform 30">
                <a:extLst>
                  <a:ext uri="{FF2B5EF4-FFF2-40B4-BE49-F238E27FC236}">
                    <a16:creationId xmlns:a16="http://schemas.microsoft.com/office/drawing/2014/main" id="{C54DE61B-75E5-906C-9743-C376618611E7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4" name="Group 453">
              <a:extLst>
                <a:ext uri="{FF2B5EF4-FFF2-40B4-BE49-F238E27FC236}">
                  <a16:creationId xmlns:a16="http://schemas.microsoft.com/office/drawing/2014/main" id="{E931122B-D2A6-F7A2-37AB-6E462EF347A6}"/>
                </a:ext>
              </a:extLst>
            </p:cNvPr>
            <p:cNvGrpSpPr/>
            <p:nvPr/>
          </p:nvGrpSpPr>
          <p:grpSpPr>
            <a:xfrm rot="5400000">
              <a:off x="9839220" y="4357439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70" name="Freeform 23">
                <a:extLst>
                  <a:ext uri="{FF2B5EF4-FFF2-40B4-BE49-F238E27FC236}">
                    <a16:creationId xmlns:a16="http://schemas.microsoft.com/office/drawing/2014/main" id="{231B57AD-A86C-5543-D5BC-10CFE05D1745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1" name="Freeform 30">
                <a:extLst>
                  <a:ext uri="{FF2B5EF4-FFF2-40B4-BE49-F238E27FC236}">
                    <a16:creationId xmlns:a16="http://schemas.microsoft.com/office/drawing/2014/main" id="{9DC07C89-330C-B398-362D-657E8C7E8E0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8B6C00C9-4A68-D079-26EC-15469A353201}"/>
                </a:ext>
              </a:extLst>
            </p:cNvPr>
            <p:cNvGrpSpPr/>
            <p:nvPr/>
          </p:nvGrpSpPr>
          <p:grpSpPr>
            <a:xfrm rot="19639563">
              <a:off x="9626341" y="4351724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8" name="Freeform 23">
                <a:extLst>
                  <a:ext uri="{FF2B5EF4-FFF2-40B4-BE49-F238E27FC236}">
                    <a16:creationId xmlns:a16="http://schemas.microsoft.com/office/drawing/2014/main" id="{A54CCA86-2E1E-F7F8-7A56-E5F2BB93617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9" name="Freeform 30">
                <a:extLst>
                  <a:ext uri="{FF2B5EF4-FFF2-40B4-BE49-F238E27FC236}">
                    <a16:creationId xmlns:a16="http://schemas.microsoft.com/office/drawing/2014/main" id="{37B7273B-2484-E603-97B7-84901E5823D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6" name="Group 455">
              <a:extLst>
                <a:ext uri="{FF2B5EF4-FFF2-40B4-BE49-F238E27FC236}">
                  <a16:creationId xmlns:a16="http://schemas.microsoft.com/office/drawing/2014/main" id="{1CCF72E4-28A0-35CF-5F8B-312CF800E78A}"/>
                </a:ext>
              </a:extLst>
            </p:cNvPr>
            <p:cNvGrpSpPr/>
            <p:nvPr/>
          </p:nvGrpSpPr>
          <p:grpSpPr>
            <a:xfrm rot="21406974">
              <a:off x="9492428" y="4207263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6" name="Freeform 23">
                <a:extLst>
                  <a:ext uri="{FF2B5EF4-FFF2-40B4-BE49-F238E27FC236}">
                    <a16:creationId xmlns:a16="http://schemas.microsoft.com/office/drawing/2014/main" id="{590388CB-03E2-6831-4A84-F85EAB7DF14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7" name="Freeform 30">
                <a:extLst>
                  <a:ext uri="{FF2B5EF4-FFF2-40B4-BE49-F238E27FC236}">
                    <a16:creationId xmlns:a16="http://schemas.microsoft.com/office/drawing/2014/main" id="{336569FF-85DD-878B-60DD-A68040FE713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4D4272-C835-04D6-1749-ADBB81C7B7C5}"/>
                </a:ext>
              </a:extLst>
            </p:cNvPr>
            <p:cNvGrpSpPr/>
            <p:nvPr/>
          </p:nvGrpSpPr>
          <p:grpSpPr>
            <a:xfrm rot="2340524">
              <a:off x="9487569" y="4009928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4" name="Freeform 23">
                <a:extLst>
                  <a:ext uri="{FF2B5EF4-FFF2-40B4-BE49-F238E27FC236}">
                    <a16:creationId xmlns:a16="http://schemas.microsoft.com/office/drawing/2014/main" id="{EE20BC2E-5244-3C5A-2FE8-54A9750112A6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5" name="Freeform 30">
                <a:extLst>
                  <a:ext uri="{FF2B5EF4-FFF2-40B4-BE49-F238E27FC236}">
                    <a16:creationId xmlns:a16="http://schemas.microsoft.com/office/drawing/2014/main" id="{80435A91-87DD-18FF-43FA-8FF4EF43AD6E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4DEB8C7A-61BF-89B3-BE6B-41B9436867DA}"/>
                </a:ext>
              </a:extLst>
            </p:cNvPr>
            <p:cNvGrpSpPr/>
            <p:nvPr/>
          </p:nvGrpSpPr>
          <p:grpSpPr>
            <a:xfrm rot="4988443">
              <a:off x="9636084" y="3854657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2" name="Freeform 23">
                <a:extLst>
                  <a:ext uri="{FF2B5EF4-FFF2-40B4-BE49-F238E27FC236}">
                    <a16:creationId xmlns:a16="http://schemas.microsoft.com/office/drawing/2014/main" id="{A59788B7-CBB7-913F-85F6-242B58AAD00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3" name="Freeform 30">
                <a:extLst>
                  <a:ext uri="{FF2B5EF4-FFF2-40B4-BE49-F238E27FC236}">
                    <a16:creationId xmlns:a16="http://schemas.microsoft.com/office/drawing/2014/main" id="{9E3F73E8-6A09-2CD3-5C89-0627AACBE4C8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42557A1A-197E-AA65-967A-660BD7113B01}"/>
                </a:ext>
              </a:extLst>
            </p:cNvPr>
            <p:cNvGrpSpPr/>
            <p:nvPr/>
          </p:nvGrpSpPr>
          <p:grpSpPr>
            <a:xfrm rot="19492102">
              <a:off x="9843874" y="3855586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0" name="Freeform 23">
                <a:extLst>
                  <a:ext uri="{FF2B5EF4-FFF2-40B4-BE49-F238E27FC236}">
                    <a16:creationId xmlns:a16="http://schemas.microsoft.com/office/drawing/2014/main" id="{B1AF9B5C-8760-5011-D3DA-A4A00DC6EFB4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1" name="Freeform 30">
                <a:extLst>
                  <a:ext uri="{FF2B5EF4-FFF2-40B4-BE49-F238E27FC236}">
                    <a16:creationId xmlns:a16="http://schemas.microsoft.com/office/drawing/2014/main" id="{282536CD-E70E-DA30-93A0-935BCF1469E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514" name="Rectangle: Top Corners Rounded 513">
            <a:extLst>
              <a:ext uri="{FF2B5EF4-FFF2-40B4-BE49-F238E27FC236}">
                <a16:creationId xmlns:a16="http://schemas.microsoft.com/office/drawing/2014/main" id="{AABE539E-EFCF-9D33-012E-73556D27D28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5177093" y="4171625"/>
            <a:ext cx="632881" cy="450912"/>
          </a:xfrm>
          <a:prstGeom prst="round2SameRect">
            <a:avLst/>
          </a:prstGeom>
          <a:solidFill>
            <a:srgbClr val="0D5CAB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5" name="Rectangle: Top Corners Rounded 514">
            <a:extLst>
              <a:ext uri="{FF2B5EF4-FFF2-40B4-BE49-F238E27FC236}">
                <a16:creationId xmlns:a16="http://schemas.microsoft.com/office/drawing/2014/main" id="{C9B84484-C3D0-8D06-A658-4A6A4C158BC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 rot="10800000">
            <a:off x="5177093" y="4695124"/>
            <a:ext cx="632881" cy="450912"/>
          </a:xfrm>
          <a:prstGeom prst="round2SameRect">
            <a:avLst/>
          </a:prstGeom>
          <a:solidFill>
            <a:srgbClr val="0D5CAB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6" name="Rectangle: Top Corners Rounded 515">
            <a:extLst>
              <a:ext uri="{FF2B5EF4-FFF2-40B4-BE49-F238E27FC236}">
                <a16:creationId xmlns:a16="http://schemas.microsoft.com/office/drawing/2014/main" id="{BD34721B-5384-CF38-04F9-C86AF0D2D26B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6443783" y="4181150"/>
            <a:ext cx="632881" cy="450912"/>
          </a:xfrm>
          <a:prstGeom prst="round2SameRect">
            <a:avLst/>
          </a:prstGeom>
          <a:solidFill>
            <a:srgbClr val="0D5CAB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7" name="Rectangle: Top Corners Rounded 516">
            <a:extLst>
              <a:ext uri="{FF2B5EF4-FFF2-40B4-BE49-F238E27FC236}">
                <a16:creationId xmlns:a16="http://schemas.microsoft.com/office/drawing/2014/main" id="{31971DB4-FDF4-592C-59D2-6060332BE0C5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 rot="10800000">
            <a:off x="6443783" y="4704649"/>
            <a:ext cx="632881" cy="450912"/>
          </a:xfrm>
          <a:prstGeom prst="round2SameRect">
            <a:avLst/>
          </a:prstGeom>
          <a:solidFill>
            <a:srgbClr val="0D5CAB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8" name="Oval 517">
            <a:extLst>
              <a:ext uri="{FF2B5EF4-FFF2-40B4-BE49-F238E27FC236}">
                <a16:creationId xmlns:a16="http://schemas.microsoft.com/office/drawing/2014/main" id="{5CF2D6AC-3A06-CC74-0477-152DB4BB76C2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5720598" y="4308575"/>
            <a:ext cx="767180" cy="767176"/>
          </a:xfrm>
          <a:prstGeom prst="ellipse">
            <a:avLst/>
          </a:prstGeom>
          <a:solidFill>
            <a:sysClr val="window" lastClr="FFFFFF"/>
          </a:solidFill>
          <a:ln w="7620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明朝 ProN W3" pitchFamily="1" charset="-128"/>
              <a:sym typeface="Times New Roman" pitchFamily="18" charset="0"/>
            </a:endParaRPr>
          </a:p>
        </p:txBody>
      </p:sp>
      <p:grpSp>
        <p:nvGrpSpPr>
          <p:cNvPr id="519" name="Group 518">
            <a:extLst>
              <a:ext uri="{FF2B5EF4-FFF2-40B4-BE49-F238E27FC236}">
                <a16:creationId xmlns:a16="http://schemas.microsoft.com/office/drawing/2014/main" id="{2FE73D09-774D-E0EA-0A68-2817D0F8BDC4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1924784" y="4201171"/>
            <a:ext cx="1045989" cy="999323"/>
            <a:chOff x="1896209" y="3643840"/>
            <a:chExt cx="1188731" cy="999323"/>
          </a:xfrm>
        </p:grpSpPr>
        <p:sp>
          <p:nvSpPr>
            <p:cNvPr id="520" name="Rectangle 519">
              <a:extLst>
                <a:ext uri="{FF2B5EF4-FFF2-40B4-BE49-F238E27FC236}">
                  <a16:creationId xmlns:a16="http://schemas.microsoft.com/office/drawing/2014/main" id="{2ED7C7E3-3B7A-6879-5095-C27EFA2BFEBF}"/>
                </a:ext>
              </a:extLst>
            </p:cNvPr>
            <p:cNvSpPr/>
            <p:nvPr/>
          </p:nvSpPr>
          <p:spPr>
            <a:xfrm>
              <a:off x="2275947" y="3655498"/>
              <a:ext cx="450277" cy="19452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1" name="Rectangle 520">
              <a:extLst>
                <a:ext uri="{FF2B5EF4-FFF2-40B4-BE49-F238E27FC236}">
                  <a16:creationId xmlns:a16="http://schemas.microsoft.com/office/drawing/2014/main" id="{F469C47C-C03B-B004-D067-C771754819E9}"/>
                </a:ext>
              </a:extLst>
            </p:cNvPr>
            <p:cNvSpPr/>
            <p:nvPr/>
          </p:nvSpPr>
          <p:spPr>
            <a:xfrm>
              <a:off x="2028294" y="3882645"/>
              <a:ext cx="945581" cy="756465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2" name="Rectangle: Rounded Corners 521">
              <a:extLst>
                <a:ext uri="{FF2B5EF4-FFF2-40B4-BE49-F238E27FC236}">
                  <a16:creationId xmlns:a16="http://schemas.microsoft.com/office/drawing/2014/main" id="{3B6DF762-68D8-37AC-5E32-CD3819A3CBF5}"/>
                </a:ext>
              </a:extLst>
            </p:cNvPr>
            <p:cNvSpPr/>
            <p:nvPr/>
          </p:nvSpPr>
          <p:spPr>
            <a:xfrm>
              <a:off x="1896209" y="4601287"/>
              <a:ext cx="1188731" cy="37823"/>
            </a:xfrm>
            <a:prstGeom prst="roundRect">
              <a:avLst>
                <a:gd name="adj" fmla="val 5000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3" name="Rectangle 522">
              <a:extLst>
                <a:ext uri="{FF2B5EF4-FFF2-40B4-BE49-F238E27FC236}">
                  <a16:creationId xmlns:a16="http://schemas.microsoft.com/office/drawing/2014/main" id="{486D626C-A99E-F5A6-2B02-68E14DDE6664}"/>
                </a:ext>
              </a:extLst>
            </p:cNvPr>
            <p:cNvSpPr/>
            <p:nvPr/>
          </p:nvSpPr>
          <p:spPr>
            <a:xfrm>
              <a:off x="2062289" y="3938442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4" name="Rectangle 523">
              <a:extLst>
                <a:ext uri="{FF2B5EF4-FFF2-40B4-BE49-F238E27FC236}">
                  <a16:creationId xmlns:a16="http://schemas.microsoft.com/office/drawing/2014/main" id="{EF38C981-1E2A-EDD4-09A3-992D8AEC6871}"/>
                </a:ext>
              </a:extLst>
            </p:cNvPr>
            <p:cNvSpPr/>
            <p:nvPr/>
          </p:nvSpPr>
          <p:spPr>
            <a:xfrm>
              <a:off x="2289225" y="3938442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5" name="Rectangle 524">
              <a:extLst>
                <a:ext uri="{FF2B5EF4-FFF2-40B4-BE49-F238E27FC236}">
                  <a16:creationId xmlns:a16="http://schemas.microsoft.com/office/drawing/2014/main" id="{FCC90BA4-40B1-962D-30D5-2B4E38E030D9}"/>
                </a:ext>
              </a:extLst>
            </p:cNvPr>
            <p:cNvSpPr/>
            <p:nvPr/>
          </p:nvSpPr>
          <p:spPr>
            <a:xfrm>
              <a:off x="2516160" y="3938442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6" name="Rectangle 525">
              <a:extLst>
                <a:ext uri="{FF2B5EF4-FFF2-40B4-BE49-F238E27FC236}">
                  <a16:creationId xmlns:a16="http://schemas.microsoft.com/office/drawing/2014/main" id="{2E443E8F-1F8B-1279-88FF-DF8AB416C26A}"/>
                </a:ext>
              </a:extLst>
            </p:cNvPr>
            <p:cNvSpPr/>
            <p:nvPr/>
          </p:nvSpPr>
          <p:spPr>
            <a:xfrm>
              <a:off x="2743095" y="3938442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7" name="Rectangle 526">
              <a:extLst>
                <a:ext uri="{FF2B5EF4-FFF2-40B4-BE49-F238E27FC236}">
                  <a16:creationId xmlns:a16="http://schemas.microsoft.com/office/drawing/2014/main" id="{9ED101C8-7181-17B1-7A01-1434E858CE96}"/>
                </a:ext>
              </a:extLst>
            </p:cNvPr>
            <p:cNvSpPr/>
            <p:nvPr/>
          </p:nvSpPr>
          <p:spPr>
            <a:xfrm>
              <a:off x="2062289" y="4150049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8" name="Rectangle 527">
              <a:extLst>
                <a:ext uri="{FF2B5EF4-FFF2-40B4-BE49-F238E27FC236}">
                  <a16:creationId xmlns:a16="http://schemas.microsoft.com/office/drawing/2014/main" id="{5F777238-4B8C-7048-11FA-0CA8DDD6201E}"/>
                </a:ext>
              </a:extLst>
            </p:cNvPr>
            <p:cNvSpPr/>
            <p:nvPr/>
          </p:nvSpPr>
          <p:spPr>
            <a:xfrm>
              <a:off x="2289225" y="4150049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9" name="Rectangle 528">
              <a:extLst>
                <a:ext uri="{FF2B5EF4-FFF2-40B4-BE49-F238E27FC236}">
                  <a16:creationId xmlns:a16="http://schemas.microsoft.com/office/drawing/2014/main" id="{8EEAD4F9-787A-6566-0D05-CCB4261E3962}"/>
                </a:ext>
              </a:extLst>
            </p:cNvPr>
            <p:cNvSpPr/>
            <p:nvPr/>
          </p:nvSpPr>
          <p:spPr>
            <a:xfrm>
              <a:off x="2516160" y="4150049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0" name="Rectangle 529">
              <a:extLst>
                <a:ext uri="{FF2B5EF4-FFF2-40B4-BE49-F238E27FC236}">
                  <a16:creationId xmlns:a16="http://schemas.microsoft.com/office/drawing/2014/main" id="{71C46740-2734-E8B4-FFCD-A655B1603BDC}"/>
                </a:ext>
              </a:extLst>
            </p:cNvPr>
            <p:cNvSpPr/>
            <p:nvPr/>
          </p:nvSpPr>
          <p:spPr>
            <a:xfrm>
              <a:off x="2743095" y="4150049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1" name="Rectangle 530">
              <a:extLst>
                <a:ext uri="{FF2B5EF4-FFF2-40B4-BE49-F238E27FC236}">
                  <a16:creationId xmlns:a16="http://schemas.microsoft.com/office/drawing/2014/main" id="{53E778A2-B83F-1FEF-5160-ADDF9874DCAF}"/>
                </a:ext>
              </a:extLst>
            </p:cNvPr>
            <p:cNvSpPr/>
            <p:nvPr/>
          </p:nvSpPr>
          <p:spPr>
            <a:xfrm>
              <a:off x="2134482" y="4381397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2" name="Rectangle 531">
              <a:extLst>
                <a:ext uri="{FF2B5EF4-FFF2-40B4-BE49-F238E27FC236}">
                  <a16:creationId xmlns:a16="http://schemas.microsoft.com/office/drawing/2014/main" id="{2771E08E-6333-264A-7DB8-2AD1B66BA5E7}"/>
                </a:ext>
              </a:extLst>
            </p:cNvPr>
            <p:cNvSpPr/>
            <p:nvPr/>
          </p:nvSpPr>
          <p:spPr>
            <a:xfrm>
              <a:off x="2673916" y="4381397"/>
              <a:ext cx="193773" cy="134692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3" name="Rectangle 532">
              <a:extLst>
                <a:ext uri="{FF2B5EF4-FFF2-40B4-BE49-F238E27FC236}">
                  <a16:creationId xmlns:a16="http://schemas.microsoft.com/office/drawing/2014/main" id="{0D25488D-3A7F-BDDF-E29C-5C595D8608BE}"/>
                </a:ext>
              </a:extLst>
            </p:cNvPr>
            <p:cNvSpPr/>
            <p:nvPr/>
          </p:nvSpPr>
          <p:spPr>
            <a:xfrm>
              <a:off x="2393042" y="4361656"/>
              <a:ext cx="216087" cy="281507"/>
            </a:xfrm>
            <a:prstGeom prst="rect">
              <a:avLst/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4" name="Cross 533">
              <a:extLst>
                <a:ext uri="{FF2B5EF4-FFF2-40B4-BE49-F238E27FC236}">
                  <a16:creationId xmlns:a16="http://schemas.microsoft.com/office/drawing/2014/main" id="{379709FE-E9B3-C00F-5DE8-531C74720C95}"/>
                </a:ext>
              </a:extLst>
            </p:cNvPr>
            <p:cNvSpPr/>
            <p:nvPr/>
          </p:nvSpPr>
          <p:spPr>
            <a:xfrm>
              <a:off x="2393042" y="3643840"/>
              <a:ext cx="216087" cy="216087"/>
            </a:xfrm>
            <a:prstGeom prst="plus">
              <a:avLst>
                <a:gd name="adj" fmla="val 30809"/>
              </a:avLst>
            </a:prstGeom>
            <a:solidFill>
              <a:srgbClr val="4DA6D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35" name="Group 534">
            <a:extLst>
              <a:ext uri="{FF2B5EF4-FFF2-40B4-BE49-F238E27FC236}">
                <a16:creationId xmlns:a16="http://schemas.microsoft.com/office/drawing/2014/main" id="{030B728C-EDDF-8378-EE6D-8DB5A8207AF0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5288447" y="4273299"/>
            <a:ext cx="372868" cy="278002"/>
            <a:chOff x="-1630535" y="2571816"/>
            <a:chExt cx="804755" cy="600009"/>
          </a:xfrm>
        </p:grpSpPr>
        <p:sp>
          <p:nvSpPr>
            <p:cNvPr id="536" name="Rectangle 535">
              <a:extLst>
                <a:ext uri="{FF2B5EF4-FFF2-40B4-BE49-F238E27FC236}">
                  <a16:creationId xmlns:a16="http://schemas.microsoft.com/office/drawing/2014/main" id="{DFFF57FF-F02F-FB96-D853-DDC5F718936B}"/>
                </a:ext>
              </a:extLst>
            </p:cNvPr>
            <p:cNvSpPr/>
            <p:nvPr/>
          </p:nvSpPr>
          <p:spPr>
            <a:xfrm>
              <a:off x="-1438275" y="2571816"/>
              <a:ext cx="399678" cy="600009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46694A01-A1B3-FDDD-20BA-224F2A479F3F}"/>
                </a:ext>
              </a:extLst>
            </p:cNvPr>
            <p:cNvSpPr/>
            <p:nvPr/>
          </p:nvSpPr>
          <p:spPr>
            <a:xfrm>
              <a:off x="-995599" y="2714625"/>
              <a:ext cx="169819" cy="457200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9ADE8927-3128-63F1-6EA4-05746F901359}"/>
                </a:ext>
              </a:extLst>
            </p:cNvPr>
            <p:cNvSpPr/>
            <p:nvPr/>
          </p:nvSpPr>
          <p:spPr>
            <a:xfrm flipH="1">
              <a:off x="-1630535" y="2714626"/>
              <a:ext cx="169818" cy="457199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9" name="Rectangle 538">
              <a:extLst>
                <a:ext uri="{FF2B5EF4-FFF2-40B4-BE49-F238E27FC236}">
                  <a16:creationId xmlns:a16="http://schemas.microsoft.com/office/drawing/2014/main" id="{C6597710-CEDA-4B0C-17C3-C78119E22CD0}"/>
                </a:ext>
              </a:extLst>
            </p:cNvPr>
            <p:cNvSpPr/>
            <p:nvPr/>
          </p:nvSpPr>
          <p:spPr>
            <a:xfrm>
              <a:off x="-1378576" y="2647950"/>
              <a:ext cx="280281" cy="128016"/>
            </a:xfrm>
            <a:prstGeom prst="rect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0" name="Cross 539">
              <a:extLst>
                <a:ext uri="{FF2B5EF4-FFF2-40B4-BE49-F238E27FC236}">
                  <a16:creationId xmlns:a16="http://schemas.microsoft.com/office/drawing/2014/main" id="{3A0536C5-461F-B791-F956-6045B8DA4360}"/>
                </a:ext>
              </a:extLst>
            </p:cNvPr>
            <p:cNvSpPr/>
            <p:nvPr/>
          </p:nvSpPr>
          <p:spPr>
            <a:xfrm>
              <a:off x="-1354611" y="2829873"/>
              <a:ext cx="232351" cy="232351"/>
            </a:xfrm>
            <a:prstGeom prst="plus">
              <a:avLst>
                <a:gd name="adj" fmla="val 29100"/>
              </a:avLst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41" name="Group 540">
            <a:extLst>
              <a:ext uri="{FF2B5EF4-FFF2-40B4-BE49-F238E27FC236}">
                <a16:creationId xmlns:a16="http://schemas.microsoft.com/office/drawing/2014/main" id="{597A00E3-CAAC-7B6C-E3D6-DB7A9952FB50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5288447" y="4788653"/>
            <a:ext cx="372868" cy="278002"/>
            <a:chOff x="-1630535" y="2571816"/>
            <a:chExt cx="804755" cy="600009"/>
          </a:xfrm>
        </p:grpSpPr>
        <p:sp>
          <p:nvSpPr>
            <p:cNvPr id="542" name="Rectangle 541">
              <a:extLst>
                <a:ext uri="{FF2B5EF4-FFF2-40B4-BE49-F238E27FC236}">
                  <a16:creationId xmlns:a16="http://schemas.microsoft.com/office/drawing/2014/main" id="{1888748C-6055-5C26-691F-F9AD23200F71}"/>
                </a:ext>
              </a:extLst>
            </p:cNvPr>
            <p:cNvSpPr/>
            <p:nvPr/>
          </p:nvSpPr>
          <p:spPr>
            <a:xfrm>
              <a:off x="-1438275" y="2571816"/>
              <a:ext cx="399678" cy="600009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600FB654-C94B-FC88-C02C-3919BA89DC6F}"/>
                </a:ext>
              </a:extLst>
            </p:cNvPr>
            <p:cNvSpPr/>
            <p:nvPr/>
          </p:nvSpPr>
          <p:spPr>
            <a:xfrm>
              <a:off x="-995599" y="2714625"/>
              <a:ext cx="169819" cy="457200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87279E4E-CF3C-0B88-2F39-BA46FC4E9187}"/>
                </a:ext>
              </a:extLst>
            </p:cNvPr>
            <p:cNvSpPr/>
            <p:nvPr/>
          </p:nvSpPr>
          <p:spPr>
            <a:xfrm flipH="1">
              <a:off x="-1630535" y="2714626"/>
              <a:ext cx="169818" cy="457199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5" name="Rectangle 544">
              <a:extLst>
                <a:ext uri="{FF2B5EF4-FFF2-40B4-BE49-F238E27FC236}">
                  <a16:creationId xmlns:a16="http://schemas.microsoft.com/office/drawing/2014/main" id="{5DA1B059-9309-F02D-6D27-646A3D6929FA}"/>
                </a:ext>
              </a:extLst>
            </p:cNvPr>
            <p:cNvSpPr/>
            <p:nvPr/>
          </p:nvSpPr>
          <p:spPr>
            <a:xfrm>
              <a:off x="-1378576" y="2647950"/>
              <a:ext cx="280281" cy="128016"/>
            </a:xfrm>
            <a:prstGeom prst="rect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6" name="Cross 545">
              <a:extLst>
                <a:ext uri="{FF2B5EF4-FFF2-40B4-BE49-F238E27FC236}">
                  <a16:creationId xmlns:a16="http://schemas.microsoft.com/office/drawing/2014/main" id="{13F04C09-7EA4-67DA-C245-7C8FC397E52A}"/>
                </a:ext>
              </a:extLst>
            </p:cNvPr>
            <p:cNvSpPr/>
            <p:nvPr/>
          </p:nvSpPr>
          <p:spPr>
            <a:xfrm>
              <a:off x="-1354611" y="2829873"/>
              <a:ext cx="232351" cy="232351"/>
            </a:xfrm>
            <a:prstGeom prst="plus">
              <a:avLst>
                <a:gd name="adj" fmla="val 29100"/>
              </a:avLst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47" name="Group 546">
            <a:extLst>
              <a:ext uri="{FF2B5EF4-FFF2-40B4-BE49-F238E27FC236}">
                <a16:creationId xmlns:a16="http://schemas.microsoft.com/office/drawing/2014/main" id="{4FF71AC8-CE15-1DDC-C907-55E9DF8A4E25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6593381" y="4273299"/>
            <a:ext cx="372868" cy="278002"/>
            <a:chOff x="-1630535" y="2571816"/>
            <a:chExt cx="804755" cy="600009"/>
          </a:xfrm>
        </p:grpSpPr>
        <p:sp>
          <p:nvSpPr>
            <p:cNvPr id="548" name="Rectangle 547">
              <a:extLst>
                <a:ext uri="{FF2B5EF4-FFF2-40B4-BE49-F238E27FC236}">
                  <a16:creationId xmlns:a16="http://schemas.microsoft.com/office/drawing/2014/main" id="{5DDB9C64-3156-8278-EF22-630CB698C0D8}"/>
                </a:ext>
              </a:extLst>
            </p:cNvPr>
            <p:cNvSpPr/>
            <p:nvPr/>
          </p:nvSpPr>
          <p:spPr>
            <a:xfrm>
              <a:off x="-1438275" y="2571816"/>
              <a:ext cx="399678" cy="600009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DFBD7299-1C9A-94FB-4EE9-82F1723001D1}"/>
                </a:ext>
              </a:extLst>
            </p:cNvPr>
            <p:cNvSpPr/>
            <p:nvPr/>
          </p:nvSpPr>
          <p:spPr>
            <a:xfrm>
              <a:off x="-995599" y="2714625"/>
              <a:ext cx="169819" cy="457200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70D64DAC-A43F-A6FE-EE96-316930F4A0DA}"/>
                </a:ext>
              </a:extLst>
            </p:cNvPr>
            <p:cNvSpPr/>
            <p:nvPr/>
          </p:nvSpPr>
          <p:spPr>
            <a:xfrm flipH="1">
              <a:off x="-1630535" y="2714626"/>
              <a:ext cx="169818" cy="457199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1" name="Rectangle 550">
              <a:extLst>
                <a:ext uri="{FF2B5EF4-FFF2-40B4-BE49-F238E27FC236}">
                  <a16:creationId xmlns:a16="http://schemas.microsoft.com/office/drawing/2014/main" id="{5781278C-F36C-F358-85BF-09F6FA9129DB}"/>
                </a:ext>
              </a:extLst>
            </p:cNvPr>
            <p:cNvSpPr/>
            <p:nvPr/>
          </p:nvSpPr>
          <p:spPr>
            <a:xfrm>
              <a:off x="-1378576" y="2647950"/>
              <a:ext cx="280281" cy="128016"/>
            </a:xfrm>
            <a:prstGeom prst="rect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2" name="Cross 551">
              <a:extLst>
                <a:ext uri="{FF2B5EF4-FFF2-40B4-BE49-F238E27FC236}">
                  <a16:creationId xmlns:a16="http://schemas.microsoft.com/office/drawing/2014/main" id="{887D7276-6BD9-9CC2-54A6-AF0849C155E3}"/>
                </a:ext>
              </a:extLst>
            </p:cNvPr>
            <p:cNvSpPr/>
            <p:nvPr/>
          </p:nvSpPr>
          <p:spPr>
            <a:xfrm>
              <a:off x="-1354611" y="2829873"/>
              <a:ext cx="232351" cy="232351"/>
            </a:xfrm>
            <a:prstGeom prst="plus">
              <a:avLst>
                <a:gd name="adj" fmla="val 29100"/>
              </a:avLst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53" name="Group 552">
            <a:extLst>
              <a:ext uri="{FF2B5EF4-FFF2-40B4-BE49-F238E27FC236}">
                <a16:creationId xmlns:a16="http://schemas.microsoft.com/office/drawing/2014/main" id="{31DAD61E-A1B3-C827-C4A3-C29884CCC8AF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6593381" y="4788653"/>
            <a:ext cx="372868" cy="278002"/>
            <a:chOff x="-1630535" y="2571816"/>
            <a:chExt cx="804755" cy="600009"/>
          </a:xfrm>
        </p:grpSpPr>
        <p:sp>
          <p:nvSpPr>
            <p:cNvPr id="554" name="Rectangle 553">
              <a:extLst>
                <a:ext uri="{FF2B5EF4-FFF2-40B4-BE49-F238E27FC236}">
                  <a16:creationId xmlns:a16="http://schemas.microsoft.com/office/drawing/2014/main" id="{4E8BD38D-A46D-DA87-6DB4-32ADC0B4B22A}"/>
                </a:ext>
              </a:extLst>
            </p:cNvPr>
            <p:cNvSpPr/>
            <p:nvPr/>
          </p:nvSpPr>
          <p:spPr>
            <a:xfrm>
              <a:off x="-1438275" y="2571816"/>
              <a:ext cx="399678" cy="600009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4614B324-E9B1-2B1A-B174-8F222B8E24AA}"/>
                </a:ext>
              </a:extLst>
            </p:cNvPr>
            <p:cNvSpPr/>
            <p:nvPr/>
          </p:nvSpPr>
          <p:spPr>
            <a:xfrm>
              <a:off x="-995599" y="2714625"/>
              <a:ext cx="169819" cy="457200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75B3757D-01F0-EEE5-B8DD-5CEC1011639D}"/>
                </a:ext>
              </a:extLst>
            </p:cNvPr>
            <p:cNvSpPr/>
            <p:nvPr/>
          </p:nvSpPr>
          <p:spPr>
            <a:xfrm flipH="1">
              <a:off x="-1630535" y="2714626"/>
              <a:ext cx="169818" cy="457199"/>
            </a:xfrm>
            <a:custGeom>
              <a:avLst/>
              <a:gdLst>
                <a:gd name="connsiteX0" fmla="*/ 0 w 169819"/>
                <a:gd name="connsiteY0" fmla="*/ 0 h 457200"/>
                <a:gd name="connsiteX1" fmla="*/ 92047 w 169819"/>
                <a:gd name="connsiteY1" fmla="*/ 0 h 457200"/>
                <a:gd name="connsiteX2" fmla="*/ 92047 w 169819"/>
                <a:gd name="connsiteY2" fmla="*/ 109728 h 457200"/>
                <a:gd name="connsiteX3" fmla="*/ 169819 w 169819"/>
                <a:gd name="connsiteY3" fmla="*/ 109728 h 457200"/>
                <a:gd name="connsiteX4" fmla="*/ 169819 w 169819"/>
                <a:gd name="connsiteY4" fmla="*/ 457200 h 457200"/>
                <a:gd name="connsiteX5" fmla="*/ 92047 w 169819"/>
                <a:gd name="connsiteY5" fmla="*/ 457200 h 457200"/>
                <a:gd name="connsiteX6" fmla="*/ 77772 w 169819"/>
                <a:gd name="connsiteY6" fmla="*/ 457200 h 457200"/>
                <a:gd name="connsiteX7" fmla="*/ 0 w 169819"/>
                <a:gd name="connsiteY7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9819" h="457200">
                  <a:moveTo>
                    <a:pt x="0" y="0"/>
                  </a:moveTo>
                  <a:lnTo>
                    <a:pt x="92047" y="0"/>
                  </a:lnTo>
                  <a:lnTo>
                    <a:pt x="92047" y="109728"/>
                  </a:lnTo>
                  <a:lnTo>
                    <a:pt x="169819" y="109728"/>
                  </a:lnTo>
                  <a:lnTo>
                    <a:pt x="169819" y="457200"/>
                  </a:lnTo>
                  <a:lnTo>
                    <a:pt x="92047" y="457200"/>
                  </a:lnTo>
                  <a:lnTo>
                    <a:pt x="77772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7" name="Rectangle 556">
              <a:extLst>
                <a:ext uri="{FF2B5EF4-FFF2-40B4-BE49-F238E27FC236}">
                  <a16:creationId xmlns:a16="http://schemas.microsoft.com/office/drawing/2014/main" id="{C29D7B01-BF9B-0968-0815-2CFD3702917B}"/>
                </a:ext>
              </a:extLst>
            </p:cNvPr>
            <p:cNvSpPr/>
            <p:nvPr/>
          </p:nvSpPr>
          <p:spPr>
            <a:xfrm>
              <a:off x="-1378576" y="2647950"/>
              <a:ext cx="280281" cy="128016"/>
            </a:xfrm>
            <a:prstGeom prst="rect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8" name="Cross 557">
              <a:extLst>
                <a:ext uri="{FF2B5EF4-FFF2-40B4-BE49-F238E27FC236}">
                  <a16:creationId xmlns:a16="http://schemas.microsoft.com/office/drawing/2014/main" id="{C6660DD7-58E4-B2C4-7F70-90E845614063}"/>
                </a:ext>
              </a:extLst>
            </p:cNvPr>
            <p:cNvSpPr/>
            <p:nvPr/>
          </p:nvSpPr>
          <p:spPr>
            <a:xfrm>
              <a:off x="-1354611" y="2829873"/>
              <a:ext cx="232351" cy="232351"/>
            </a:xfrm>
            <a:prstGeom prst="plus">
              <a:avLst>
                <a:gd name="adj" fmla="val 29100"/>
              </a:avLst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59" name="Oval 558">
            <a:extLst>
              <a:ext uri="{FF2B5EF4-FFF2-40B4-BE49-F238E27FC236}">
                <a16:creationId xmlns:a16="http://schemas.microsoft.com/office/drawing/2014/main" id="{2210EFE3-812D-721B-DEC0-74BFBC80DF2A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6371536" y="4364559"/>
            <a:ext cx="114300" cy="114300"/>
          </a:xfrm>
          <a:prstGeom prst="ellipse">
            <a:avLst/>
          </a:prstGeom>
          <a:solidFill>
            <a:srgbClr val="0D5C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0" name="Oval 559">
            <a:extLst>
              <a:ext uri="{FF2B5EF4-FFF2-40B4-BE49-F238E27FC236}">
                <a16:creationId xmlns:a16="http://schemas.microsoft.com/office/drawing/2014/main" id="{5FAEDA20-63F1-815C-0BD4-1B4AD1A9596B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5705305" y="4364559"/>
            <a:ext cx="114300" cy="114300"/>
          </a:xfrm>
          <a:prstGeom prst="ellipse">
            <a:avLst/>
          </a:prstGeom>
          <a:solidFill>
            <a:srgbClr val="0D5C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1" name="Oval 560">
            <a:extLst>
              <a:ext uri="{FF2B5EF4-FFF2-40B4-BE49-F238E27FC236}">
                <a16:creationId xmlns:a16="http://schemas.microsoft.com/office/drawing/2014/main" id="{5058A4D0-8EC4-3C31-FEEE-F62F073CBB16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6371536" y="4890539"/>
            <a:ext cx="114300" cy="114300"/>
          </a:xfrm>
          <a:prstGeom prst="ellipse">
            <a:avLst/>
          </a:prstGeom>
          <a:solidFill>
            <a:srgbClr val="0D5C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2" name="Oval 561">
            <a:extLst>
              <a:ext uri="{FF2B5EF4-FFF2-40B4-BE49-F238E27FC236}">
                <a16:creationId xmlns:a16="http://schemas.microsoft.com/office/drawing/2014/main" id="{8171ADF9-B898-9C83-D2AC-A8198B94CC52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5705305" y="4890539"/>
            <a:ext cx="114300" cy="114300"/>
          </a:xfrm>
          <a:prstGeom prst="ellipse">
            <a:avLst/>
          </a:prstGeom>
          <a:solidFill>
            <a:srgbClr val="0D5CA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63" name="Graphic 2062">
            <a:extLst>
              <a:ext uri="{FF2B5EF4-FFF2-40B4-BE49-F238E27FC236}">
                <a16:creationId xmlns:a16="http://schemas.microsoft.com/office/drawing/2014/main" id="{0E3B4D69-4263-F317-474D-811D29FE2A17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5839852" y="4374077"/>
            <a:ext cx="522987" cy="522975"/>
            <a:chOff x="-2989957" y="1800965"/>
            <a:chExt cx="1931528" cy="1931528"/>
          </a:xfrm>
          <a:solidFill>
            <a:srgbClr val="0D5CAB"/>
          </a:solidFill>
        </p:grpSpPr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B9864454-55B3-3DC1-A97D-4395586F9F8B}"/>
                </a:ext>
              </a:extLst>
            </p:cNvPr>
            <p:cNvSpPr/>
            <p:nvPr/>
          </p:nvSpPr>
          <p:spPr>
            <a:xfrm>
              <a:off x="-2194084" y="2027536"/>
              <a:ext cx="339781" cy="339781"/>
            </a:xfrm>
            <a:custGeom>
              <a:avLst/>
              <a:gdLst>
                <a:gd name="connsiteX0" fmla="*/ 226496 w 339781"/>
                <a:gd name="connsiteY0" fmla="*/ 0 h 339781"/>
                <a:gd name="connsiteX1" fmla="*/ 113286 w 339781"/>
                <a:gd name="connsiteY1" fmla="*/ 0 h 339781"/>
                <a:gd name="connsiteX2" fmla="*/ 113286 w 339781"/>
                <a:gd name="connsiteY2" fmla="*/ 113286 h 339781"/>
                <a:gd name="connsiteX3" fmla="*/ 0 w 339781"/>
                <a:gd name="connsiteY3" fmla="*/ 113286 h 339781"/>
                <a:gd name="connsiteX4" fmla="*/ 0 w 339781"/>
                <a:gd name="connsiteY4" fmla="*/ 226496 h 339781"/>
                <a:gd name="connsiteX5" fmla="*/ 113286 w 339781"/>
                <a:gd name="connsiteY5" fmla="*/ 226496 h 339781"/>
                <a:gd name="connsiteX6" fmla="*/ 113286 w 339781"/>
                <a:gd name="connsiteY6" fmla="*/ 339781 h 339781"/>
                <a:gd name="connsiteX7" fmla="*/ 226496 w 339781"/>
                <a:gd name="connsiteY7" fmla="*/ 339781 h 339781"/>
                <a:gd name="connsiteX8" fmla="*/ 226496 w 339781"/>
                <a:gd name="connsiteY8" fmla="*/ 226496 h 339781"/>
                <a:gd name="connsiteX9" fmla="*/ 339781 w 339781"/>
                <a:gd name="connsiteY9" fmla="*/ 226496 h 339781"/>
                <a:gd name="connsiteX10" fmla="*/ 339781 w 339781"/>
                <a:gd name="connsiteY10" fmla="*/ 113286 h 339781"/>
                <a:gd name="connsiteX11" fmla="*/ 226496 w 339781"/>
                <a:gd name="connsiteY11" fmla="*/ 113286 h 339781"/>
                <a:gd name="connsiteX12" fmla="*/ 226496 w 339781"/>
                <a:gd name="connsiteY12" fmla="*/ 0 h 339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9781" h="339781">
                  <a:moveTo>
                    <a:pt x="226496" y="0"/>
                  </a:moveTo>
                  <a:lnTo>
                    <a:pt x="113286" y="0"/>
                  </a:lnTo>
                  <a:lnTo>
                    <a:pt x="113286" y="113286"/>
                  </a:lnTo>
                  <a:lnTo>
                    <a:pt x="0" y="113286"/>
                  </a:lnTo>
                  <a:lnTo>
                    <a:pt x="0" y="226496"/>
                  </a:lnTo>
                  <a:lnTo>
                    <a:pt x="113286" y="226496"/>
                  </a:lnTo>
                  <a:lnTo>
                    <a:pt x="113286" y="339781"/>
                  </a:lnTo>
                  <a:lnTo>
                    <a:pt x="226496" y="339781"/>
                  </a:lnTo>
                  <a:lnTo>
                    <a:pt x="226496" y="226496"/>
                  </a:lnTo>
                  <a:lnTo>
                    <a:pt x="339781" y="226496"/>
                  </a:lnTo>
                  <a:lnTo>
                    <a:pt x="339781" y="113286"/>
                  </a:lnTo>
                  <a:lnTo>
                    <a:pt x="226496" y="113286"/>
                  </a:lnTo>
                  <a:lnTo>
                    <a:pt x="226496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5A276F3A-0A7E-BCB4-4392-B6EAC0B4ED10}"/>
                </a:ext>
              </a:extLst>
            </p:cNvPr>
            <p:cNvSpPr/>
            <p:nvPr/>
          </p:nvSpPr>
          <p:spPr>
            <a:xfrm>
              <a:off x="-2307294" y="2480603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C3EFEC95-0E9A-33B6-C523-A5BD237AC72B}"/>
                </a:ext>
              </a:extLst>
            </p:cNvPr>
            <p:cNvSpPr/>
            <p:nvPr/>
          </p:nvSpPr>
          <p:spPr>
            <a:xfrm>
              <a:off x="-2080722" y="2480603"/>
              <a:ext cx="113209" cy="113285"/>
            </a:xfrm>
            <a:custGeom>
              <a:avLst/>
              <a:gdLst>
                <a:gd name="connsiteX0" fmla="*/ 0 w 113209"/>
                <a:gd name="connsiteY0" fmla="*/ 0 h 113285"/>
                <a:gd name="connsiteX1" fmla="*/ 113210 w 113209"/>
                <a:gd name="connsiteY1" fmla="*/ 0 h 113285"/>
                <a:gd name="connsiteX2" fmla="*/ 113210 w 113209"/>
                <a:gd name="connsiteY2" fmla="*/ 113286 h 113285"/>
                <a:gd name="connsiteX3" fmla="*/ 0 w 113209"/>
                <a:gd name="connsiteY3" fmla="*/ 113286 h 113285"/>
                <a:gd name="connsiteX4" fmla="*/ 0 w 113209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09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F81EE05D-DD50-D752-2DCD-10DF8FEE287F}"/>
                </a:ext>
              </a:extLst>
            </p:cNvPr>
            <p:cNvSpPr/>
            <p:nvPr/>
          </p:nvSpPr>
          <p:spPr>
            <a:xfrm>
              <a:off x="-1854226" y="2480603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1A6DF7C0-9987-8A23-4938-D9E779D19395}"/>
                </a:ext>
              </a:extLst>
            </p:cNvPr>
            <p:cNvSpPr/>
            <p:nvPr/>
          </p:nvSpPr>
          <p:spPr>
            <a:xfrm>
              <a:off x="-2307294" y="2707175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9" name="Freeform: Shape 568">
              <a:extLst>
                <a:ext uri="{FF2B5EF4-FFF2-40B4-BE49-F238E27FC236}">
                  <a16:creationId xmlns:a16="http://schemas.microsoft.com/office/drawing/2014/main" id="{DFF98025-06CD-4BF5-D364-F79BB4976E8C}"/>
                </a:ext>
              </a:extLst>
            </p:cNvPr>
            <p:cNvSpPr/>
            <p:nvPr/>
          </p:nvSpPr>
          <p:spPr>
            <a:xfrm>
              <a:off x="-2080722" y="2707175"/>
              <a:ext cx="113209" cy="113285"/>
            </a:xfrm>
            <a:custGeom>
              <a:avLst/>
              <a:gdLst>
                <a:gd name="connsiteX0" fmla="*/ 0 w 113209"/>
                <a:gd name="connsiteY0" fmla="*/ 0 h 113285"/>
                <a:gd name="connsiteX1" fmla="*/ 113210 w 113209"/>
                <a:gd name="connsiteY1" fmla="*/ 0 h 113285"/>
                <a:gd name="connsiteX2" fmla="*/ 113210 w 113209"/>
                <a:gd name="connsiteY2" fmla="*/ 113286 h 113285"/>
                <a:gd name="connsiteX3" fmla="*/ 0 w 113209"/>
                <a:gd name="connsiteY3" fmla="*/ 113286 h 113285"/>
                <a:gd name="connsiteX4" fmla="*/ 0 w 113209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09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AD00DA1D-D859-0FC2-8A40-3F5A953D16A1}"/>
                </a:ext>
              </a:extLst>
            </p:cNvPr>
            <p:cNvSpPr/>
            <p:nvPr/>
          </p:nvSpPr>
          <p:spPr>
            <a:xfrm>
              <a:off x="-1854226" y="2707175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A8909DB8-A1A9-C008-E6FB-1B2C7959171C}"/>
                </a:ext>
              </a:extLst>
            </p:cNvPr>
            <p:cNvSpPr/>
            <p:nvPr/>
          </p:nvSpPr>
          <p:spPr>
            <a:xfrm>
              <a:off x="-2307294" y="2933670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EC0870C8-AE7D-E107-6118-D25202956D0A}"/>
                </a:ext>
              </a:extLst>
            </p:cNvPr>
            <p:cNvSpPr/>
            <p:nvPr/>
          </p:nvSpPr>
          <p:spPr>
            <a:xfrm>
              <a:off x="-2080722" y="2933670"/>
              <a:ext cx="113209" cy="113285"/>
            </a:xfrm>
            <a:custGeom>
              <a:avLst/>
              <a:gdLst>
                <a:gd name="connsiteX0" fmla="*/ 0 w 113209"/>
                <a:gd name="connsiteY0" fmla="*/ 0 h 113285"/>
                <a:gd name="connsiteX1" fmla="*/ 113210 w 113209"/>
                <a:gd name="connsiteY1" fmla="*/ 0 h 113285"/>
                <a:gd name="connsiteX2" fmla="*/ 113210 w 113209"/>
                <a:gd name="connsiteY2" fmla="*/ 113286 h 113285"/>
                <a:gd name="connsiteX3" fmla="*/ 0 w 113209"/>
                <a:gd name="connsiteY3" fmla="*/ 113286 h 113285"/>
                <a:gd name="connsiteX4" fmla="*/ 0 w 113209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09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F8F30AB7-FF71-DCD4-801A-3A6A3A7D726B}"/>
                </a:ext>
              </a:extLst>
            </p:cNvPr>
            <p:cNvSpPr/>
            <p:nvPr/>
          </p:nvSpPr>
          <p:spPr>
            <a:xfrm>
              <a:off x="-1854226" y="2933670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62DB211E-FB13-2D10-CE71-74DF8DE6418C}"/>
                </a:ext>
              </a:extLst>
            </p:cNvPr>
            <p:cNvSpPr/>
            <p:nvPr/>
          </p:nvSpPr>
          <p:spPr>
            <a:xfrm>
              <a:off x="-2307294" y="3160242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AD713FA4-9897-83B4-3C63-43BDD35545E3}"/>
                </a:ext>
              </a:extLst>
            </p:cNvPr>
            <p:cNvSpPr/>
            <p:nvPr/>
          </p:nvSpPr>
          <p:spPr>
            <a:xfrm>
              <a:off x="-2080722" y="3160242"/>
              <a:ext cx="113209" cy="113285"/>
            </a:xfrm>
            <a:custGeom>
              <a:avLst/>
              <a:gdLst>
                <a:gd name="connsiteX0" fmla="*/ 0 w 113209"/>
                <a:gd name="connsiteY0" fmla="*/ 0 h 113285"/>
                <a:gd name="connsiteX1" fmla="*/ 113210 w 113209"/>
                <a:gd name="connsiteY1" fmla="*/ 0 h 113285"/>
                <a:gd name="connsiteX2" fmla="*/ 113210 w 113209"/>
                <a:gd name="connsiteY2" fmla="*/ 113286 h 113285"/>
                <a:gd name="connsiteX3" fmla="*/ 0 w 113209"/>
                <a:gd name="connsiteY3" fmla="*/ 113286 h 113285"/>
                <a:gd name="connsiteX4" fmla="*/ 0 w 113209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09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65D9A361-D4AF-03F1-E169-B4FE84F9C68F}"/>
                </a:ext>
              </a:extLst>
            </p:cNvPr>
            <p:cNvSpPr/>
            <p:nvPr/>
          </p:nvSpPr>
          <p:spPr>
            <a:xfrm>
              <a:off x="-1854226" y="3160242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290ED60F-4D3A-FB10-FA24-F699988FAC64}"/>
                </a:ext>
              </a:extLst>
            </p:cNvPr>
            <p:cNvSpPr/>
            <p:nvPr/>
          </p:nvSpPr>
          <p:spPr>
            <a:xfrm>
              <a:off x="-2307294" y="3386737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55BE2C84-03B9-B306-E8FB-E7BF48911208}"/>
                </a:ext>
              </a:extLst>
            </p:cNvPr>
            <p:cNvSpPr/>
            <p:nvPr/>
          </p:nvSpPr>
          <p:spPr>
            <a:xfrm>
              <a:off x="-2760361" y="2933670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CC093068-4A1B-54B8-C98A-8584927B7EDF}"/>
                </a:ext>
              </a:extLst>
            </p:cNvPr>
            <p:cNvSpPr/>
            <p:nvPr/>
          </p:nvSpPr>
          <p:spPr>
            <a:xfrm>
              <a:off x="-2760361" y="3160242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11F74D4C-901E-C5A1-FC73-63E24F6B57EE}"/>
                </a:ext>
              </a:extLst>
            </p:cNvPr>
            <p:cNvSpPr/>
            <p:nvPr/>
          </p:nvSpPr>
          <p:spPr>
            <a:xfrm>
              <a:off x="-2760361" y="3386737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5469DC11-FCED-A24B-20D0-16E85E7DA112}"/>
                </a:ext>
              </a:extLst>
            </p:cNvPr>
            <p:cNvSpPr/>
            <p:nvPr/>
          </p:nvSpPr>
          <p:spPr>
            <a:xfrm>
              <a:off x="-2080722" y="3386737"/>
              <a:ext cx="113209" cy="113285"/>
            </a:xfrm>
            <a:custGeom>
              <a:avLst/>
              <a:gdLst>
                <a:gd name="connsiteX0" fmla="*/ 0 w 113209"/>
                <a:gd name="connsiteY0" fmla="*/ 0 h 113285"/>
                <a:gd name="connsiteX1" fmla="*/ 113210 w 113209"/>
                <a:gd name="connsiteY1" fmla="*/ 0 h 113285"/>
                <a:gd name="connsiteX2" fmla="*/ 113210 w 113209"/>
                <a:gd name="connsiteY2" fmla="*/ 113286 h 113285"/>
                <a:gd name="connsiteX3" fmla="*/ 0 w 113209"/>
                <a:gd name="connsiteY3" fmla="*/ 113286 h 113285"/>
                <a:gd name="connsiteX4" fmla="*/ 0 w 113209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09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0BD5EFAE-A06F-DF4E-F1AE-D96FF83D7278}"/>
                </a:ext>
              </a:extLst>
            </p:cNvPr>
            <p:cNvSpPr/>
            <p:nvPr/>
          </p:nvSpPr>
          <p:spPr>
            <a:xfrm>
              <a:off x="-1854226" y="3386737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3435E585-751C-D8A2-9828-3FFB3CC2C9EC}"/>
                </a:ext>
              </a:extLst>
            </p:cNvPr>
            <p:cNvSpPr/>
            <p:nvPr/>
          </p:nvSpPr>
          <p:spPr>
            <a:xfrm>
              <a:off x="-1401159" y="2933670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50608852-176C-BBCA-3FB3-800D5C5DAF01}"/>
                </a:ext>
              </a:extLst>
            </p:cNvPr>
            <p:cNvSpPr/>
            <p:nvPr/>
          </p:nvSpPr>
          <p:spPr>
            <a:xfrm>
              <a:off x="-1401159" y="3160242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0E4D4AEF-F692-EA2A-CA6B-9158FD334684}"/>
                </a:ext>
              </a:extLst>
            </p:cNvPr>
            <p:cNvSpPr/>
            <p:nvPr/>
          </p:nvSpPr>
          <p:spPr>
            <a:xfrm>
              <a:off x="-1401159" y="3386737"/>
              <a:ext cx="113210" cy="113285"/>
            </a:xfrm>
            <a:custGeom>
              <a:avLst/>
              <a:gdLst>
                <a:gd name="connsiteX0" fmla="*/ 0 w 113210"/>
                <a:gd name="connsiteY0" fmla="*/ 0 h 113285"/>
                <a:gd name="connsiteX1" fmla="*/ 113210 w 113210"/>
                <a:gd name="connsiteY1" fmla="*/ 0 h 113285"/>
                <a:gd name="connsiteX2" fmla="*/ 113210 w 113210"/>
                <a:gd name="connsiteY2" fmla="*/ 113286 h 113285"/>
                <a:gd name="connsiteX3" fmla="*/ 0 w 113210"/>
                <a:gd name="connsiteY3" fmla="*/ 113286 h 113285"/>
                <a:gd name="connsiteX4" fmla="*/ 0 w 113210"/>
                <a:gd name="connsiteY4" fmla="*/ 0 h 113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3210" h="113285">
                  <a:moveTo>
                    <a:pt x="0" y="0"/>
                  </a:moveTo>
                  <a:lnTo>
                    <a:pt x="113210" y="0"/>
                  </a:lnTo>
                  <a:lnTo>
                    <a:pt x="113210" y="113286"/>
                  </a:lnTo>
                  <a:lnTo>
                    <a:pt x="0" y="11328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B5A0806E-CA45-7714-1708-66CBA8669943}"/>
                </a:ext>
              </a:extLst>
            </p:cNvPr>
            <p:cNvSpPr/>
            <p:nvPr/>
          </p:nvSpPr>
          <p:spPr>
            <a:xfrm>
              <a:off x="-2989957" y="1800965"/>
              <a:ext cx="1931528" cy="1931528"/>
            </a:xfrm>
            <a:custGeom>
              <a:avLst/>
              <a:gdLst>
                <a:gd name="connsiteX0" fmla="*/ 1475512 w 1931528"/>
                <a:gd name="connsiteY0" fmla="*/ 906210 h 1931528"/>
                <a:gd name="connsiteX1" fmla="*/ 1475512 w 1931528"/>
                <a:gd name="connsiteY1" fmla="*/ 339857 h 1931528"/>
                <a:gd name="connsiteX2" fmla="*/ 1362226 w 1931528"/>
                <a:gd name="connsiteY2" fmla="*/ 339857 h 1931528"/>
                <a:gd name="connsiteX3" fmla="*/ 1362226 w 1931528"/>
                <a:gd name="connsiteY3" fmla="*/ 0 h 1931528"/>
                <a:gd name="connsiteX4" fmla="*/ 569378 w 1931528"/>
                <a:gd name="connsiteY4" fmla="*/ 0 h 1931528"/>
                <a:gd name="connsiteX5" fmla="*/ 569378 w 1931528"/>
                <a:gd name="connsiteY5" fmla="*/ 339857 h 1931528"/>
                <a:gd name="connsiteX6" fmla="*/ 456092 w 1931528"/>
                <a:gd name="connsiteY6" fmla="*/ 339857 h 1931528"/>
                <a:gd name="connsiteX7" fmla="*/ 456092 w 1931528"/>
                <a:gd name="connsiteY7" fmla="*/ 906210 h 1931528"/>
                <a:gd name="connsiteX8" fmla="*/ 0 w 1931528"/>
                <a:gd name="connsiteY8" fmla="*/ 906210 h 1931528"/>
                <a:gd name="connsiteX9" fmla="*/ 0 w 1931528"/>
                <a:gd name="connsiteY9" fmla="*/ 1931528 h 1931528"/>
                <a:gd name="connsiteX10" fmla="*/ 1931529 w 1931528"/>
                <a:gd name="connsiteY10" fmla="*/ 1931528 h 1931528"/>
                <a:gd name="connsiteX11" fmla="*/ 1931529 w 1931528"/>
                <a:gd name="connsiteY11" fmla="*/ 906210 h 1931528"/>
                <a:gd name="connsiteX12" fmla="*/ 1475437 w 1931528"/>
                <a:gd name="connsiteY12" fmla="*/ 906210 h 1931528"/>
                <a:gd name="connsiteX13" fmla="*/ 113210 w 1931528"/>
                <a:gd name="connsiteY13" fmla="*/ 1818318 h 1931528"/>
                <a:gd name="connsiteX14" fmla="*/ 113210 w 1931528"/>
                <a:gd name="connsiteY14" fmla="*/ 1019344 h 1931528"/>
                <a:gd name="connsiteX15" fmla="*/ 456092 w 1931528"/>
                <a:gd name="connsiteY15" fmla="*/ 1019344 h 1931528"/>
                <a:gd name="connsiteX16" fmla="*/ 456092 w 1931528"/>
                <a:gd name="connsiteY16" fmla="*/ 1818318 h 1931528"/>
                <a:gd name="connsiteX17" fmla="*/ 113210 w 1931528"/>
                <a:gd name="connsiteY17" fmla="*/ 1818318 h 1931528"/>
                <a:gd name="connsiteX18" fmla="*/ 1362302 w 1931528"/>
                <a:gd name="connsiteY18" fmla="*/ 1818318 h 1931528"/>
                <a:gd name="connsiteX19" fmla="*/ 569227 w 1931528"/>
                <a:gd name="connsiteY19" fmla="*/ 1818318 h 1931528"/>
                <a:gd name="connsiteX20" fmla="*/ 569227 w 1931528"/>
                <a:gd name="connsiteY20" fmla="*/ 452991 h 1931528"/>
                <a:gd name="connsiteX21" fmla="*/ 682512 w 1931528"/>
                <a:gd name="connsiteY21" fmla="*/ 452991 h 1931528"/>
                <a:gd name="connsiteX22" fmla="*/ 682512 w 1931528"/>
                <a:gd name="connsiteY22" fmla="*/ 113134 h 1931528"/>
                <a:gd name="connsiteX23" fmla="*/ 1249016 w 1931528"/>
                <a:gd name="connsiteY23" fmla="*/ 113134 h 1931528"/>
                <a:gd name="connsiteX24" fmla="*/ 1249016 w 1931528"/>
                <a:gd name="connsiteY24" fmla="*/ 452991 h 1931528"/>
                <a:gd name="connsiteX25" fmla="*/ 1362302 w 1931528"/>
                <a:gd name="connsiteY25" fmla="*/ 452991 h 1931528"/>
                <a:gd name="connsiteX26" fmla="*/ 1362302 w 1931528"/>
                <a:gd name="connsiteY26" fmla="*/ 1818318 h 1931528"/>
                <a:gd name="connsiteX27" fmla="*/ 1818394 w 1931528"/>
                <a:gd name="connsiteY27" fmla="*/ 1818318 h 1931528"/>
                <a:gd name="connsiteX28" fmla="*/ 1475512 w 1931528"/>
                <a:gd name="connsiteY28" fmla="*/ 1818318 h 1931528"/>
                <a:gd name="connsiteX29" fmla="*/ 1475512 w 1931528"/>
                <a:gd name="connsiteY29" fmla="*/ 1019344 h 1931528"/>
                <a:gd name="connsiteX30" fmla="*/ 1818394 w 1931528"/>
                <a:gd name="connsiteY30" fmla="*/ 1019344 h 1931528"/>
                <a:gd name="connsiteX31" fmla="*/ 1818394 w 1931528"/>
                <a:gd name="connsiteY31" fmla="*/ 1818318 h 1931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931528" h="1931528">
                  <a:moveTo>
                    <a:pt x="1475512" y="906210"/>
                  </a:moveTo>
                  <a:lnTo>
                    <a:pt x="1475512" y="339857"/>
                  </a:lnTo>
                  <a:lnTo>
                    <a:pt x="1362226" y="339857"/>
                  </a:lnTo>
                  <a:lnTo>
                    <a:pt x="1362226" y="0"/>
                  </a:lnTo>
                  <a:lnTo>
                    <a:pt x="569378" y="0"/>
                  </a:lnTo>
                  <a:lnTo>
                    <a:pt x="569378" y="339857"/>
                  </a:lnTo>
                  <a:lnTo>
                    <a:pt x="456092" y="339857"/>
                  </a:lnTo>
                  <a:lnTo>
                    <a:pt x="456092" y="906210"/>
                  </a:lnTo>
                  <a:lnTo>
                    <a:pt x="0" y="906210"/>
                  </a:lnTo>
                  <a:lnTo>
                    <a:pt x="0" y="1931528"/>
                  </a:lnTo>
                  <a:lnTo>
                    <a:pt x="1931529" y="1931528"/>
                  </a:lnTo>
                  <a:lnTo>
                    <a:pt x="1931529" y="906210"/>
                  </a:lnTo>
                  <a:lnTo>
                    <a:pt x="1475437" y="906210"/>
                  </a:lnTo>
                  <a:close/>
                  <a:moveTo>
                    <a:pt x="113210" y="1818318"/>
                  </a:moveTo>
                  <a:lnTo>
                    <a:pt x="113210" y="1019344"/>
                  </a:lnTo>
                  <a:lnTo>
                    <a:pt x="456092" y="1019344"/>
                  </a:lnTo>
                  <a:lnTo>
                    <a:pt x="456092" y="1818318"/>
                  </a:lnTo>
                  <a:lnTo>
                    <a:pt x="113210" y="1818318"/>
                  </a:lnTo>
                  <a:close/>
                  <a:moveTo>
                    <a:pt x="1362302" y="1818318"/>
                  </a:moveTo>
                  <a:lnTo>
                    <a:pt x="569227" y="1818318"/>
                  </a:lnTo>
                  <a:lnTo>
                    <a:pt x="569227" y="452991"/>
                  </a:lnTo>
                  <a:lnTo>
                    <a:pt x="682512" y="452991"/>
                  </a:lnTo>
                  <a:lnTo>
                    <a:pt x="682512" y="113134"/>
                  </a:lnTo>
                  <a:lnTo>
                    <a:pt x="1249016" y="113134"/>
                  </a:lnTo>
                  <a:lnTo>
                    <a:pt x="1249016" y="452991"/>
                  </a:lnTo>
                  <a:lnTo>
                    <a:pt x="1362302" y="452991"/>
                  </a:lnTo>
                  <a:lnTo>
                    <a:pt x="1362302" y="1818318"/>
                  </a:lnTo>
                  <a:close/>
                  <a:moveTo>
                    <a:pt x="1818394" y="1818318"/>
                  </a:moveTo>
                  <a:lnTo>
                    <a:pt x="1475512" y="1818318"/>
                  </a:lnTo>
                  <a:lnTo>
                    <a:pt x="1475512" y="1019344"/>
                  </a:lnTo>
                  <a:lnTo>
                    <a:pt x="1818394" y="1019344"/>
                  </a:lnTo>
                  <a:lnTo>
                    <a:pt x="1818394" y="1818318"/>
                  </a:lnTo>
                  <a:close/>
                </a:path>
              </a:pathLst>
            </a:custGeom>
            <a:grpFill/>
            <a:ln w="75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07C18C7-4EAF-961B-AA75-FFA0A80846F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59039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1298E96-36B5-DAB5-6502-2D82834061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200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1298E96-36B5-DAB5-6502-2D82834061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61D5EA87-A123-4182-2403-7E25BF9F6E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314575" y="1162051"/>
            <a:ext cx="9877425" cy="56959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A chess board with a chess piece&#10;&#10;Description automatically generated">
            <a:extLst>
              <a:ext uri="{FF2B5EF4-FFF2-40B4-BE49-F238E27FC236}">
                <a16:creationId xmlns:a16="http://schemas.microsoft.com/office/drawing/2014/main" id="{2534C8F7-5063-1DAF-107E-B11EE28C28D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7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67011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CDAF3C-11E6-719A-252A-55DF1249A2AA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11488149" y="6228775"/>
            <a:ext cx="445704" cy="445704"/>
          </a:xfrm>
          <a:noFill/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4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BED8864-6EE1-B12C-1006-02F3145D1D3F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Those who win will do more than stay afloat—they’ll </a:t>
            </a:r>
            <a:br>
              <a:rPr lang="en-US"/>
            </a:br>
            <a:r>
              <a:rPr lang="en-US"/>
              <a:t>make bold, strategic move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29C9DA-6FC2-F03C-FD89-8F822907125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676525" y="1992771"/>
            <a:ext cx="9515475" cy="782247"/>
          </a:xfrm>
          <a:prstGeom prst="rect">
            <a:avLst/>
          </a:prstGeom>
          <a:solidFill>
            <a:srgbClr val="2F84BF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0DFF11-4AE2-0353-5B8B-F28A10734C1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60020" y="2908135"/>
            <a:ext cx="9831980" cy="3311628"/>
          </a:xfrm>
          <a:prstGeom prst="rect">
            <a:avLst/>
          </a:prstGeom>
          <a:solidFill>
            <a:srgbClr val="2F84BF">
              <a:alpha val="3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4490D0-E10E-B05B-DEF7-477971075913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540648" y="2001783"/>
            <a:ext cx="8393205" cy="41395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ading health systems will take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ncipled, differentiated bets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at build upon a foundation of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ational excellence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se bets will not be reactive; they will be intentional and based on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ights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c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orities</a:t>
            </a:r>
            <a:r>
              <a:rPr kumimoji="0" lang="en-US" sz="2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anding into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markets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adjacent, regional, national, global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ing in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erging care channel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home, digital, virtual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sets that bring care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oser to the consumer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veloping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partnerships and collaboration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with traditional and nontraditional partners)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ECD68B6-352F-E9C0-FE27-838E74070392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0" y="1162051"/>
            <a:ext cx="4048125" cy="5695948"/>
          </a:xfrm>
          <a:custGeom>
            <a:avLst/>
            <a:gdLst>
              <a:gd name="connsiteX0" fmla="*/ 0 w 3686175"/>
              <a:gd name="connsiteY0" fmla="*/ 0 h 5695948"/>
              <a:gd name="connsiteX1" fmla="*/ 3686175 w 3686175"/>
              <a:gd name="connsiteY1" fmla="*/ 0 h 5695948"/>
              <a:gd name="connsiteX2" fmla="*/ 3686175 w 3686175"/>
              <a:gd name="connsiteY2" fmla="*/ 5695948 h 5695948"/>
              <a:gd name="connsiteX3" fmla="*/ 3686174 w 3686175"/>
              <a:gd name="connsiteY3" fmla="*/ 5695948 h 5695948"/>
              <a:gd name="connsiteX4" fmla="*/ 3686174 w 3686175"/>
              <a:gd name="connsiteY4" fmla="*/ 1 h 5695948"/>
              <a:gd name="connsiteX5" fmla="*/ 2184007 w 3686175"/>
              <a:gd name="connsiteY5" fmla="*/ 2847975 h 5695948"/>
              <a:gd name="connsiteX6" fmla="*/ 3686173 w 3686175"/>
              <a:gd name="connsiteY6" fmla="*/ 5695948 h 5695948"/>
              <a:gd name="connsiteX7" fmla="*/ 0 w 3686175"/>
              <a:gd name="connsiteY7" fmla="*/ 5695948 h 5695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86175" h="5695948">
                <a:moveTo>
                  <a:pt x="0" y="0"/>
                </a:moveTo>
                <a:lnTo>
                  <a:pt x="3686175" y="0"/>
                </a:lnTo>
                <a:lnTo>
                  <a:pt x="3686175" y="5695948"/>
                </a:lnTo>
                <a:lnTo>
                  <a:pt x="3686174" y="5695948"/>
                </a:lnTo>
                <a:lnTo>
                  <a:pt x="3686174" y="1"/>
                </a:lnTo>
                <a:lnTo>
                  <a:pt x="2184007" y="2847975"/>
                </a:lnTo>
                <a:lnTo>
                  <a:pt x="3686173" y="5695948"/>
                </a:lnTo>
                <a:lnTo>
                  <a:pt x="0" y="5695948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  <a:effectLst>
            <a:outerShdw blurRad="292100" dist="38100" algn="l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026D92-AA97-F654-720B-A0FC3754F25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90500" y="2586110"/>
            <a:ext cx="2486025" cy="284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nslating Operational Performance into Strategic Advantage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C90A972D-C4DB-9855-EA2D-7D26CEC9123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39540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8E785BA-DE0F-C63B-D040-73585EC661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E785BA-DE0F-C63B-D040-73585EC66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4ECF96-6578-2419-3475-A38AF3A855E4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5</a:t>
            </a:fld>
            <a:endParaRPr lang="en-US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012424-E760-06EF-FF53-BC812D811D24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1035698" y="1257300"/>
            <a:ext cx="10620496" cy="1899541"/>
          </a:xfrm>
        </p:spPr>
        <p:txBody>
          <a:bodyPr/>
          <a:lstStyle/>
          <a:p>
            <a:r>
              <a:rPr lang="en-US"/>
              <a:t>Innovation and Change Management as Core Competenc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57701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Rectangle 1035">
            <a:extLst>
              <a:ext uri="{FF2B5EF4-FFF2-40B4-BE49-F238E27FC236}">
                <a16:creationId xmlns:a16="http://schemas.microsoft.com/office/drawing/2014/main" id="{E881ADAC-19BF-02B6-BF81-FAD8A90267C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1046375"/>
            <a:ext cx="12192000" cy="5811625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1"/>
              </a:gs>
              <a:gs pos="56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2701346-3190-40D3-1E32-8AF337315A7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8290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622" imgH="623" progId="TCLayout.ActiveDocument.1">
                  <p:embed/>
                </p:oleObj>
              </mc:Choice>
              <mc:Fallback>
                <p:oleObj name="think-cell Slide" r:id="rId37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701346-3190-40D3-1E32-8AF337315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837141-BE97-ACE1-6875-FF5FF3558DFF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1488149" y="6228775"/>
            <a:ext cx="445704" cy="445704"/>
          </a:xfrm>
          <a:noFill/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6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6D693E9-4BB8-904E-D3F7-3C4D461D57C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Strategic Differentiator: Innovation and Change Management as Core Competenci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EBB794E-A1DB-F0C0-422B-94648ED7AC6C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85747" y="2968007"/>
            <a:ext cx="1828800" cy="83099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agement Is (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lowly) Improving, but Still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ag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5ED7663-AF2C-5232-C13C-CA8ADC8121D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719277" y="2968007"/>
            <a:ext cx="1920240" cy="83099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adership Engagemen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cline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05760B3-C13F-2D0A-D713-E78832055DD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122885" y="2968007"/>
            <a:ext cx="2052517" cy="830997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llennials: Low Engagement, High Potential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469301B-8DAB-A819-08A9-415F1220704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04642" y="3214229"/>
            <a:ext cx="1828800" cy="584775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urnov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main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A50EACF-C697-745F-02E8-407E92F12E2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59493" y="4203547"/>
            <a:ext cx="2081309" cy="1657224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st-pandemic engagement hasn’t rebounded to previous levels. While 50% of roles improved,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% remain flat, and a third continue to decline.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BEC0F16-953C-5EC5-5282-F96FBE3FCE54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615883" y="4203547"/>
            <a:ext cx="2127029" cy="1169551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aders are increasingly disengaged, with 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agement dropping for the third year in a row—now down 3.7%.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992C93C5-DACA-BE0B-9624-3834D7642D94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166522" y="4203547"/>
            <a:ext cx="1965242" cy="1261299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llennials, our future leaders</a:t>
            </a:r>
            <a: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report lower engagement than any other generation </a:t>
            </a:r>
            <a:br>
              <a:rPr kumimoji="0" lang="en-US" sz="16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89 versus 4.12 on a 5-point scale)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A0B01943-19BA-1866-1770-6659B8EC1E9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452133" y="4203547"/>
            <a:ext cx="2333819" cy="1898787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% of healthcare employees left their organization in 2023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increasing to 25% for those with two years’ tenure or less.</a:t>
            </a:r>
          </a:p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rsing roles are the most affected group.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1A00953F-4705-6313-B15D-32920C9EC240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623740" y="1714464"/>
            <a:ext cx="1084082" cy="1084082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CCC80CC-77F8-3AF8-EE8D-47F68CCEEFE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088850" y="1714464"/>
            <a:ext cx="1084082" cy="1084082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8A9CB10-FE89-35DF-F57E-0745501BE78B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5553960" y="1714464"/>
            <a:ext cx="1084082" cy="1084082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F8901299-0BCF-F323-6052-9B56D9268FDA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019070" y="1714464"/>
            <a:ext cx="1084082" cy="1084082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6949B5F-73E5-76D1-9E06-2FD6513B3773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0484179" y="1714464"/>
            <a:ext cx="1084082" cy="1084082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C876701-6668-EF30-FA94-3E58F1081A6B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10271302" y="2937935"/>
            <a:ext cx="1578568" cy="861069"/>
          </a:xfrm>
          <a:prstGeom prst="rect">
            <a:avLst/>
          </a:prstGeom>
          <a:noFill/>
        </p:spPr>
        <p:txBody>
          <a:bodyPr wrap="square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Cost of Turnover on Patient Care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537034E-D411-7FAC-5312-F2BB9D460E26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10068779" y="4203547"/>
            <a:ext cx="1983614" cy="138499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 every 1% rise in turnover, patient experience ratings drop an average of 2 percentile points for inpatient care.</a:t>
            </a:r>
          </a:p>
        </p:txBody>
      </p:sp>
      <p:cxnSp>
        <p:nvCxnSpPr>
          <p:cNvPr id="1028" name="Straight Connector 1027">
            <a:extLst>
              <a:ext uri="{FF2B5EF4-FFF2-40B4-BE49-F238E27FC236}">
                <a16:creationId xmlns:a16="http://schemas.microsoft.com/office/drawing/2014/main" id="{F3548EC4-7905-7E44-B1A2-ED8A6BB7B3B6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8125020" y="5811625"/>
            <a:ext cx="988044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9" name="Rectangle: Rounded Corners 1028">
            <a:extLst>
              <a:ext uri="{FF2B5EF4-FFF2-40B4-BE49-F238E27FC236}">
                <a16:creationId xmlns:a16="http://schemas.microsoft.com/office/drawing/2014/main" id="{30C080F6-34E7-28BD-239F-05B5FC7890B0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289560" y="3977970"/>
            <a:ext cx="11612880" cy="2743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0" name="Oval 1029">
            <a:extLst>
              <a:ext uri="{FF2B5EF4-FFF2-40B4-BE49-F238E27FC236}">
                <a16:creationId xmlns:a16="http://schemas.microsoft.com/office/drawing/2014/main" id="{458D9AA2-B516-C397-6D7D-22D2475A7092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1127675" y="3919214"/>
            <a:ext cx="144944" cy="144944"/>
          </a:xfrm>
          <a:prstGeom prst="ellipse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 w="28575">
            <a:noFill/>
          </a:ln>
          <a:effectLst>
            <a:outerShdw blurRad="190500" dist="508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1" name="Oval 1030">
            <a:extLst>
              <a:ext uri="{FF2B5EF4-FFF2-40B4-BE49-F238E27FC236}">
                <a16:creationId xmlns:a16="http://schemas.microsoft.com/office/drawing/2014/main" id="{2DEA48BB-AEE5-D016-9878-74E4E411B6F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592785" y="3919214"/>
            <a:ext cx="144944" cy="144944"/>
          </a:xfrm>
          <a:prstGeom prst="ellipse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 w="28575">
            <a:noFill/>
          </a:ln>
          <a:effectLst>
            <a:outerShdw blurRad="190500" dist="508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2" name="Oval 1031">
            <a:extLst>
              <a:ext uri="{FF2B5EF4-FFF2-40B4-BE49-F238E27FC236}">
                <a16:creationId xmlns:a16="http://schemas.microsoft.com/office/drawing/2014/main" id="{25F5294B-7B3A-33A6-808A-8710D4031440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6057895" y="3919214"/>
            <a:ext cx="144944" cy="144944"/>
          </a:xfrm>
          <a:prstGeom prst="ellipse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 w="28575">
            <a:noFill/>
          </a:ln>
          <a:effectLst>
            <a:outerShdw blurRad="190500" dist="508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3" name="Oval 1032">
            <a:extLst>
              <a:ext uri="{FF2B5EF4-FFF2-40B4-BE49-F238E27FC236}">
                <a16:creationId xmlns:a16="http://schemas.microsoft.com/office/drawing/2014/main" id="{F2FBE05A-25E6-82C0-F4F4-5FFBA3A313CC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8523005" y="3919214"/>
            <a:ext cx="144944" cy="144944"/>
          </a:xfrm>
          <a:prstGeom prst="ellipse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 w="28575">
            <a:noFill/>
          </a:ln>
          <a:effectLst>
            <a:outerShdw blurRad="190500" dist="508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34" name="Oval 1033">
            <a:extLst>
              <a:ext uri="{FF2B5EF4-FFF2-40B4-BE49-F238E27FC236}">
                <a16:creationId xmlns:a16="http://schemas.microsoft.com/office/drawing/2014/main" id="{254AF2F8-EC33-E643-538E-EE6F52618294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10988114" y="3919214"/>
            <a:ext cx="144944" cy="144944"/>
          </a:xfrm>
          <a:prstGeom prst="ellipse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 w="28575">
            <a:noFill/>
          </a:ln>
          <a:effectLst>
            <a:outerShdw blurRad="190500" dist="508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47" name="Group 1046">
            <a:extLst>
              <a:ext uri="{FF2B5EF4-FFF2-40B4-BE49-F238E27FC236}">
                <a16:creationId xmlns:a16="http://schemas.microsoft.com/office/drawing/2014/main" id="{32AF03B8-C08F-E24C-6C63-9DCA69A7A753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5711877" y="1989805"/>
            <a:ext cx="799271" cy="533400"/>
            <a:chOff x="12797902" y="5943600"/>
            <a:chExt cx="799271" cy="533400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42" name="Freeform: Shape 1041">
              <a:extLst>
                <a:ext uri="{FF2B5EF4-FFF2-40B4-BE49-F238E27FC236}">
                  <a16:creationId xmlns:a16="http://schemas.microsoft.com/office/drawing/2014/main" id="{571668B7-4DBC-F2E8-1DA6-34DDE9685FD0}"/>
                </a:ext>
              </a:extLst>
            </p:cNvPr>
            <p:cNvSpPr/>
            <p:nvPr/>
          </p:nvSpPr>
          <p:spPr>
            <a:xfrm>
              <a:off x="13435785" y="5943600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70CA06B4-036D-8285-165C-BEA3008842D9}"/>
                </a:ext>
              </a:extLst>
            </p:cNvPr>
            <p:cNvSpPr/>
            <p:nvPr/>
          </p:nvSpPr>
          <p:spPr>
            <a:xfrm>
              <a:off x="12864285" y="5943600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0188F123-CAEC-94AD-2B54-1EB9881308BC}"/>
                </a:ext>
              </a:extLst>
            </p:cNvPr>
            <p:cNvSpPr/>
            <p:nvPr/>
          </p:nvSpPr>
          <p:spPr>
            <a:xfrm>
              <a:off x="13245285" y="5943600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2C0A8D60-9541-15B4-9502-6935E60D0FA7}"/>
                </a:ext>
              </a:extLst>
            </p:cNvPr>
            <p:cNvSpPr/>
            <p:nvPr/>
          </p:nvSpPr>
          <p:spPr>
            <a:xfrm>
              <a:off x="13054785" y="5943600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03BFEDC9-1115-33EB-A961-C4F3ACC3DD8E}"/>
                </a:ext>
              </a:extLst>
            </p:cNvPr>
            <p:cNvSpPr/>
            <p:nvPr/>
          </p:nvSpPr>
          <p:spPr>
            <a:xfrm>
              <a:off x="12797902" y="6048375"/>
              <a:ext cx="799271" cy="428625"/>
            </a:xfrm>
            <a:custGeom>
              <a:avLst/>
              <a:gdLst>
                <a:gd name="connsiteX0" fmla="*/ 798855 w 799271"/>
                <a:gd name="connsiteY0" fmla="*/ 176213 h 428625"/>
                <a:gd name="connsiteX1" fmla="*/ 768375 w 799271"/>
                <a:gd name="connsiteY1" fmla="*/ 37148 h 428625"/>
                <a:gd name="connsiteX2" fmla="*/ 761708 w 799271"/>
                <a:gd name="connsiteY2" fmla="*/ 26670 h 428625"/>
                <a:gd name="connsiteX3" fmla="*/ 723608 w 799271"/>
                <a:gd name="connsiteY3" fmla="*/ 6668 h 428625"/>
                <a:gd name="connsiteX4" fmla="*/ 685508 w 799271"/>
                <a:gd name="connsiteY4" fmla="*/ 0 h 428625"/>
                <a:gd name="connsiteX5" fmla="*/ 647408 w 799271"/>
                <a:gd name="connsiteY5" fmla="*/ 6668 h 428625"/>
                <a:gd name="connsiteX6" fmla="*/ 609308 w 799271"/>
                <a:gd name="connsiteY6" fmla="*/ 26670 h 428625"/>
                <a:gd name="connsiteX7" fmla="*/ 602640 w 799271"/>
                <a:gd name="connsiteY7" fmla="*/ 37148 h 428625"/>
                <a:gd name="connsiteX8" fmla="*/ 590258 w 799271"/>
                <a:gd name="connsiteY8" fmla="*/ 93345 h 428625"/>
                <a:gd name="connsiteX9" fmla="*/ 590258 w 799271"/>
                <a:gd name="connsiteY9" fmla="*/ 93345 h 428625"/>
                <a:gd name="connsiteX10" fmla="*/ 577875 w 799271"/>
                <a:gd name="connsiteY10" fmla="*/ 37148 h 428625"/>
                <a:gd name="connsiteX11" fmla="*/ 571208 w 799271"/>
                <a:gd name="connsiteY11" fmla="*/ 26670 h 428625"/>
                <a:gd name="connsiteX12" fmla="*/ 533108 w 799271"/>
                <a:gd name="connsiteY12" fmla="*/ 6668 h 428625"/>
                <a:gd name="connsiteX13" fmla="*/ 495008 w 799271"/>
                <a:gd name="connsiteY13" fmla="*/ 0 h 428625"/>
                <a:gd name="connsiteX14" fmla="*/ 456908 w 799271"/>
                <a:gd name="connsiteY14" fmla="*/ 6668 h 428625"/>
                <a:gd name="connsiteX15" fmla="*/ 418808 w 799271"/>
                <a:gd name="connsiteY15" fmla="*/ 26670 h 428625"/>
                <a:gd name="connsiteX16" fmla="*/ 412140 w 799271"/>
                <a:gd name="connsiteY16" fmla="*/ 37148 h 428625"/>
                <a:gd name="connsiteX17" fmla="*/ 399758 w 799271"/>
                <a:gd name="connsiteY17" fmla="*/ 92393 h 428625"/>
                <a:gd name="connsiteX18" fmla="*/ 399758 w 799271"/>
                <a:gd name="connsiteY18" fmla="*/ 93345 h 428625"/>
                <a:gd name="connsiteX19" fmla="*/ 387375 w 799271"/>
                <a:gd name="connsiteY19" fmla="*/ 37148 h 428625"/>
                <a:gd name="connsiteX20" fmla="*/ 380708 w 799271"/>
                <a:gd name="connsiteY20" fmla="*/ 26670 h 428625"/>
                <a:gd name="connsiteX21" fmla="*/ 342608 w 799271"/>
                <a:gd name="connsiteY21" fmla="*/ 6668 h 428625"/>
                <a:gd name="connsiteX22" fmla="*/ 304508 w 799271"/>
                <a:gd name="connsiteY22" fmla="*/ 0 h 428625"/>
                <a:gd name="connsiteX23" fmla="*/ 266408 w 799271"/>
                <a:gd name="connsiteY23" fmla="*/ 6668 h 428625"/>
                <a:gd name="connsiteX24" fmla="*/ 228307 w 799271"/>
                <a:gd name="connsiteY24" fmla="*/ 26670 h 428625"/>
                <a:gd name="connsiteX25" fmla="*/ 221640 w 799271"/>
                <a:gd name="connsiteY25" fmla="*/ 37148 h 428625"/>
                <a:gd name="connsiteX26" fmla="*/ 209257 w 799271"/>
                <a:gd name="connsiteY26" fmla="*/ 92393 h 428625"/>
                <a:gd name="connsiteX27" fmla="*/ 209257 w 799271"/>
                <a:gd name="connsiteY27" fmla="*/ 92393 h 428625"/>
                <a:gd name="connsiteX28" fmla="*/ 196875 w 799271"/>
                <a:gd name="connsiteY28" fmla="*/ 37148 h 428625"/>
                <a:gd name="connsiteX29" fmla="*/ 190207 w 799271"/>
                <a:gd name="connsiteY29" fmla="*/ 26670 h 428625"/>
                <a:gd name="connsiteX30" fmla="*/ 152107 w 799271"/>
                <a:gd name="connsiteY30" fmla="*/ 6668 h 428625"/>
                <a:gd name="connsiteX31" fmla="*/ 114007 w 799271"/>
                <a:gd name="connsiteY31" fmla="*/ 0 h 428625"/>
                <a:gd name="connsiteX32" fmla="*/ 75907 w 799271"/>
                <a:gd name="connsiteY32" fmla="*/ 6668 h 428625"/>
                <a:gd name="connsiteX33" fmla="*/ 37807 w 799271"/>
                <a:gd name="connsiteY33" fmla="*/ 26670 h 428625"/>
                <a:gd name="connsiteX34" fmla="*/ 31140 w 799271"/>
                <a:gd name="connsiteY34" fmla="*/ 37148 h 428625"/>
                <a:gd name="connsiteX35" fmla="*/ 660 w 799271"/>
                <a:gd name="connsiteY35" fmla="*/ 175260 h 428625"/>
                <a:gd name="connsiteX36" fmla="*/ 15900 w 799271"/>
                <a:gd name="connsiteY36" fmla="*/ 199073 h 428625"/>
                <a:gd name="connsiteX37" fmla="*/ 18757 w 799271"/>
                <a:gd name="connsiteY37" fmla="*/ 199073 h 428625"/>
                <a:gd name="connsiteX38" fmla="*/ 37807 w 799271"/>
                <a:gd name="connsiteY38" fmla="*/ 183833 h 428625"/>
                <a:gd name="connsiteX39" fmla="*/ 66382 w 799271"/>
                <a:gd name="connsiteY39" fmla="*/ 57150 h 428625"/>
                <a:gd name="connsiteX40" fmla="*/ 66382 w 799271"/>
                <a:gd name="connsiteY40" fmla="*/ 124777 h 428625"/>
                <a:gd name="connsiteX41" fmla="*/ 37807 w 799271"/>
                <a:gd name="connsiteY41" fmla="*/ 266700 h 428625"/>
                <a:gd name="connsiteX42" fmla="*/ 66382 w 799271"/>
                <a:gd name="connsiteY42" fmla="*/ 266700 h 428625"/>
                <a:gd name="connsiteX43" fmla="*/ 66382 w 799271"/>
                <a:gd name="connsiteY43" fmla="*/ 428625 h 428625"/>
                <a:gd name="connsiteX44" fmla="*/ 104482 w 799271"/>
                <a:gd name="connsiteY44" fmla="*/ 428625 h 428625"/>
                <a:gd name="connsiteX45" fmla="*/ 104482 w 799271"/>
                <a:gd name="connsiteY45" fmla="*/ 266700 h 428625"/>
                <a:gd name="connsiteX46" fmla="*/ 123532 w 799271"/>
                <a:gd name="connsiteY46" fmla="*/ 266700 h 428625"/>
                <a:gd name="connsiteX47" fmla="*/ 123532 w 799271"/>
                <a:gd name="connsiteY47" fmla="*/ 428625 h 428625"/>
                <a:gd name="connsiteX48" fmla="*/ 161632 w 799271"/>
                <a:gd name="connsiteY48" fmla="*/ 428625 h 428625"/>
                <a:gd name="connsiteX49" fmla="*/ 161632 w 799271"/>
                <a:gd name="connsiteY49" fmla="*/ 266700 h 428625"/>
                <a:gd name="connsiteX50" fmla="*/ 190207 w 799271"/>
                <a:gd name="connsiteY50" fmla="*/ 266700 h 428625"/>
                <a:gd name="connsiteX51" fmla="*/ 161632 w 799271"/>
                <a:gd name="connsiteY51" fmla="*/ 124777 h 428625"/>
                <a:gd name="connsiteX52" fmla="*/ 161632 w 799271"/>
                <a:gd name="connsiteY52" fmla="*/ 57150 h 428625"/>
                <a:gd name="connsiteX53" fmla="*/ 190207 w 799271"/>
                <a:gd name="connsiteY53" fmla="*/ 184785 h 428625"/>
                <a:gd name="connsiteX54" fmla="*/ 208305 w 799271"/>
                <a:gd name="connsiteY54" fmla="*/ 200025 h 428625"/>
                <a:gd name="connsiteX55" fmla="*/ 208305 w 799271"/>
                <a:gd name="connsiteY55" fmla="*/ 200025 h 428625"/>
                <a:gd name="connsiteX56" fmla="*/ 226402 w 799271"/>
                <a:gd name="connsiteY56" fmla="*/ 184785 h 428625"/>
                <a:gd name="connsiteX57" fmla="*/ 256882 w 799271"/>
                <a:gd name="connsiteY57" fmla="*/ 57150 h 428625"/>
                <a:gd name="connsiteX58" fmla="*/ 256882 w 799271"/>
                <a:gd name="connsiteY58" fmla="*/ 209550 h 428625"/>
                <a:gd name="connsiteX59" fmla="*/ 256882 w 799271"/>
                <a:gd name="connsiteY59" fmla="*/ 428625 h 428625"/>
                <a:gd name="connsiteX60" fmla="*/ 294983 w 799271"/>
                <a:gd name="connsiteY60" fmla="*/ 428625 h 428625"/>
                <a:gd name="connsiteX61" fmla="*/ 294983 w 799271"/>
                <a:gd name="connsiteY61" fmla="*/ 209550 h 428625"/>
                <a:gd name="connsiteX62" fmla="*/ 314033 w 799271"/>
                <a:gd name="connsiteY62" fmla="*/ 209550 h 428625"/>
                <a:gd name="connsiteX63" fmla="*/ 314033 w 799271"/>
                <a:gd name="connsiteY63" fmla="*/ 428625 h 428625"/>
                <a:gd name="connsiteX64" fmla="*/ 352133 w 799271"/>
                <a:gd name="connsiteY64" fmla="*/ 428625 h 428625"/>
                <a:gd name="connsiteX65" fmla="*/ 352133 w 799271"/>
                <a:gd name="connsiteY65" fmla="*/ 209550 h 428625"/>
                <a:gd name="connsiteX66" fmla="*/ 352133 w 799271"/>
                <a:gd name="connsiteY66" fmla="*/ 57150 h 428625"/>
                <a:gd name="connsiteX67" fmla="*/ 380708 w 799271"/>
                <a:gd name="connsiteY67" fmla="*/ 184785 h 428625"/>
                <a:gd name="connsiteX68" fmla="*/ 399758 w 799271"/>
                <a:gd name="connsiteY68" fmla="*/ 200025 h 428625"/>
                <a:gd name="connsiteX69" fmla="*/ 399758 w 799271"/>
                <a:gd name="connsiteY69" fmla="*/ 200025 h 428625"/>
                <a:gd name="connsiteX70" fmla="*/ 399758 w 799271"/>
                <a:gd name="connsiteY70" fmla="*/ 200025 h 428625"/>
                <a:gd name="connsiteX71" fmla="*/ 417855 w 799271"/>
                <a:gd name="connsiteY71" fmla="*/ 184785 h 428625"/>
                <a:gd name="connsiteX72" fmla="*/ 447383 w 799271"/>
                <a:gd name="connsiteY72" fmla="*/ 57150 h 428625"/>
                <a:gd name="connsiteX73" fmla="*/ 447383 w 799271"/>
                <a:gd name="connsiteY73" fmla="*/ 125730 h 428625"/>
                <a:gd name="connsiteX74" fmla="*/ 418808 w 799271"/>
                <a:gd name="connsiteY74" fmla="*/ 266700 h 428625"/>
                <a:gd name="connsiteX75" fmla="*/ 447383 w 799271"/>
                <a:gd name="connsiteY75" fmla="*/ 266700 h 428625"/>
                <a:gd name="connsiteX76" fmla="*/ 447383 w 799271"/>
                <a:gd name="connsiteY76" fmla="*/ 428625 h 428625"/>
                <a:gd name="connsiteX77" fmla="*/ 485483 w 799271"/>
                <a:gd name="connsiteY77" fmla="*/ 428625 h 428625"/>
                <a:gd name="connsiteX78" fmla="*/ 485483 w 799271"/>
                <a:gd name="connsiteY78" fmla="*/ 266700 h 428625"/>
                <a:gd name="connsiteX79" fmla="*/ 504533 w 799271"/>
                <a:gd name="connsiteY79" fmla="*/ 266700 h 428625"/>
                <a:gd name="connsiteX80" fmla="*/ 504533 w 799271"/>
                <a:gd name="connsiteY80" fmla="*/ 428625 h 428625"/>
                <a:gd name="connsiteX81" fmla="*/ 542633 w 799271"/>
                <a:gd name="connsiteY81" fmla="*/ 428625 h 428625"/>
                <a:gd name="connsiteX82" fmla="*/ 542633 w 799271"/>
                <a:gd name="connsiteY82" fmla="*/ 266700 h 428625"/>
                <a:gd name="connsiteX83" fmla="*/ 571208 w 799271"/>
                <a:gd name="connsiteY83" fmla="*/ 266700 h 428625"/>
                <a:gd name="connsiteX84" fmla="*/ 542633 w 799271"/>
                <a:gd name="connsiteY84" fmla="*/ 123825 h 428625"/>
                <a:gd name="connsiteX85" fmla="*/ 542633 w 799271"/>
                <a:gd name="connsiteY85" fmla="*/ 57150 h 428625"/>
                <a:gd name="connsiteX86" fmla="*/ 571208 w 799271"/>
                <a:gd name="connsiteY86" fmla="*/ 184785 h 428625"/>
                <a:gd name="connsiteX87" fmla="*/ 590258 w 799271"/>
                <a:gd name="connsiteY87" fmla="*/ 200025 h 428625"/>
                <a:gd name="connsiteX88" fmla="*/ 590258 w 799271"/>
                <a:gd name="connsiteY88" fmla="*/ 200025 h 428625"/>
                <a:gd name="connsiteX89" fmla="*/ 590258 w 799271"/>
                <a:gd name="connsiteY89" fmla="*/ 200025 h 428625"/>
                <a:gd name="connsiteX90" fmla="*/ 590258 w 799271"/>
                <a:gd name="connsiteY90" fmla="*/ 200025 h 428625"/>
                <a:gd name="connsiteX91" fmla="*/ 609308 w 799271"/>
                <a:gd name="connsiteY91" fmla="*/ 184785 h 428625"/>
                <a:gd name="connsiteX92" fmla="*/ 637883 w 799271"/>
                <a:gd name="connsiteY92" fmla="*/ 57150 h 428625"/>
                <a:gd name="connsiteX93" fmla="*/ 637883 w 799271"/>
                <a:gd name="connsiteY93" fmla="*/ 209550 h 428625"/>
                <a:gd name="connsiteX94" fmla="*/ 637883 w 799271"/>
                <a:gd name="connsiteY94" fmla="*/ 428625 h 428625"/>
                <a:gd name="connsiteX95" fmla="*/ 675983 w 799271"/>
                <a:gd name="connsiteY95" fmla="*/ 428625 h 428625"/>
                <a:gd name="connsiteX96" fmla="*/ 675983 w 799271"/>
                <a:gd name="connsiteY96" fmla="*/ 209550 h 428625"/>
                <a:gd name="connsiteX97" fmla="*/ 695033 w 799271"/>
                <a:gd name="connsiteY97" fmla="*/ 209550 h 428625"/>
                <a:gd name="connsiteX98" fmla="*/ 695033 w 799271"/>
                <a:gd name="connsiteY98" fmla="*/ 428625 h 428625"/>
                <a:gd name="connsiteX99" fmla="*/ 733133 w 799271"/>
                <a:gd name="connsiteY99" fmla="*/ 428625 h 428625"/>
                <a:gd name="connsiteX100" fmla="*/ 733133 w 799271"/>
                <a:gd name="connsiteY100" fmla="*/ 209550 h 428625"/>
                <a:gd name="connsiteX101" fmla="*/ 733133 w 799271"/>
                <a:gd name="connsiteY101" fmla="*/ 57150 h 428625"/>
                <a:gd name="connsiteX102" fmla="*/ 761708 w 799271"/>
                <a:gd name="connsiteY102" fmla="*/ 184785 h 428625"/>
                <a:gd name="connsiteX103" fmla="*/ 780758 w 799271"/>
                <a:gd name="connsiteY103" fmla="*/ 200025 h 428625"/>
                <a:gd name="connsiteX104" fmla="*/ 787425 w 799271"/>
                <a:gd name="connsiteY104" fmla="*/ 199073 h 428625"/>
                <a:gd name="connsiteX105" fmla="*/ 798855 w 799271"/>
                <a:gd name="connsiteY105" fmla="*/ 176213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799271" h="428625">
                  <a:moveTo>
                    <a:pt x="798855" y="176213"/>
                  </a:moveTo>
                  <a:lnTo>
                    <a:pt x="768375" y="37148"/>
                  </a:lnTo>
                  <a:cubicBezTo>
                    <a:pt x="767423" y="33338"/>
                    <a:pt x="765518" y="29527"/>
                    <a:pt x="761708" y="26670"/>
                  </a:cubicBezTo>
                  <a:cubicBezTo>
                    <a:pt x="750278" y="18098"/>
                    <a:pt x="737895" y="10477"/>
                    <a:pt x="723608" y="6668"/>
                  </a:cubicBezTo>
                  <a:cubicBezTo>
                    <a:pt x="711225" y="2857"/>
                    <a:pt x="698843" y="0"/>
                    <a:pt x="685508" y="0"/>
                  </a:cubicBezTo>
                  <a:cubicBezTo>
                    <a:pt x="672173" y="0"/>
                    <a:pt x="658837" y="1905"/>
                    <a:pt x="647408" y="6668"/>
                  </a:cubicBezTo>
                  <a:cubicBezTo>
                    <a:pt x="633120" y="11430"/>
                    <a:pt x="620737" y="18098"/>
                    <a:pt x="609308" y="26670"/>
                  </a:cubicBezTo>
                  <a:cubicBezTo>
                    <a:pt x="605498" y="29527"/>
                    <a:pt x="603593" y="33338"/>
                    <a:pt x="602640" y="37148"/>
                  </a:cubicBezTo>
                  <a:lnTo>
                    <a:pt x="590258" y="93345"/>
                  </a:lnTo>
                  <a:lnTo>
                    <a:pt x="590258" y="93345"/>
                  </a:lnTo>
                  <a:lnTo>
                    <a:pt x="577875" y="37148"/>
                  </a:lnTo>
                  <a:cubicBezTo>
                    <a:pt x="576923" y="33338"/>
                    <a:pt x="575018" y="29527"/>
                    <a:pt x="571208" y="26670"/>
                  </a:cubicBezTo>
                  <a:cubicBezTo>
                    <a:pt x="559778" y="18098"/>
                    <a:pt x="547395" y="10477"/>
                    <a:pt x="533108" y="6668"/>
                  </a:cubicBezTo>
                  <a:cubicBezTo>
                    <a:pt x="520725" y="2857"/>
                    <a:pt x="508343" y="0"/>
                    <a:pt x="495008" y="0"/>
                  </a:cubicBezTo>
                  <a:cubicBezTo>
                    <a:pt x="481672" y="0"/>
                    <a:pt x="468338" y="1905"/>
                    <a:pt x="456908" y="6668"/>
                  </a:cubicBezTo>
                  <a:cubicBezTo>
                    <a:pt x="442620" y="11430"/>
                    <a:pt x="430238" y="18098"/>
                    <a:pt x="418808" y="26670"/>
                  </a:cubicBezTo>
                  <a:cubicBezTo>
                    <a:pt x="414997" y="29527"/>
                    <a:pt x="413093" y="33338"/>
                    <a:pt x="412140" y="37148"/>
                  </a:cubicBezTo>
                  <a:lnTo>
                    <a:pt x="399758" y="92393"/>
                  </a:lnTo>
                  <a:lnTo>
                    <a:pt x="399758" y="93345"/>
                  </a:lnTo>
                  <a:lnTo>
                    <a:pt x="387375" y="37148"/>
                  </a:lnTo>
                  <a:cubicBezTo>
                    <a:pt x="386422" y="33338"/>
                    <a:pt x="384518" y="29527"/>
                    <a:pt x="380708" y="26670"/>
                  </a:cubicBezTo>
                  <a:cubicBezTo>
                    <a:pt x="369277" y="18098"/>
                    <a:pt x="356895" y="10477"/>
                    <a:pt x="342608" y="6668"/>
                  </a:cubicBezTo>
                  <a:cubicBezTo>
                    <a:pt x="330225" y="2857"/>
                    <a:pt x="317843" y="0"/>
                    <a:pt x="304508" y="0"/>
                  </a:cubicBezTo>
                  <a:cubicBezTo>
                    <a:pt x="291172" y="0"/>
                    <a:pt x="277838" y="1905"/>
                    <a:pt x="266408" y="6668"/>
                  </a:cubicBezTo>
                  <a:cubicBezTo>
                    <a:pt x="252120" y="11430"/>
                    <a:pt x="239738" y="18098"/>
                    <a:pt x="228307" y="26670"/>
                  </a:cubicBezTo>
                  <a:cubicBezTo>
                    <a:pt x="224498" y="29527"/>
                    <a:pt x="222592" y="33338"/>
                    <a:pt x="221640" y="37148"/>
                  </a:cubicBezTo>
                  <a:lnTo>
                    <a:pt x="209257" y="92393"/>
                  </a:lnTo>
                  <a:lnTo>
                    <a:pt x="209257" y="92393"/>
                  </a:lnTo>
                  <a:lnTo>
                    <a:pt x="196875" y="37148"/>
                  </a:lnTo>
                  <a:cubicBezTo>
                    <a:pt x="195923" y="33338"/>
                    <a:pt x="194017" y="29527"/>
                    <a:pt x="190207" y="26670"/>
                  </a:cubicBezTo>
                  <a:cubicBezTo>
                    <a:pt x="178777" y="18098"/>
                    <a:pt x="166395" y="10477"/>
                    <a:pt x="152107" y="6668"/>
                  </a:cubicBezTo>
                  <a:cubicBezTo>
                    <a:pt x="139725" y="2857"/>
                    <a:pt x="127342" y="0"/>
                    <a:pt x="114007" y="0"/>
                  </a:cubicBezTo>
                  <a:cubicBezTo>
                    <a:pt x="100672" y="0"/>
                    <a:pt x="87337" y="1905"/>
                    <a:pt x="75907" y="6668"/>
                  </a:cubicBezTo>
                  <a:cubicBezTo>
                    <a:pt x="61620" y="11430"/>
                    <a:pt x="49237" y="18098"/>
                    <a:pt x="37807" y="26670"/>
                  </a:cubicBezTo>
                  <a:cubicBezTo>
                    <a:pt x="33997" y="29527"/>
                    <a:pt x="32092" y="33338"/>
                    <a:pt x="31140" y="37148"/>
                  </a:cubicBezTo>
                  <a:lnTo>
                    <a:pt x="660" y="175260"/>
                  </a:lnTo>
                  <a:cubicBezTo>
                    <a:pt x="-2198" y="185738"/>
                    <a:pt x="4470" y="197168"/>
                    <a:pt x="15900" y="199073"/>
                  </a:cubicBezTo>
                  <a:cubicBezTo>
                    <a:pt x="16852" y="199073"/>
                    <a:pt x="17805" y="199073"/>
                    <a:pt x="18757" y="199073"/>
                  </a:cubicBezTo>
                  <a:cubicBezTo>
                    <a:pt x="27330" y="199073"/>
                    <a:pt x="34950" y="193358"/>
                    <a:pt x="37807" y="183833"/>
                  </a:cubicBezTo>
                  <a:lnTo>
                    <a:pt x="66382" y="57150"/>
                  </a:lnTo>
                  <a:lnTo>
                    <a:pt x="66382" y="124777"/>
                  </a:lnTo>
                  <a:lnTo>
                    <a:pt x="37807" y="266700"/>
                  </a:lnTo>
                  <a:lnTo>
                    <a:pt x="66382" y="266700"/>
                  </a:lnTo>
                  <a:lnTo>
                    <a:pt x="66382" y="428625"/>
                  </a:lnTo>
                  <a:lnTo>
                    <a:pt x="104482" y="428625"/>
                  </a:lnTo>
                  <a:lnTo>
                    <a:pt x="104482" y="266700"/>
                  </a:lnTo>
                  <a:lnTo>
                    <a:pt x="123532" y="266700"/>
                  </a:lnTo>
                  <a:lnTo>
                    <a:pt x="123532" y="428625"/>
                  </a:lnTo>
                  <a:lnTo>
                    <a:pt x="161632" y="428625"/>
                  </a:lnTo>
                  <a:lnTo>
                    <a:pt x="161632" y="266700"/>
                  </a:lnTo>
                  <a:lnTo>
                    <a:pt x="190207" y="266700"/>
                  </a:lnTo>
                  <a:lnTo>
                    <a:pt x="161632" y="124777"/>
                  </a:lnTo>
                  <a:lnTo>
                    <a:pt x="161632" y="57150"/>
                  </a:lnTo>
                  <a:lnTo>
                    <a:pt x="190207" y="184785"/>
                  </a:lnTo>
                  <a:cubicBezTo>
                    <a:pt x="192113" y="193358"/>
                    <a:pt x="199732" y="200025"/>
                    <a:pt x="208305" y="200025"/>
                  </a:cubicBezTo>
                  <a:lnTo>
                    <a:pt x="208305" y="200025"/>
                  </a:lnTo>
                  <a:cubicBezTo>
                    <a:pt x="216877" y="200025"/>
                    <a:pt x="224498" y="194310"/>
                    <a:pt x="226402" y="184785"/>
                  </a:cubicBezTo>
                  <a:lnTo>
                    <a:pt x="256882" y="57150"/>
                  </a:lnTo>
                  <a:lnTo>
                    <a:pt x="256882" y="209550"/>
                  </a:lnTo>
                  <a:lnTo>
                    <a:pt x="256882" y="428625"/>
                  </a:lnTo>
                  <a:lnTo>
                    <a:pt x="294983" y="428625"/>
                  </a:lnTo>
                  <a:lnTo>
                    <a:pt x="294983" y="209550"/>
                  </a:lnTo>
                  <a:lnTo>
                    <a:pt x="314033" y="209550"/>
                  </a:lnTo>
                  <a:lnTo>
                    <a:pt x="314033" y="428625"/>
                  </a:lnTo>
                  <a:lnTo>
                    <a:pt x="352133" y="428625"/>
                  </a:lnTo>
                  <a:lnTo>
                    <a:pt x="352133" y="209550"/>
                  </a:lnTo>
                  <a:lnTo>
                    <a:pt x="352133" y="57150"/>
                  </a:lnTo>
                  <a:lnTo>
                    <a:pt x="380708" y="184785"/>
                  </a:lnTo>
                  <a:cubicBezTo>
                    <a:pt x="382613" y="193358"/>
                    <a:pt x="390233" y="200025"/>
                    <a:pt x="399758" y="200025"/>
                  </a:cubicBezTo>
                  <a:cubicBezTo>
                    <a:pt x="399758" y="200025"/>
                    <a:pt x="399758" y="200025"/>
                    <a:pt x="399758" y="200025"/>
                  </a:cubicBezTo>
                  <a:lnTo>
                    <a:pt x="399758" y="200025"/>
                  </a:lnTo>
                  <a:cubicBezTo>
                    <a:pt x="408330" y="200025"/>
                    <a:pt x="415950" y="194310"/>
                    <a:pt x="417855" y="184785"/>
                  </a:cubicBezTo>
                  <a:lnTo>
                    <a:pt x="447383" y="57150"/>
                  </a:lnTo>
                  <a:lnTo>
                    <a:pt x="447383" y="125730"/>
                  </a:lnTo>
                  <a:lnTo>
                    <a:pt x="418808" y="266700"/>
                  </a:lnTo>
                  <a:lnTo>
                    <a:pt x="447383" y="266700"/>
                  </a:lnTo>
                  <a:lnTo>
                    <a:pt x="447383" y="428625"/>
                  </a:lnTo>
                  <a:lnTo>
                    <a:pt x="485483" y="428625"/>
                  </a:lnTo>
                  <a:lnTo>
                    <a:pt x="485483" y="266700"/>
                  </a:lnTo>
                  <a:lnTo>
                    <a:pt x="504533" y="266700"/>
                  </a:lnTo>
                  <a:lnTo>
                    <a:pt x="504533" y="428625"/>
                  </a:lnTo>
                  <a:lnTo>
                    <a:pt x="542633" y="428625"/>
                  </a:lnTo>
                  <a:lnTo>
                    <a:pt x="542633" y="266700"/>
                  </a:lnTo>
                  <a:lnTo>
                    <a:pt x="571208" y="266700"/>
                  </a:lnTo>
                  <a:lnTo>
                    <a:pt x="542633" y="123825"/>
                  </a:lnTo>
                  <a:lnTo>
                    <a:pt x="542633" y="57150"/>
                  </a:lnTo>
                  <a:lnTo>
                    <a:pt x="571208" y="184785"/>
                  </a:lnTo>
                  <a:cubicBezTo>
                    <a:pt x="573112" y="193358"/>
                    <a:pt x="580733" y="200025"/>
                    <a:pt x="590258" y="200025"/>
                  </a:cubicBezTo>
                  <a:cubicBezTo>
                    <a:pt x="590258" y="200025"/>
                    <a:pt x="590258" y="200025"/>
                    <a:pt x="590258" y="200025"/>
                  </a:cubicBezTo>
                  <a:lnTo>
                    <a:pt x="590258" y="200025"/>
                  </a:lnTo>
                  <a:cubicBezTo>
                    <a:pt x="590258" y="200025"/>
                    <a:pt x="590258" y="200025"/>
                    <a:pt x="590258" y="200025"/>
                  </a:cubicBezTo>
                  <a:cubicBezTo>
                    <a:pt x="598830" y="200025"/>
                    <a:pt x="606450" y="194310"/>
                    <a:pt x="609308" y="184785"/>
                  </a:cubicBezTo>
                  <a:lnTo>
                    <a:pt x="637883" y="57150"/>
                  </a:lnTo>
                  <a:lnTo>
                    <a:pt x="637883" y="209550"/>
                  </a:lnTo>
                  <a:lnTo>
                    <a:pt x="637883" y="428625"/>
                  </a:lnTo>
                  <a:lnTo>
                    <a:pt x="675983" y="428625"/>
                  </a:lnTo>
                  <a:lnTo>
                    <a:pt x="675983" y="209550"/>
                  </a:lnTo>
                  <a:lnTo>
                    <a:pt x="695033" y="209550"/>
                  </a:lnTo>
                  <a:lnTo>
                    <a:pt x="695033" y="428625"/>
                  </a:lnTo>
                  <a:lnTo>
                    <a:pt x="733133" y="428625"/>
                  </a:lnTo>
                  <a:lnTo>
                    <a:pt x="733133" y="209550"/>
                  </a:lnTo>
                  <a:lnTo>
                    <a:pt x="733133" y="57150"/>
                  </a:lnTo>
                  <a:lnTo>
                    <a:pt x="761708" y="184785"/>
                  </a:lnTo>
                  <a:cubicBezTo>
                    <a:pt x="763612" y="193358"/>
                    <a:pt x="771233" y="200025"/>
                    <a:pt x="780758" y="200025"/>
                  </a:cubicBezTo>
                  <a:cubicBezTo>
                    <a:pt x="782662" y="200025"/>
                    <a:pt x="785520" y="200025"/>
                    <a:pt x="787425" y="199073"/>
                  </a:cubicBezTo>
                  <a:cubicBezTo>
                    <a:pt x="795998" y="195263"/>
                    <a:pt x="800760" y="185738"/>
                    <a:pt x="798855" y="1762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80" name="Group 1079">
            <a:extLst>
              <a:ext uri="{FF2B5EF4-FFF2-40B4-BE49-F238E27FC236}">
                <a16:creationId xmlns:a16="http://schemas.microsoft.com/office/drawing/2014/main" id="{BC75C00F-BB15-D4E6-D1E1-E3256A411357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8231432" y="1964609"/>
            <a:ext cx="667470" cy="583793"/>
            <a:chOff x="13971633" y="3742345"/>
            <a:chExt cx="565087" cy="494245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61" name="Freeform: Shape 1060">
              <a:extLst>
                <a:ext uri="{FF2B5EF4-FFF2-40B4-BE49-F238E27FC236}">
                  <a16:creationId xmlns:a16="http://schemas.microsoft.com/office/drawing/2014/main" id="{B7E5CB6C-809A-3872-B62C-67327AA913AD}"/>
                </a:ext>
              </a:extLst>
            </p:cNvPr>
            <p:cNvSpPr/>
            <p:nvPr/>
          </p:nvSpPr>
          <p:spPr>
            <a:xfrm>
              <a:off x="13971633" y="3886956"/>
              <a:ext cx="341704" cy="349634"/>
            </a:xfrm>
            <a:custGeom>
              <a:avLst/>
              <a:gdLst>
                <a:gd name="connsiteX0" fmla="*/ 920 w 341704"/>
                <a:gd name="connsiteY0" fmla="*/ 230487 h 349634"/>
                <a:gd name="connsiteX1" fmla="*/ 996 w 341704"/>
                <a:gd name="connsiteY1" fmla="*/ 148564 h 349634"/>
                <a:gd name="connsiteX2" fmla="*/ 6270 w 341704"/>
                <a:gd name="connsiteY2" fmla="*/ 74571 h 349634"/>
                <a:gd name="connsiteX3" fmla="*/ 246652 w 341704"/>
                <a:gd name="connsiteY3" fmla="*/ 41938 h 349634"/>
                <a:gd name="connsiteX4" fmla="*/ 268698 w 341704"/>
                <a:gd name="connsiteY4" fmla="*/ 90470 h 349634"/>
                <a:gd name="connsiteX5" fmla="*/ 221077 w 341704"/>
                <a:gd name="connsiteY5" fmla="*/ 118966 h 349634"/>
                <a:gd name="connsiteX6" fmla="*/ 217169 w 341704"/>
                <a:gd name="connsiteY6" fmla="*/ 133006 h 349634"/>
                <a:gd name="connsiteX7" fmla="*/ 269040 w 341704"/>
                <a:gd name="connsiteY7" fmla="*/ 163476 h 349634"/>
                <a:gd name="connsiteX8" fmla="*/ 270558 w 341704"/>
                <a:gd name="connsiteY8" fmla="*/ 179223 h 349634"/>
                <a:gd name="connsiteX9" fmla="*/ 238684 w 341704"/>
                <a:gd name="connsiteY9" fmla="*/ 162945 h 349634"/>
                <a:gd name="connsiteX10" fmla="*/ 234169 w 341704"/>
                <a:gd name="connsiteY10" fmla="*/ 166853 h 349634"/>
                <a:gd name="connsiteX11" fmla="*/ 234169 w 341704"/>
                <a:gd name="connsiteY11" fmla="*/ 195805 h 349634"/>
                <a:gd name="connsiteX12" fmla="*/ 177099 w 341704"/>
                <a:gd name="connsiteY12" fmla="*/ 195805 h 349634"/>
                <a:gd name="connsiteX13" fmla="*/ 177099 w 341704"/>
                <a:gd name="connsiteY13" fmla="*/ 209048 h 349634"/>
                <a:gd name="connsiteX14" fmla="*/ 244717 w 341704"/>
                <a:gd name="connsiteY14" fmla="*/ 208820 h 349634"/>
                <a:gd name="connsiteX15" fmla="*/ 248929 w 341704"/>
                <a:gd name="connsiteY15" fmla="*/ 198006 h 349634"/>
                <a:gd name="connsiteX16" fmla="*/ 251509 w 341704"/>
                <a:gd name="connsiteY16" fmla="*/ 182600 h 349634"/>
                <a:gd name="connsiteX17" fmla="*/ 341705 w 341704"/>
                <a:gd name="connsiteY17" fmla="*/ 238797 h 349634"/>
                <a:gd name="connsiteX18" fmla="*/ 249840 w 341704"/>
                <a:gd name="connsiteY18" fmla="*/ 291730 h 349634"/>
                <a:gd name="connsiteX19" fmla="*/ 247373 w 341704"/>
                <a:gd name="connsiteY19" fmla="*/ 289302 h 349634"/>
                <a:gd name="connsiteX20" fmla="*/ 244641 w 341704"/>
                <a:gd name="connsiteY20" fmla="*/ 270178 h 349634"/>
                <a:gd name="connsiteX21" fmla="*/ 173380 w 341704"/>
                <a:gd name="connsiteY21" fmla="*/ 270671 h 349634"/>
                <a:gd name="connsiteX22" fmla="*/ 175430 w 341704"/>
                <a:gd name="connsiteY22" fmla="*/ 281827 h 349634"/>
                <a:gd name="connsiteX23" fmla="*/ 210187 w 341704"/>
                <a:gd name="connsiteY23" fmla="*/ 281827 h 349634"/>
                <a:gd name="connsiteX24" fmla="*/ 212654 w 341704"/>
                <a:gd name="connsiteY24" fmla="*/ 284293 h 349634"/>
                <a:gd name="connsiteX25" fmla="*/ 212654 w 341704"/>
                <a:gd name="connsiteY25" fmla="*/ 349635 h 349634"/>
                <a:gd name="connsiteX26" fmla="*/ 143176 w 341704"/>
                <a:gd name="connsiteY26" fmla="*/ 349635 h 349634"/>
                <a:gd name="connsiteX27" fmla="*/ 143176 w 341704"/>
                <a:gd name="connsiteY27" fmla="*/ 236331 h 349634"/>
                <a:gd name="connsiteX28" fmla="*/ 128302 w 341704"/>
                <a:gd name="connsiteY28" fmla="*/ 238000 h 349634"/>
                <a:gd name="connsiteX29" fmla="*/ 128302 w 341704"/>
                <a:gd name="connsiteY29" fmla="*/ 349635 h 349634"/>
                <a:gd name="connsiteX30" fmla="*/ 60456 w 341704"/>
                <a:gd name="connsiteY30" fmla="*/ 349635 h 349634"/>
                <a:gd name="connsiteX31" fmla="*/ 60456 w 341704"/>
                <a:gd name="connsiteY31" fmla="*/ 115627 h 349634"/>
                <a:gd name="connsiteX32" fmla="*/ 49945 w 341704"/>
                <a:gd name="connsiteY32" fmla="*/ 109746 h 349634"/>
                <a:gd name="connsiteX33" fmla="*/ 45544 w 341704"/>
                <a:gd name="connsiteY33" fmla="*/ 117259 h 349634"/>
                <a:gd name="connsiteX34" fmla="*/ 45544 w 341704"/>
                <a:gd name="connsiteY34" fmla="*/ 230563 h 349634"/>
                <a:gd name="connsiteX35" fmla="*/ 882 w 341704"/>
                <a:gd name="connsiteY35" fmla="*/ 230563 h 349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41704" h="349634">
                  <a:moveTo>
                    <a:pt x="920" y="230487"/>
                  </a:moveTo>
                  <a:cubicBezTo>
                    <a:pt x="693" y="203205"/>
                    <a:pt x="1224" y="175846"/>
                    <a:pt x="996" y="148564"/>
                  </a:cubicBezTo>
                  <a:cubicBezTo>
                    <a:pt x="768" y="121926"/>
                    <a:pt x="-3140" y="101398"/>
                    <a:pt x="6270" y="74571"/>
                  </a:cubicBezTo>
                  <a:cubicBezTo>
                    <a:pt x="37120" y="-13348"/>
                    <a:pt x="189507" y="-22607"/>
                    <a:pt x="246652" y="41938"/>
                  </a:cubicBezTo>
                  <a:cubicBezTo>
                    <a:pt x="254393" y="50703"/>
                    <a:pt x="272645" y="79200"/>
                    <a:pt x="268698" y="90470"/>
                  </a:cubicBezTo>
                  <a:cubicBezTo>
                    <a:pt x="267522" y="93809"/>
                    <a:pt x="227376" y="114261"/>
                    <a:pt x="221077" y="118966"/>
                  </a:cubicBezTo>
                  <a:cubicBezTo>
                    <a:pt x="215879" y="122875"/>
                    <a:pt x="211477" y="127201"/>
                    <a:pt x="217169" y="133006"/>
                  </a:cubicBezTo>
                  <a:cubicBezTo>
                    <a:pt x="231512" y="142910"/>
                    <a:pt x="256784" y="152131"/>
                    <a:pt x="269040" y="163476"/>
                  </a:cubicBezTo>
                  <a:cubicBezTo>
                    <a:pt x="273783" y="167878"/>
                    <a:pt x="269344" y="173000"/>
                    <a:pt x="270558" y="179223"/>
                  </a:cubicBezTo>
                  <a:cubicBezTo>
                    <a:pt x="263993" y="175656"/>
                    <a:pt x="245210" y="161123"/>
                    <a:pt x="238684" y="162945"/>
                  </a:cubicBezTo>
                  <a:cubicBezTo>
                    <a:pt x="237508" y="163286"/>
                    <a:pt x="234169" y="166284"/>
                    <a:pt x="234169" y="166853"/>
                  </a:cubicBezTo>
                  <a:lnTo>
                    <a:pt x="234169" y="195805"/>
                  </a:lnTo>
                  <a:lnTo>
                    <a:pt x="177099" y="195805"/>
                  </a:lnTo>
                  <a:cubicBezTo>
                    <a:pt x="171369" y="195805"/>
                    <a:pt x="169017" y="207530"/>
                    <a:pt x="177099" y="209048"/>
                  </a:cubicBezTo>
                  <a:lnTo>
                    <a:pt x="244717" y="208820"/>
                  </a:lnTo>
                  <a:cubicBezTo>
                    <a:pt x="247487" y="207872"/>
                    <a:pt x="248588" y="200966"/>
                    <a:pt x="248929" y="198006"/>
                  </a:cubicBezTo>
                  <a:cubicBezTo>
                    <a:pt x="249195" y="196033"/>
                    <a:pt x="246652" y="180703"/>
                    <a:pt x="251509" y="182600"/>
                  </a:cubicBezTo>
                  <a:lnTo>
                    <a:pt x="341705" y="238797"/>
                  </a:lnTo>
                  <a:lnTo>
                    <a:pt x="249840" y="291730"/>
                  </a:lnTo>
                  <a:cubicBezTo>
                    <a:pt x="246501" y="292148"/>
                    <a:pt x="247677" y="291617"/>
                    <a:pt x="247373" y="289302"/>
                  </a:cubicBezTo>
                  <a:cubicBezTo>
                    <a:pt x="246918" y="285773"/>
                    <a:pt x="248626" y="271126"/>
                    <a:pt x="244641" y="270178"/>
                  </a:cubicBezTo>
                  <a:lnTo>
                    <a:pt x="173380" y="270671"/>
                  </a:lnTo>
                  <a:cubicBezTo>
                    <a:pt x="169738" y="273820"/>
                    <a:pt x="172432" y="281827"/>
                    <a:pt x="175430" y="281827"/>
                  </a:cubicBezTo>
                  <a:lnTo>
                    <a:pt x="210187" y="281827"/>
                  </a:lnTo>
                  <a:lnTo>
                    <a:pt x="212654" y="284293"/>
                  </a:lnTo>
                  <a:lnTo>
                    <a:pt x="212654" y="349635"/>
                  </a:lnTo>
                  <a:lnTo>
                    <a:pt x="143176" y="349635"/>
                  </a:lnTo>
                  <a:lnTo>
                    <a:pt x="143176" y="236331"/>
                  </a:lnTo>
                  <a:cubicBezTo>
                    <a:pt x="143176" y="228400"/>
                    <a:pt x="128302" y="229994"/>
                    <a:pt x="128302" y="238000"/>
                  </a:cubicBezTo>
                  <a:lnTo>
                    <a:pt x="128302" y="349635"/>
                  </a:lnTo>
                  <a:lnTo>
                    <a:pt x="60456" y="349635"/>
                  </a:lnTo>
                  <a:lnTo>
                    <a:pt x="60456" y="115627"/>
                  </a:lnTo>
                  <a:cubicBezTo>
                    <a:pt x="60456" y="111529"/>
                    <a:pt x="54005" y="108759"/>
                    <a:pt x="49945" y="109746"/>
                  </a:cubicBezTo>
                  <a:cubicBezTo>
                    <a:pt x="49376" y="109898"/>
                    <a:pt x="45544" y="116842"/>
                    <a:pt x="45544" y="117259"/>
                  </a:cubicBezTo>
                  <a:lnTo>
                    <a:pt x="45544" y="230563"/>
                  </a:lnTo>
                  <a:lnTo>
                    <a:pt x="882" y="230563"/>
                  </a:ln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2" name="Freeform: Shape 1061">
              <a:extLst>
                <a:ext uri="{FF2B5EF4-FFF2-40B4-BE49-F238E27FC236}">
                  <a16:creationId xmlns:a16="http://schemas.microsoft.com/office/drawing/2014/main" id="{F4152185-355C-47C2-9747-A01F3772903E}"/>
                </a:ext>
              </a:extLst>
            </p:cNvPr>
            <p:cNvSpPr/>
            <p:nvPr/>
          </p:nvSpPr>
          <p:spPr>
            <a:xfrm>
              <a:off x="14207471" y="3886961"/>
              <a:ext cx="329249" cy="349516"/>
            </a:xfrm>
            <a:custGeom>
              <a:avLst/>
              <a:gdLst>
                <a:gd name="connsiteX0" fmla="*/ 329249 w 329249"/>
                <a:gd name="connsiteY0" fmla="*/ 230482 h 349516"/>
                <a:gd name="connsiteX1" fmla="*/ 284588 w 329249"/>
                <a:gd name="connsiteY1" fmla="*/ 230482 h 349516"/>
                <a:gd name="connsiteX2" fmla="*/ 284588 w 329249"/>
                <a:gd name="connsiteY2" fmla="*/ 113877 h 349516"/>
                <a:gd name="connsiteX3" fmla="*/ 271345 w 329249"/>
                <a:gd name="connsiteY3" fmla="*/ 112208 h 349516"/>
                <a:gd name="connsiteX4" fmla="*/ 271345 w 329249"/>
                <a:gd name="connsiteY4" fmla="*/ 349516 h 349516"/>
                <a:gd name="connsiteX5" fmla="*/ 201868 w 329249"/>
                <a:gd name="connsiteY5" fmla="*/ 349516 h 349516"/>
                <a:gd name="connsiteX6" fmla="*/ 201868 w 329249"/>
                <a:gd name="connsiteY6" fmla="*/ 234580 h 349516"/>
                <a:gd name="connsiteX7" fmla="*/ 195986 w 329249"/>
                <a:gd name="connsiteY7" fmla="*/ 230369 h 349516"/>
                <a:gd name="connsiteX8" fmla="*/ 188625 w 329249"/>
                <a:gd name="connsiteY8" fmla="*/ 234580 h 349516"/>
                <a:gd name="connsiteX9" fmla="*/ 188625 w 329249"/>
                <a:gd name="connsiteY9" fmla="*/ 349516 h 349516"/>
                <a:gd name="connsiteX10" fmla="*/ 119148 w 329249"/>
                <a:gd name="connsiteY10" fmla="*/ 349516 h 349516"/>
                <a:gd name="connsiteX11" fmla="*/ 119148 w 329249"/>
                <a:gd name="connsiteY11" fmla="*/ 245319 h 349516"/>
                <a:gd name="connsiteX12" fmla="*/ 125257 w 329249"/>
                <a:gd name="connsiteY12" fmla="*/ 232569 h 349516"/>
                <a:gd name="connsiteX13" fmla="*/ 59915 w 329249"/>
                <a:gd name="connsiteY13" fmla="*/ 193714 h 349516"/>
                <a:gd name="connsiteX14" fmla="*/ 59574 w 329249"/>
                <a:gd name="connsiteY14" fmla="*/ 180812 h 349516"/>
                <a:gd name="connsiteX15" fmla="*/ 103211 w 329249"/>
                <a:gd name="connsiteY15" fmla="*/ 202175 h 349516"/>
                <a:gd name="connsiteX16" fmla="*/ 109092 w 329249"/>
                <a:gd name="connsiteY16" fmla="*/ 171592 h 349516"/>
                <a:gd name="connsiteX17" fmla="*/ 166048 w 329249"/>
                <a:gd name="connsiteY17" fmla="*/ 170643 h 349516"/>
                <a:gd name="connsiteX18" fmla="*/ 168514 w 329249"/>
                <a:gd name="connsiteY18" fmla="*/ 168176 h 349516"/>
                <a:gd name="connsiteX19" fmla="*/ 168514 w 329249"/>
                <a:gd name="connsiteY19" fmla="*/ 159563 h 349516"/>
                <a:gd name="connsiteX20" fmla="*/ 97481 w 329249"/>
                <a:gd name="connsiteY20" fmla="*/ 158425 h 349516"/>
                <a:gd name="connsiteX21" fmla="*/ 92662 w 329249"/>
                <a:gd name="connsiteY21" fmla="*/ 178384 h 349516"/>
                <a:gd name="connsiteX22" fmla="*/ 90158 w 329249"/>
                <a:gd name="connsiteY22" fmla="*/ 180850 h 349516"/>
                <a:gd name="connsiteX23" fmla="*/ 0 w 329249"/>
                <a:gd name="connsiteY23" fmla="*/ 127879 h 349516"/>
                <a:gd name="connsiteX24" fmla="*/ 94294 w 329249"/>
                <a:gd name="connsiteY24" fmla="*/ 71682 h 349516"/>
                <a:gd name="connsiteX25" fmla="*/ 94294 w 329249"/>
                <a:gd name="connsiteY25" fmla="*/ 95664 h 349516"/>
                <a:gd name="connsiteX26" fmla="*/ 103362 w 329249"/>
                <a:gd name="connsiteY26" fmla="*/ 99838 h 349516"/>
                <a:gd name="connsiteX27" fmla="*/ 161191 w 329249"/>
                <a:gd name="connsiteY27" fmla="*/ 99686 h 349516"/>
                <a:gd name="connsiteX28" fmla="*/ 164606 w 329249"/>
                <a:gd name="connsiteY28" fmla="*/ 84925 h 349516"/>
                <a:gd name="connsiteX29" fmla="*/ 107536 w 329249"/>
                <a:gd name="connsiteY29" fmla="*/ 84925 h 349516"/>
                <a:gd name="connsiteX30" fmla="*/ 107536 w 329249"/>
                <a:gd name="connsiteY30" fmla="*/ 57643 h 349516"/>
                <a:gd name="connsiteX31" fmla="*/ 104235 w 329249"/>
                <a:gd name="connsiteY31" fmla="*/ 52672 h 349516"/>
                <a:gd name="connsiteX32" fmla="*/ 67846 w 329249"/>
                <a:gd name="connsiteY32" fmla="*/ 67584 h 349516"/>
                <a:gd name="connsiteX33" fmla="*/ 296009 w 329249"/>
                <a:gd name="connsiteY33" fmla="*/ 32978 h 349516"/>
                <a:gd name="connsiteX34" fmla="*/ 329249 w 329249"/>
                <a:gd name="connsiteY34" fmla="*/ 89061 h 349516"/>
                <a:gd name="connsiteX35" fmla="*/ 329249 w 329249"/>
                <a:gd name="connsiteY35" fmla="*/ 230444 h 34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29249" h="349516">
                  <a:moveTo>
                    <a:pt x="329249" y="230482"/>
                  </a:moveTo>
                  <a:lnTo>
                    <a:pt x="284588" y="230482"/>
                  </a:lnTo>
                  <a:lnTo>
                    <a:pt x="284588" y="113877"/>
                  </a:lnTo>
                  <a:cubicBezTo>
                    <a:pt x="284588" y="109703"/>
                    <a:pt x="271345" y="107920"/>
                    <a:pt x="271345" y="112208"/>
                  </a:cubicBezTo>
                  <a:lnTo>
                    <a:pt x="271345" y="349516"/>
                  </a:lnTo>
                  <a:lnTo>
                    <a:pt x="201868" y="349516"/>
                  </a:lnTo>
                  <a:lnTo>
                    <a:pt x="201868" y="234580"/>
                  </a:lnTo>
                  <a:cubicBezTo>
                    <a:pt x="201868" y="233746"/>
                    <a:pt x="197732" y="230255"/>
                    <a:pt x="195986" y="230369"/>
                  </a:cubicBezTo>
                  <a:cubicBezTo>
                    <a:pt x="193861" y="229496"/>
                    <a:pt x="188625" y="233366"/>
                    <a:pt x="188625" y="234580"/>
                  </a:cubicBezTo>
                  <a:lnTo>
                    <a:pt x="188625" y="349516"/>
                  </a:lnTo>
                  <a:lnTo>
                    <a:pt x="119148" y="349516"/>
                  </a:lnTo>
                  <a:lnTo>
                    <a:pt x="119148" y="245319"/>
                  </a:lnTo>
                  <a:cubicBezTo>
                    <a:pt x="119148" y="244446"/>
                    <a:pt x="132960" y="241600"/>
                    <a:pt x="125257" y="232569"/>
                  </a:cubicBezTo>
                  <a:lnTo>
                    <a:pt x="59915" y="193714"/>
                  </a:lnTo>
                  <a:lnTo>
                    <a:pt x="59574" y="180812"/>
                  </a:lnTo>
                  <a:cubicBezTo>
                    <a:pt x="62534" y="177739"/>
                    <a:pt x="95849" y="204680"/>
                    <a:pt x="103211" y="202175"/>
                  </a:cubicBezTo>
                  <a:cubicBezTo>
                    <a:pt x="110117" y="199823"/>
                    <a:pt x="105411" y="174172"/>
                    <a:pt x="109092" y="171592"/>
                  </a:cubicBezTo>
                  <a:lnTo>
                    <a:pt x="166048" y="170643"/>
                  </a:lnTo>
                  <a:lnTo>
                    <a:pt x="168514" y="168176"/>
                  </a:lnTo>
                  <a:lnTo>
                    <a:pt x="168514" y="159563"/>
                  </a:lnTo>
                  <a:cubicBezTo>
                    <a:pt x="168514" y="159563"/>
                    <a:pt x="97481" y="158425"/>
                    <a:pt x="97481" y="158425"/>
                  </a:cubicBezTo>
                  <a:cubicBezTo>
                    <a:pt x="91296" y="160322"/>
                    <a:pt x="93383" y="172958"/>
                    <a:pt x="92662" y="178384"/>
                  </a:cubicBezTo>
                  <a:cubicBezTo>
                    <a:pt x="92358" y="180698"/>
                    <a:pt x="93573" y="181192"/>
                    <a:pt x="90158" y="180850"/>
                  </a:cubicBezTo>
                  <a:lnTo>
                    <a:pt x="0" y="127879"/>
                  </a:lnTo>
                  <a:lnTo>
                    <a:pt x="94294" y="71682"/>
                  </a:lnTo>
                  <a:lnTo>
                    <a:pt x="94294" y="95664"/>
                  </a:lnTo>
                  <a:cubicBezTo>
                    <a:pt x="96836" y="98585"/>
                    <a:pt x="99644" y="99382"/>
                    <a:pt x="103362" y="99838"/>
                  </a:cubicBezTo>
                  <a:cubicBezTo>
                    <a:pt x="114670" y="101165"/>
                    <a:pt x="150300" y="101355"/>
                    <a:pt x="161191" y="99686"/>
                  </a:cubicBezTo>
                  <a:cubicBezTo>
                    <a:pt x="173864" y="97750"/>
                    <a:pt x="167831" y="84925"/>
                    <a:pt x="164606" y="84925"/>
                  </a:cubicBezTo>
                  <a:lnTo>
                    <a:pt x="107536" y="84925"/>
                  </a:lnTo>
                  <a:lnTo>
                    <a:pt x="107536" y="57643"/>
                  </a:lnTo>
                  <a:cubicBezTo>
                    <a:pt x="107536" y="57187"/>
                    <a:pt x="104956" y="53127"/>
                    <a:pt x="104235" y="52672"/>
                  </a:cubicBezTo>
                  <a:cubicBezTo>
                    <a:pt x="96001" y="47625"/>
                    <a:pt x="77446" y="68912"/>
                    <a:pt x="67846" y="67584"/>
                  </a:cubicBezTo>
                  <a:cubicBezTo>
                    <a:pt x="105525" y="-12025"/>
                    <a:pt x="233742" y="-18286"/>
                    <a:pt x="296009" y="32978"/>
                  </a:cubicBezTo>
                  <a:cubicBezTo>
                    <a:pt x="307317" y="42275"/>
                    <a:pt x="329249" y="74794"/>
                    <a:pt x="329249" y="89061"/>
                  </a:cubicBezTo>
                  <a:lnTo>
                    <a:pt x="329249" y="230444"/>
                  </a:ln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3BAEAF17-F74F-3F70-187F-9824BA19C47D}"/>
                </a:ext>
              </a:extLst>
            </p:cNvPr>
            <p:cNvSpPr/>
            <p:nvPr/>
          </p:nvSpPr>
          <p:spPr>
            <a:xfrm>
              <a:off x="14039147" y="3742345"/>
              <a:ext cx="137323" cy="130964"/>
            </a:xfrm>
            <a:custGeom>
              <a:avLst/>
              <a:gdLst>
                <a:gd name="connsiteX0" fmla="*/ 50391 w 137323"/>
                <a:gd name="connsiteY0" fmla="*/ 1680 h 130964"/>
                <a:gd name="connsiteX1" fmla="*/ 136906 w 137323"/>
                <a:gd name="connsiteY1" fmla="*/ 73283 h 130964"/>
                <a:gd name="connsiteX2" fmla="*/ 5350 w 137323"/>
                <a:gd name="connsiteY2" fmla="*/ 92293 h 130964"/>
                <a:gd name="connsiteX3" fmla="*/ 50391 w 137323"/>
                <a:gd name="connsiteY3" fmla="*/ 1718 h 130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23" h="130964">
                  <a:moveTo>
                    <a:pt x="50391" y="1680"/>
                  </a:moveTo>
                  <a:cubicBezTo>
                    <a:pt x="96608" y="-7844"/>
                    <a:pt x="142180" y="24068"/>
                    <a:pt x="136906" y="73283"/>
                  </a:cubicBezTo>
                  <a:cubicBezTo>
                    <a:pt x="129734" y="139914"/>
                    <a:pt x="32519" y="152209"/>
                    <a:pt x="5350" y="92293"/>
                  </a:cubicBezTo>
                  <a:cubicBezTo>
                    <a:pt x="-10852" y="56549"/>
                    <a:pt x="11345" y="9763"/>
                    <a:pt x="50391" y="1718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B7F16C6D-8C02-DF34-4A5D-9023A9E4D28E}"/>
                </a:ext>
              </a:extLst>
            </p:cNvPr>
            <p:cNvSpPr/>
            <p:nvPr/>
          </p:nvSpPr>
          <p:spPr>
            <a:xfrm>
              <a:off x="14334319" y="3743037"/>
              <a:ext cx="136337" cy="130061"/>
            </a:xfrm>
            <a:custGeom>
              <a:avLst/>
              <a:gdLst>
                <a:gd name="connsiteX0" fmla="*/ 53049 w 136337"/>
                <a:gd name="connsiteY0" fmla="*/ 1027 h 130061"/>
                <a:gd name="connsiteX1" fmla="*/ 136186 w 136337"/>
                <a:gd name="connsiteY1" fmla="*/ 70884 h 130061"/>
                <a:gd name="connsiteX2" fmla="*/ 17836 w 136337"/>
                <a:gd name="connsiteY2" fmla="*/ 109853 h 130061"/>
                <a:gd name="connsiteX3" fmla="*/ 53049 w 136337"/>
                <a:gd name="connsiteY3" fmla="*/ 1027 h 130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6337" h="130061">
                  <a:moveTo>
                    <a:pt x="53049" y="1027"/>
                  </a:moveTo>
                  <a:cubicBezTo>
                    <a:pt x="98052" y="-5993"/>
                    <a:pt x="139146" y="23604"/>
                    <a:pt x="136186" y="70884"/>
                  </a:cubicBezTo>
                  <a:cubicBezTo>
                    <a:pt x="132620" y="127877"/>
                    <a:pt x="57071" y="149468"/>
                    <a:pt x="17836" y="109853"/>
                  </a:cubicBezTo>
                  <a:cubicBezTo>
                    <a:pt x="-17833" y="73805"/>
                    <a:pt x="3113" y="8805"/>
                    <a:pt x="53049" y="1027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8" name="Group 1077">
            <a:extLst>
              <a:ext uri="{FF2B5EF4-FFF2-40B4-BE49-F238E27FC236}">
                <a16:creationId xmlns:a16="http://schemas.microsoft.com/office/drawing/2014/main" id="{53B057DF-5592-F8A1-817D-73002799F56A}"/>
              </a:ext>
            </a:extLst>
          </p:cNvPr>
          <p:cNvGrpSpPr/>
          <p:nvPr>
            <p:custDataLst>
              <p:tags r:id="rId30"/>
            </p:custDataLst>
          </p:nvPr>
        </p:nvGrpSpPr>
        <p:grpSpPr>
          <a:xfrm>
            <a:off x="3194989" y="1890137"/>
            <a:ext cx="852950" cy="732736"/>
            <a:chOff x="12566195" y="3264392"/>
            <a:chExt cx="1191285" cy="1023386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60" name="Freeform: Shape 1059">
              <a:extLst>
                <a:ext uri="{FF2B5EF4-FFF2-40B4-BE49-F238E27FC236}">
                  <a16:creationId xmlns:a16="http://schemas.microsoft.com/office/drawing/2014/main" id="{FF2F48FD-F928-EA88-FD20-99DA9AFFE836}"/>
                </a:ext>
              </a:extLst>
            </p:cNvPr>
            <p:cNvSpPr/>
            <p:nvPr/>
          </p:nvSpPr>
          <p:spPr>
            <a:xfrm>
              <a:off x="12962889" y="4061891"/>
              <a:ext cx="397496" cy="225887"/>
            </a:xfrm>
            <a:custGeom>
              <a:avLst/>
              <a:gdLst>
                <a:gd name="connsiteX0" fmla="*/ 397496 w 397496"/>
                <a:gd name="connsiteY0" fmla="*/ 225887 h 225887"/>
                <a:gd name="connsiteX1" fmla="*/ 401 w 397496"/>
                <a:gd name="connsiteY1" fmla="*/ 225887 h 225887"/>
                <a:gd name="connsiteX2" fmla="*/ 19981 w 397496"/>
                <a:gd name="connsiteY2" fmla="*/ 85870 h 225887"/>
                <a:gd name="connsiteX3" fmla="*/ 129339 w 397496"/>
                <a:gd name="connsiteY3" fmla="*/ 76 h 225887"/>
                <a:gd name="connsiteX4" fmla="*/ 242567 w 397496"/>
                <a:gd name="connsiteY4" fmla="*/ 13964 h 225887"/>
                <a:gd name="connsiteX5" fmla="*/ 267610 w 397496"/>
                <a:gd name="connsiteY5" fmla="*/ 0 h 225887"/>
                <a:gd name="connsiteX6" fmla="*/ 301344 w 397496"/>
                <a:gd name="connsiteY6" fmla="*/ 11915 h 225887"/>
                <a:gd name="connsiteX7" fmla="*/ 397496 w 397496"/>
                <a:gd name="connsiteY7" fmla="*/ 147341 h 225887"/>
                <a:gd name="connsiteX8" fmla="*/ 397496 w 397496"/>
                <a:gd name="connsiteY8" fmla="*/ 225887 h 22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7496" h="225887">
                  <a:moveTo>
                    <a:pt x="397496" y="225887"/>
                  </a:moveTo>
                  <a:lnTo>
                    <a:pt x="401" y="225887"/>
                  </a:lnTo>
                  <a:cubicBezTo>
                    <a:pt x="250" y="176900"/>
                    <a:pt x="-4114" y="130266"/>
                    <a:pt x="19981" y="85870"/>
                  </a:cubicBezTo>
                  <a:cubicBezTo>
                    <a:pt x="44076" y="41474"/>
                    <a:pt x="82590" y="12674"/>
                    <a:pt x="129339" y="76"/>
                  </a:cubicBezTo>
                  <a:cubicBezTo>
                    <a:pt x="162806" y="23147"/>
                    <a:pt x="204508" y="30888"/>
                    <a:pt x="242567" y="13964"/>
                  </a:cubicBezTo>
                  <a:cubicBezTo>
                    <a:pt x="247765" y="11650"/>
                    <a:pt x="265220" y="76"/>
                    <a:pt x="267610" y="0"/>
                  </a:cubicBezTo>
                  <a:cubicBezTo>
                    <a:pt x="270267" y="-75"/>
                    <a:pt x="297208" y="9942"/>
                    <a:pt x="301344" y="11915"/>
                  </a:cubicBezTo>
                  <a:cubicBezTo>
                    <a:pt x="345626" y="32937"/>
                    <a:pt x="397496" y="96836"/>
                    <a:pt x="397496" y="147341"/>
                  </a:cubicBezTo>
                  <a:lnTo>
                    <a:pt x="397496" y="225887"/>
                  </a:ln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4A6B5852-7670-8B51-737F-7AB31AAC183B}"/>
                </a:ext>
              </a:extLst>
            </p:cNvPr>
            <p:cNvSpPr/>
            <p:nvPr/>
          </p:nvSpPr>
          <p:spPr>
            <a:xfrm>
              <a:off x="13034437" y="3382088"/>
              <a:ext cx="254801" cy="141666"/>
            </a:xfrm>
            <a:custGeom>
              <a:avLst/>
              <a:gdLst>
                <a:gd name="connsiteX0" fmla="*/ 254801 w 254801"/>
                <a:gd name="connsiteY0" fmla="*/ 141628 h 141666"/>
                <a:gd name="connsiteX1" fmla="*/ 0 w 254801"/>
                <a:gd name="connsiteY1" fmla="*/ 141628 h 141666"/>
                <a:gd name="connsiteX2" fmla="*/ 0 w 254801"/>
                <a:gd name="connsiteY2" fmla="*/ 97802 h 141666"/>
                <a:gd name="connsiteX3" fmla="*/ 69022 w 254801"/>
                <a:gd name="connsiteY3" fmla="*/ 3091 h 141666"/>
                <a:gd name="connsiteX4" fmla="*/ 101693 w 254801"/>
                <a:gd name="connsiteY4" fmla="*/ 9390 h 141666"/>
                <a:gd name="connsiteX5" fmla="*/ 144267 w 254801"/>
                <a:gd name="connsiteY5" fmla="*/ 12160 h 141666"/>
                <a:gd name="connsiteX6" fmla="*/ 188056 w 254801"/>
                <a:gd name="connsiteY6" fmla="*/ 4077 h 141666"/>
                <a:gd name="connsiteX7" fmla="*/ 254763 w 254801"/>
                <a:gd name="connsiteY7" fmla="*/ 96170 h 141666"/>
                <a:gd name="connsiteX8" fmla="*/ 254763 w 254801"/>
                <a:gd name="connsiteY8" fmla="*/ 141666 h 141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4801" h="141666">
                  <a:moveTo>
                    <a:pt x="254801" y="141628"/>
                  </a:moveTo>
                  <a:lnTo>
                    <a:pt x="0" y="141628"/>
                  </a:lnTo>
                  <a:lnTo>
                    <a:pt x="0" y="97802"/>
                  </a:lnTo>
                  <a:cubicBezTo>
                    <a:pt x="0" y="60122"/>
                    <a:pt x="33923" y="15499"/>
                    <a:pt x="69022" y="3091"/>
                  </a:cubicBezTo>
                  <a:cubicBezTo>
                    <a:pt x="89512" y="-4157"/>
                    <a:pt x="85832" y="2749"/>
                    <a:pt x="101693" y="9390"/>
                  </a:cubicBezTo>
                  <a:cubicBezTo>
                    <a:pt x="115353" y="15119"/>
                    <a:pt x="130038" y="16030"/>
                    <a:pt x="144267" y="12160"/>
                  </a:cubicBezTo>
                  <a:cubicBezTo>
                    <a:pt x="164454" y="6696"/>
                    <a:pt x="164795" y="-6244"/>
                    <a:pt x="188056" y="4077"/>
                  </a:cubicBezTo>
                  <a:cubicBezTo>
                    <a:pt x="220195" y="18307"/>
                    <a:pt x="254763" y="59743"/>
                    <a:pt x="254763" y="96170"/>
                  </a:cubicBezTo>
                  <a:lnTo>
                    <a:pt x="254763" y="141666"/>
                  </a:ln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AC8C12AB-C6E3-C866-1D95-0879D86D68CF}"/>
                </a:ext>
              </a:extLst>
            </p:cNvPr>
            <p:cNvSpPr/>
            <p:nvPr/>
          </p:nvSpPr>
          <p:spPr>
            <a:xfrm>
              <a:off x="12566195" y="3755333"/>
              <a:ext cx="253131" cy="140472"/>
            </a:xfrm>
            <a:custGeom>
              <a:avLst/>
              <a:gdLst>
                <a:gd name="connsiteX0" fmla="*/ 0 w 253131"/>
                <a:gd name="connsiteY0" fmla="*/ 140473 h 140472"/>
                <a:gd name="connsiteX1" fmla="*/ 0 w 253131"/>
                <a:gd name="connsiteY1" fmla="*/ 91675 h 140472"/>
                <a:gd name="connsiteX2" fmla="*/ 7475 w 253131"/>
                <a:gd name="connsiteY2" fmla="*/ 64431 h 140472"/>
                <a:gd name="connsiteX3" fmla="*/ 81885 w 253131"/>
                <a:gd name="connsiteY3" fmla="*/ 0 h 140472"/>
                <a:gd name="connsiteX4" fmla="*/ 133149 w 253131"/>
                <a:gd name="connsiteY4" fmla="*/ 14761 h 140472"/>
                <a:gd name="connsiteX5" fmla="*/ 170943 w 253131"/>
                <a:gd name="connsiteY5" fmla="*/ 304 h 140472"/>
                <a:gd name="connsiteX6" fmla="*/ 243493 w 253131"/>
                <a:gd name="connsiteY6" fmla="*/ 61585 h 140472"/>
                <a:gd name="connsiteX7" fmla="*/ 253132 w 253131"/>
                <a:gd name="connsiteY7" fmla="*/ 93307 h 140472"/>
                <a:gd name="connsiteX8" fmla="*/ 253132 w 253131"/>
                <a:gd name="connsiteY8" fmla="*/ 137968 h 140472"/>
                <a:gd name="connsiteX9" fmla="*/ 250665 w 253131"/>
                <a:gd name="connsiteY9" fmla="*/ 140435 h 140472"/>
                <a:gd name="connsiteX10" fmla="*/ 0 w 253131"/>
                <a:gd name="connsiteY10" fmla="*/ 140435 h 14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3131" h="140472">
                  <a:moveTo>
                    <a:pt x="0" y="140473"/>
                  </a:moveTo>
                  <a:lnTo>
                    <a:pt x="0" y="91675"/>
                  </a:lnTo>
                  <a:cubicBezTo>
                    <a:pt x="0" y="85680"/>
                    <a:pt x="4971" y="70540"/>
                    <a:pt x="7475" y="64431"/>
                  </a:cubicBezTo>
                  <a:cubicBezTo>
                    <a:pt x="20187" y="33278"/>
                    <a:pt x="49215" y="8006"/>
                    <a:pt x="81885" y="0"/>
                  </a:cubicBezTo>
                  <a:cubicBezTo>
                    <a:pt x="98278" y="10549"/>
                    <a:pt x="113190" y="16278"/>
                    <a:pt x="133149" y="14761"/>
                  </a:cubicBezTo>
                  <a:cubicBezTo>
                    <a:pt x="149048" y="13546"/>
                    <a:pt x="157434" y="6982"/>
                    <a:pt x="170943" y="304"/>
                  </a:cubicBezTo>
                  <a:cubicBezTo>
                    <a:pt x="203499" y="8917"/>
                    <a:pt x="230099" y="30394"/>
                    <a:pt x="243493" y="61585"/>
                  </a:cubicBezTo>
                  <a:cubicBezTo>
                    <a:pt x="245884" y="67163"/>
                    <a:pt x="253132" y="88450"/>
                    <a:pt x="253132" y="93307"/>
                  </a:cubicBezTo>
                  <a:lnTo>
                    <a:pt x="253132" y="137968"/>
                  </a:lnTo>
                  <a:lnTo>
                    <a:pt x="250665" y="140435"/>
                  </a:lnTo>
                  <a:lnTo>
                    <a:pt x="0" y="140435"/>
                  </a:ln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4348F458-4FCD-50E7-35FE-43F6EFCBD41D}"/>
                </a:ext>
              </a:extLst>
            </p:cNvPr>
            <p:cNvSpPr/>
            <p:nvPr/>
          </p:nvSpPr>
          <p:spPr>
            <a:xfrm>
              <a:off x="13504311" y="3755628"/>
              <a:ext cx="253169" cy="140215"/>
            </a:xfrm>
            <a:custGeom>
              <a:avLst/>
              <a:gdLst>
                <a:gd name="connsiteX0" fmla="*/ 0 w 253169"/>
                <a:gd name="connsiteY0" fmla="*/ 140178 h 140215"/>
                <a:gd name="connsiteX1" fmla="*/ 0 w 253169"/>
                <a:gd name="connsiteY1" fmla="*/ 93050 h 140215"/>
                <a:gd name="connsiteX2" fmla="*/ 64431 w 253169"/>
                <a:gd name="connsiteY2" fmla="*/ 5321 h 140215"/>
                <a:gd name="connsiteX3" fmla="*/ 83327 w 253169"/>
                <a:gd name="connsiteY3" fmla="*/ 9 h 140215"/>
                <a:gd name="connsiteX4" fmla="*/ 104235 w 253169"/>
                <a:gd name="connsiteY4" fmla="*/ 12037 h 140215"/>
                <a:gd name="connsiteX5" fmla="*/ 145633 w 253169"/>
                <a:gd name="connsiteY5" fmla="*/ 12037 h 140215"/>
                <a:gd name="connsiteX6" fmla="*/ 170943 w 253169"/>
                <a:gd name="connsiteY6" fmla="*/ 47 h 140215"/>
                <a:gd name="connsiteX7" fmla="*/ 216780 w 253169"/>
                <a:gd name="connsiteY7" fmla="*/ 23611 h 140215"/>
                <a:gd name="connsiteX8" fmla="*/ 253169 w 253169"/>
                <a:gd name="connsiteY8" fmla="*/ 93088 h 140215"/>
                <a:gd name="connsiteX9" fmla="*/ 253169 w 253169"/>
                <a:gd name="connsiteY9" fmla="*/ 137749 h 140215"/>
                <a:gd name="connsiteX10" fmla="*/ 250703 w 253169"/>
                <a:gd name="connsiteY10" fmla="*/ 140216 h 140215"/>
                <a:gd name="connsiteX11" fmla="*/ 38 w 253169"/>
                <a:gd name="connsiteY11" fmla="*/ 140216 h 14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53169" h="140215">
                  <a:moveTo>
                    <a:pt x="0" y="140178"/>
                  </a:moveTo>
                  <a:lnTo>
                    <a:pt x="0" y="93050"/>
                  </a:lnTo>
                  <a:cubicBezTo>
                    <a:pt x="0" y="59393"/>
                    <a:pt x="34530" y="18222"/>
                    <a:pt x="64431" y="5321"/>
                  </a:cubicBezTo>
                  <a:cubicBezTo>
                    <a:pt x="67315" y="4069"/>
                    <a:pt x="81240" y="-219"/>
                    <a:pt x="83327" y="9"/>
                  </a:cubicBezTo>
                  <a:cubicBezTo>
                    <a:pt x="87046" y="388"/>
                    <a:pt x="97974" y="10102"/>
                    <a:pt x="104235" y="12037"/>
                  </a:cubicBezTo>
                  <a:cubicBezTo>
                    <a:pt x="116264" y="15794"/>
                    <a:pt x="133567" y="15414"/>
                    <a:pt x="145633" y="12037"/>
                  </a:cubicBezTo>
                  <a:cubicBezTo>
                    <a:pt x="151666" y="10330"/>
                    <a:pt x="168780" y="47"/>
                    <a:pt x="170943" y="47"/>
                  </a:cubicBezTo>
                  <a:cubicBezTo>
                    <a:pt x="181302" y="47"/>
                    <a:pt x="208508" y="16439"/>
                    <a:pt x="216780" y="23611"/>
                  </a:cubicBezTo>
                  <a:cubicBezTo>
                    <a:pt x="231882" y="36626"/>
                    <a:pt x="253169" y="73394"/>
                    <a:pt x="253169" y="93088"/>
                  </a:cubicBezTo>
                  <a:lnTo>
                    <a:pt x="253169" y="137749"/>
                  </a:lnTo>
                  <a:lnTo>
                    <a:pt x="250703" y="140216"/>
                  </a:lnTo>
                  <a:lnTo>
                    <a:pt x="38" y="140216"/>
                  </a:ln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AF6B5CC4-CBB5-4C68-3B66-AF7A9EF42ECA}"/>
                </a:ext>
              </a:extLst>
            </p:cNvPr>
            <p:cNvSpPr/>
            <p:nvPr/>
          </p:nvSpPr>
          <p:spPr>
            <a:xfrm>
              <a:off x="13064486" y="3879871"/>
              <a:ext cx="193495" cy="193160"/>
            </a:xfrm>
            <a:custGeom>
              <a:avLst/>
              <a:gdLst>
                <a:gd name="connsiteX0" fmla="*/ 77070 w 193495"/>
                <a:gd name="connsiteY0" fmla="*/ 1477 h 193160"/>
                <a:gd name="connsiteX1" fmla="*/ 142108 w 193495"/>
                <a:gd name="connsiteY1" fmla="*/ 182248 h 193160"/>
                <a:gd name="connsiteX2" fmla="*/ 6340 w 193495"/>
                <a:gd name="connsiteY2" fmla="*/ 63062 h 193160"/>
                <a:gd name="connsiteX3" fmla="*/ 77108 w 193495"/>
                <a:gd name="connsiteY3" fmla="*/ 1477 h 193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3495" h="193160">
                  <a:moveTo>
                    <a:pt x="77070" y="1477"/>
                  </a:moveTo>
                  <a:cubicBezTo>
                    <a:pt x="192537" y="-16471"/>
                    <a:pt x="236591" y="134096"/>
                    <a:pt x="142108" y="182248"/>
                  </a:cubicBezTo>
                  <a:cubicBezTo>
                    <a:pt x="63562" y="222280"/>
                    <a:pt x="-24585" y="145289"/>
                    <a:pt x="6340" y="63062"/>
                  </a:cubicBezTo>
                  <a:cubicBezTo>
                    <a:pt x="16623" y="35742"/>
                    <a:pt x="47587" y="6069"/>
                    <a:pt x="77108" y="1477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DE4EF427-5F62-F7E2-6147-88D8A3821C39}"/>
                </a:ext>
              </a:extLst>
            </p:cNvPr>
            <p:cNvSpPr/>
            <p:nvPr/>
          </p:nvSpPr>
          <p:spPr>
            <a:xfrm>
              <a:off x="13100703" y="3264392"/>
              <a:ext cx="122524" cy="124042"/>
            </a:xfrm>
            <a:custGeom>
              <a:avLst/>
              <a:gdLst>
                <a:gd name="connsiteX0" fmla="*/ 57511 w 122524"/>
                <a:gd name="connsiteY0" fmla="*/ 121 h 124042"/>
                <a:gd name="connsiteX1" fmla="*/ 80202 w 122524"/>
                <a:gd name="connsiteY1" fmla="*/ 120445 h 124042"/>
                <a:gd name="connsiteX2" fmla="*/ 57511 w 122524"/>
                <a:gd name="connsiteY2" fmla="*/ 121 h 124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524" h="124042">
                  <a:moveTo>
                    <a:pt x="57511" y="121"/>
                  </a:moveTo>
                  <a:cubicBezTo>
                    <a:pt x="127254" y="-4015"/>
                    <a:pt x="149945" y="98854"/>
                    <a:pt x="80202" y="120445"/>
                  </a:cubicBezTo>
                  <a:cubicBezTo>
                    <a:pt x="-9728" y="148297"/>
                    <a:pt x="-33254" y="5472"/>
                    <a:pt x="57511" y="121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E106ACCC-5F2F-E47E-74D1-21D21F8F590A}"/>
                </a:ext>
              </a:extLst>
            </p:cNvPr>
            <p:cNvSpPr/>
            <p:nvPr/>
          </p:nvSpPr>
          <p:spPr>
            <a:xfrm>
              <a:off x="12630630" y="3638120"/>
              <a:ext cx="123683" cy="124176"/>
            </a:xfrm>
            <a:custGeom>
              <a:avLst/>
              <a:gdLst>
                <a:gd name="connsiteX0" fmla="*/ 59342 w 123683"/>
                <a:gd name="connsiteY0" fmla="*/ 76 h 124176"/>
                <a:gd name="connsiteX1" fmla="*/ 121648 w 123683"/>
                <a:gd name="connsiteY1" fmla="*/ 79040 h 124176"/>
                <a:gd name="connsiteX2" fmla="*/ 110 w 123683"/>
                <a:gd name="connsiteY2" fmla="*/ 66670 h 124176"/>
                <a:gd name="connsiteX3" fmla="*/ 59342 w 123683"/>
                <a:gd name="connsiteY3" fmla="*/ 76 h 124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683" h="124176">
                  <a:moveTo>
                    <a:pt x="59342" y="76"/>
                  </a:moveTo>
                  <a:cubicBezTo>
                    <a:pt x="99298" y="-2049"/>
                    <a:pt x="132348" y="40602"/>
                    <a:pt x="121648" y="79040"/>
                  </a:cubicBezTo>
                  <a:cubicBezTo>
                    <a:pt x="103055" y="145937"/>
                    <a:pt x="4474" y="135692"/>
                    <a:pt x="110" y="66670"/>
                  </a:cubicBezTo>
                  <a:cubicBezTo>
                    <a:pt x="-1977" y="33392"/>
                    <a:pt x="25950" y="1860"/>
                    <a:pt x="59342" y="76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89EA2BAD-1521-6B00-A142-8CD639A07A3E}"/>
                </a:ext>
              </a:extLst>
            </p:cNvPr>
            <p:cNvSpPr/>
            <p:nvPr/>
          </p:nvSpPr>
          <p:spPr>
            <a:xfrm>
              <a:off x="13568552" y="3638123"/>
              <a:ext cx="124848" cy="125468"/>
            </a:xfrm>
            <a:custGeom>
              <a:avLst/>
              <a:gdLst>
                <a:gd name="connsiteX0" fmla="*/ 105601 w 124848"/>
                <a:gd name="connsiteY0" fmla="*/ 18477 h 125468"/>
                <a:gd name="connsiteX1" fmla="*/ 21780 w 124848"/>
                <a:gd name="connsiteY1" fmla="*/ 109697 h 125468"/>
                <a:gd name="connsiteX2" fmla="*/ 105601 w 124848"/>
                <a:gd name="connsiteY2" fmla="*/ 18477 h 12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848" h="125468">
                  <a:moveTo>
                    <a:pt x="105601" y="18477"/>
                  </a:moveTo>
                  <a:cubicBezTo>
                    <a:pt x="161835" y="71828"/>
                    <a:pt x="82909" y="162023"/>
                    <a:pt x="21780" y="109697"/>
                  </a:cubicBezTo>
                  <a:cubicBezTo>
                    <a:pt x="-40070" y="56763"/>
                    <a:pt x="43143" y="-40755"/>
                    <a:pt x="105601" y="18477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2" name="Freeform: Shape 1071">
              <a:extLst>
                <a:ext uri="{FF2B5EF4-FFF2-40B4-BE49-F238E27FC236}">
                  <a16:creationId xmlns:a16="http://schemas.microsoft.com/office/drawing/2014/main" id="{BC092611-6A0D-C040-1648-FF9C6BBD6F0F}"/>
                </a:ext>
              </a:extLst>
            </p:cNvPr>
            <p:cNvSpPr/>
            <p:nvPr/>
          </p:nvSpPr>
          <p:spPr>
            <a:xfrm>
              <a:off x="12716724" y="3976745"/>
              <a:ext cx="205648" cy="206579"/>
            </a:xfrm>
            <a:custGeom>
              <a:avLst/>
              <a:gdLst>
                <a:gd name="connsiteX0" fmla="*/ 11155 w 205648"/>
                <a:gd name="connsiteY0" fmla="*/ 453 h 206579"/>
                <a:gd name="connsiteX1" fmla="*/ 24891 w 205648"/>
                <a:gd name="connsiteY1" fmla="*/ 4248 h 206579"/>
                <a:gd name="connsiteX2" fmla="*/ 203650 w 205648"/>
                <a:gd name="connsiteY2" fmla="*/ 182817 h 206579"/>
                <a:gd name="connsiteX3" fmla="*/ 181984 w 205648"/>
                <a:gd name="connsiteY3" fmla="*/ 202814 h 206579"/>
                <a:gd name="connsiteX4" fmla="*/ 4173 w 205648"/>
                <a:gd name="connsiteY4" fmla="*/ 25004 h 206579"/>
                <a:gd name="connsiteX5" fmla="*/ 11193 w 205648"/>
                <a:gd name="connsiteY5" fmla="*/ 491 h 20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648" h="206579">
                  <a:moveTo>
                    <a:pt x="11155" y="453"/>
                  </a:moveTo>
                  <a:cubicBezTo>
                    <a:pt x="16429" y="-723"/>
                    <a:pt x="21135" y="339"/>
                    <a:pt x="24891" y="4248"/>
                  </a:cubicBezTo>
                  <a:lnTo>
                    <a:pt x="203650" y="182817"/>
                  </a:lnTo>
                  <a:cubicBezTo>
                    <a:pt x="210860" y="198868"/>
                    <a:pt x="197389" y="213780"/>
                    <a:pt x="181984" y="202814"/>
                  </a:cubicBezTo>
                  <a:lnTo>
                    <a:pt x="4173" y="25004"/>
                  </a:lnTo>
                  <a:cubicBezTo>
                    <a:pt x="-4175" y="17604"/>
                    <a:pt x="948" y="2768"/>
                    <a:pt x="11193" y="491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3" name="Freeform: Shape 1072">
              <a:extLst>
                <a:ext uri="{FF2B5EF4-FFF2-40B4-BE49-F238E27FC236}">
                  <a16:creationId xmlns:a16="http://schemas.microsoft.com/office/drawing/2014/main" id="{48CB3B5C-E208-9458-18E6-72C7611A1BD2}"/>
                </a:ext>
              </a:extLst>
            </p:cNvPr>
            <p:cNvSpPr/>
            <p:nvPr/>
          </p:nvSpPr>
          <p:spPr>
            <a:xfrm>
              <a:off x="13400003" y="3976716"/>
              <a:ext cx="205599" cy="206173"/>
            </a:xfrm>
            <a:custGeom>
              <a:avLst/>
              <a:gdLst>
                <a:gd name="connsiteX0" fmla="*/ 188243 w 205599"/>
                <a:gd name="connsiteY0" fmla="*/ 444 h 206173"/>
                <a:gd name="connsiteX1" fmla="*/ 201941 w 205599"/>
                <a:gd name="connsiteY1" fmla="*/ 25753 h 206173"/>
                <a:gd name="connsiteX2" fmla="*/ 25724 w 205599"/>
                <a:gd name="connsiteY2" fmla="*/ 201856 h 206173"/>
                <a:gd name="connsiteX3" fmla="*/ 832 w 205599"/>
                <a:gd name="connsiteY3" fmla="*/ 186906 h 206173"/>
                <a:gd name="connsiteX4" fmla="*/ 182058 w 205599"/>
                <a:gd name="connsiteY4" fmla="*/ 4200 h 206173"/>
                <a:gd name="connsiteX5" fmla="*/ 188243 w 205599"/>
                <a:gd name="connsiteY5" fmla="*/ 406 h 206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599" h="206173">
                  <a:moveTo>
                    <a:pt x="188243" y="444"/>
                  </a:moveTo>
                  <a:cubicBezTo>
                    <a:pt x="203952" y="-3009"/>
                    <a:pt x="210213" y="14483"/>
                    <a:pt x="201941" y="25753"/>
                  </a:cubicBezTo>
                  <a:lnTo>
                    <a:pt x="25724" y="201856"/>
                  </a:lnTo>
                  <a:cubicBezTo>
                    <a:pt x="14606" y="212329"/>
                    <a:pt x="-4177" y="202349"/>
                    <a:pt x="832" y="186906"/>
                  </a:cubicBezTo>
                  <a:lnTo>
                    <a:pt x="182058" y="4200"/>
                  </a:lnTo>
                  <a:cubicBezTo>
                    <a:pt x="183841" y="2530"/>
                    <a:pt x="185814" y="975"/>
                    <a:pt x="188243" y="406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4" name="Freeform: Shape 1073">
              <a:extLst>
                <a:ext uri="{FF2B5EF4-FFF2-40B4-BE49-F238E27FC236}">
                  <a16:creationId xmlns:a16="http://schemas.microsoft.com/office/drawing/2014/main" id="{747BBFB3-46CC-32FB-B5B9-00BF43A2D5CB}"/>
                </a:ext>
              </a:extLst>
            </p:cNvPr>
            <p:cNvSpPr/>
            <p:nvPr/>
          </p:nvSpPr>
          <p:spPr>
            <a:xfrm>
              <a:off x="13143370" y="3594110"/>
              <a:ext cx="35187" cy="247782"/>
            </a:xfrm>
            <a:custGeom>
              <a:avLst/>
              <a:gdLst>
                <a:gd name="connsiteX0" fmla="*/ 11353 w 35187"/>
                <a:gd name="connsiteY0" fmla="*/ 1057 h 247782"/>
                <a:gd name="connsiteX1" fmla="*/ 33399 w 35187"/>
                <a:gd name="connsiteY1" fmla="*/ 14717 h 247782"/>
                <a:gd name="connsiteX2" fmla="*/ 33437 w 35187"/>
                <a:gd name="connsiteY2" fmla="*/ 170140 h 247782"/>
                <a:gd name="connsiteX3" fmla="*/ 33362 w 35187"/>
                <a:gd name="connsiteY3" fmla="*/ 231384 h 247782"/>
                <a:gd name="connsiteX4" fmla="*/ 1867 w 35187"/>
                <a:gd name="connsiteY4" fmla="*/ 229790 h 247782"/>
                <a:gd name="connsiteX5" fmla="*/ 3651 w 35187"/>
                <a:gd name="connsiteY5" fmla="*/ 158529 h 247782"/>
                <a:gd name="connsiteX6" fmla="*/ 1905 w 35187"/>
                <a:gd name="connsiteY6" fmla="*/ 16349 h 247782"/>
                <a:gd name="connsiteX7" fmla="*/ 11391 w 35187"/>
                <a:gd name="connsiteY7" fmla="*/ 1019 h 247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187" h="247782">
                  <a:moveTo>
                    <a:pt x="11353" y="1057"/>
                  </a:moveTo>
                  <a:cubicBezTo>
                    <a:pt x="22965" y="-2396"/>
                    <a:pt x="31958" y="2727"/>
                    <a:pt x="33399" y="14717"/>
                  </a:cubicBezTo>
                  <a:cubicBezTo>
                    <a:pt x="39129" y="62490"/>
                    <a:pt x="28846" y="121760"/>
                    <a:pt x="33437" y="170140"/>
                  </a:cubicBezTo>
                  <a:cubicBezTo>
                    <a:pt x="31692" y="189644"/>
                    <a:pt x="35524" y="212335"/>
                    <a:pt x="33362" y="231384"/>
                  </a:cubicBezTo>
                  <a:cubicBezTo>
                    <a:pt x="30819" y="253620"/>
                    <a:pt x="4068" y="253392"/>
                    <a:pt x="1867" y="229790"/>
                  </a:cubicBezTo>
                  <a:cubicBezTo>
                    <a:pt x="-68" y="209262"/>
                    <a:pt x="3840" y="180803"/>
                    <a:pt x="3651" y="158529"/>
                  </a:cubicBezTo>
                  <a:cubicBezTo>
                    <a:pt x="3309" y="115727"/>
                    <a:pt x="-3104" y="57785"/>
                    <a:pt x="1905" y="16349"/>
                  </a:cubicBezTo>
                  <a:cubicBezTo>
                    <a:pt x="2474" y="11606"/>
                    <a:pt x="6572" y="2461"/>
                    <a:pt x="11391" y="1019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9" name="Group 1078">
            <a:extLst>
              <a:ext uri="{FF2B5EF4-FFF2-40B4-BE49-F238E27FC236}">
                <a16:creationId xmlns:a16="http://schemas.microsoft.com/office/drawing/2014/main" id="{E6131A05-6BEB-6FE4-4C30-99B24BC919C7}"/>
              </a:ext>
            </a:extLst>
          </p:cNvPr>
          <p:cNvGrpSpPr/>
          <p:nvPr>
            <p:custDataLst>
              <p:tags r:id="rId31"/>
            </p:custDataLst>
          </p:nvPr>
        </p:nvGrpSpPr>
        <p:grpSpPr>
          <a:xfrm>
            <a:off x="10749317" y="1912051"/>
            <a:ext cx="585398" cy="688908"/>
            <a:chOff x="12465383" y="4504731"/>
            <a:chExt cx="433460" cy="510104"/>
          </a:xfr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59" name="Freeform: Shape 1058">
              <a:extLst>
                <a:ext uri="{FF2B5EF4-FFF2-40B4-BE49-F238E27FC236}">
                  <a16:creationId xmlns:a16="http://schemas.microsoft.com/office/drawing/2014/main" id="{C116AC0F-DD7A-D236-52EA-706AADD1FAD2}"/>
                </a:ext>
              </a:extLst>
            </p:cNvPr>
            <p:cNvSpPr/>
            <p:nvPr/>
          </p:nvSpPr>
          <p:spPr>
            <a:xfrm>
              <a:off x="12465383" y="4504731"/>
              <a:ext cx="433460" cy="510104"/>
            </a:xfrm>
            <a:custGeom>
              <a:avLst/>
              <a:gdLst>
                <a:gd name="connsiteX0" fmla="*/ 350983 w 433460"/>
                <a:gd name="connsiteY0" fmla="*/ 38 h 510104"/>
                <a:gd name="connsiteX1" fmla="*/ 289778 w 433460"/>
                <a:gd name="connsiteY1" fmla="*/ 107498 h 510104"/>
                <a:gd name="connsiteX2" fmla="*/ 387335 w 433460"/>
                <a:gd name="connsiteY2" fmla="*/ 430790 h 510104"/>
                <a:gd name="connsiteX3" fmla="*/ 2154 w 433460"/>
                <a:gd name="connsiteY3" fmla="*/ 272332 h 510104"/>
                <a:gd name="connsiteX4" fmla="*/ 145776 w 433460"/>
                <a:gd name="connsiteY4" fmla="*/ 105032 h 510104"/>
                <a:gd name="connsiteX5" fmla="*/ 82939 w 433460"/>
                <a:gd name="connsiteY5" fmla="*/ 0 h 510104"/>
                <a:gd name="connsiteX6" fmla="*/ 350983 w 433460"/>
                <a:gd name="connsiteY6" fmla="*/ 0 h 510104"/>
                <a:gd name="connsiteX7" fmla="*/ 203756 w 433460"/>
                <a:gd name="connsiteY7" fmla="*/ 301018 h 510104"/>
                <a:gd name="connsiteX8" fmla="*/ 203756 w 433460"/>
                <a:gd name="connsiteY8" fmla="*/ 385370 h 510104"/>
                <a:gd name="connsiteX9" fmla="*/ 160537 w 433460"/>
                <a:gd name="connsiteY9" fmla="*/ 369889 h 510104"/>
                <a:gd name="connsiteX10" fmla="*/ 127563 w 433460"/>
                <a:gd name="connsiteY10" fmla="*/ 356798 h 510104"/>
                <a:gd name="connsiteX11" fmla="*/ 178940 w 433460"/>
                <a:gd name="connsiteY11" fmla="*/ 411059 h 510104"/>
                <a:gd name="connsiteX12" fmla="*/ 203605 w 433460"/>
                <a:gd name="connsiteY12" fmla="*/ 415347 h 510104"/>
                <a:gd name="connsiteX13" fmla="*/ 228269 w 433460"/>
                <a:gd name="connsiteY13" fmla="*/ 435496 h 510104"/>
                <a:gd name="connsiteX14" fmla="*/ 229331 w 433460"/>
                <a:gd name="connsiteY14" fmla="*/ 415043 h 510104"/>
                <a:gd name="connsiteX15" fmla="*/ 261661 w 433460"/>
                <a:gd name="connsiteY15" fmla="*/ 406012 h 510104"/>
                <a:gd name="connsiteX16" fmla="*/ 268756 w 433460"/>
                <a:gd name="connsiteY16" fmla="*/ 288193 h 510104"/>
                <a:gd name="connsiteX17" fmla="*/ 228610 w 433460"/>
                <a:gd name="connsiteY17" fmla="*/ 273736 h 510104"/>
                <a:gd name="connsiteX18" fmla="*/ 228610 w 433460"/>
                <a:gd name="connsiteY18" fmla="*/ 205093 h 510104"/>
                <a:gd name="connsiteX19" fmla="*/ 280671 w 433460"/>
                <a:gd name="connsiteY19" fmla="*/ 228278 h 510104"/>
                <a:gd name="connsiteX20" fmla="*/ 302414 w 433460"/>
                <a:gd name="connsiteY20" fmla="*/ 209988 h 510104"/>
                <a:gd name="connsiteX21" fmla="*/ 230128 w 433460"/>
                <a:gd name="connsiteY21" fmla="*/ 174585 h 510104"/>
                <a:gd name="connsiteX22" fmla="*/ 221515 w 433460"/>
                <a:gd name="connsiteY22" fmla="*/ 150073 h 510104"/>
                <a:gd name="connsiteX23" fmla="*/ 203756 w 433460"/>
                <a:gd name="connsiteY23" fmla="*/ 175306 h 510104"/>
                <a:gd name="connsiteX24" fmla="*/ 129688 w 433460"/>
                <a:gd name="connsiteY24" fmla="*/ 226153 h 510104"/>
                <a:gd name="connsiteX25" fmla="*/ 203756 w 433460"/>
                <a:gd name="connsiteY25" fmla="*/ 301018 h 510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33460" h="510104">
                  <a:moveTo>
                    <a:pt x="350983" y="38"/>
                  </a:moveTo>
                  <a:lnTo>
                    <a:pt x="289778" y="107498"/>
                  </a:lnTo>
                  <a:cubicBezTo>
                    <a:pt x="425735" y="152008"/>
                    <a:pt x="479996" y="317031"/>
                    <a:pt x="387335" y="430790"/>
                  </a:cubicBezTo>
                  <a:cubicBezTo>
                    <a:pt x="254755" y="593613"/>
                    <a:pt x="-27405" y="488429"/>
                    <a:pt x="2154" y="272332"/>
                  </a:cubicBezTo>
                  <a:cubicBezTo>
                    <a:pt x="12931" y="193520"/>
                    <a:pt x="72960" y="131518"/>
                    <a:pt x="145776" y="105032"/>
                  </a:cubicBezTo>
                  <a:lnTo>
                    <a:pt x="82939" y="0"/>
                  </a:lnTo>
                  <a:lnTo>
                    <a:pt x="350983" y="0"/>
                  </a:lnTo>
                  <a:close/>
                  <a:moveTo>
                    <a:pt x="203756" y="301018"/>
                  </a:moveTo>
                  <a:lnTo>
                    <a:pt x="203756" y="385370"/>
                  </a:lnTo>
                  <a:cubicBezTo>
                    <a:pt x="187933" y="382486"/>
                    <a:pt x="174197" y="378540"/>
                    <a:pt x="160537" y="369889"/>
                  </a:cubicBezTo>
                  <a:cubicBezTo>
                    <a:pt x="153327" y="365297"/>
                    <a:pt x="136024" y="346401"/>
                    <a:pt x="127563" y="356798"/>
                  </a:cubicBezTo>
                  <a:cubicBezTo>
                    <a:pt x="105896" y="383359"/>
                    <a:pt x="159930" y="406126"/>
                    <a:pt x="178940" y="411059"/>
                  </a:cubicBezTo>
                  <a:cubicBezTo>
                    <a:pt x="187061" y="413146"/>
                    <a:pt x="195484" y="413412"/>
                    <a:pt x="203605" y="415347"/>
                  </a:cubicBezTo>
                  <a:cubicBezTo>
                    <a:pt x="200303" y="433940"/>
                    <a:pt x="211383" y="454544"/>
                    <a:pt x="228269" y="435496"/>
                  </a:cubicBezTo>
                  <a:lnTo>
                    <a:pt x="229331" y="415043"/>
                  </a:lnTo>
                  <a:cubicBezTo>
                    <a:pt x="240146" y="412008"/>
                    <a:pt x="251188" y="410338"/>
                    <a:pt x="261661" y="406012"/>
                  </a:cubicBezTo>
                  <a:cubicBezTo>
                    <a:pt x="320020" y="382069"/>
                    <a:pt x="332314" y="314830"/>
                    <a:pt x="268756" y="288193"/>
                  </a:cubicBezTo>
                  <a:cubicBezTo>
                    <a:pt x="255855" y="282805"/>
                    <a:pt x="240373" y="280794"/>
                    <a:pt x="228610" y="273736"/>
                  </a:cubicBezTo>
                  <a:lnTo>
                    <a:pt x="228610" y="205093"/>
                  </a:lnTo>
                  <a:cubicBezTo>
                    <a:pt x="249784" y="202627"/>
                    <a:pt x="264468" y="219664"/>
                    <a:pt x="280671" y="228278"/>
                  </a:cubicBezTo>
                  <a:cubicBezTo>
                    <a:pt x="294179" y="235449"/>
                    <a:pt x="304994" y="222586"/>
                    <a:pt x="302414" y="209988"/>
                  </a:cubicBezTo>
                  <a:cubicBezTo>
                    <a:pt x="298240" y="189422"/>
                    <a:pt x="248759" y="175116"/>
                    <a:pt x="230128" y="174585"/>
                  </a:cubicBezTo>
                  <a:cubicBezTo>
                    <a:pt x="225423" y="171398"/>
                    <a:pt x="234075" y="155423"/>
                    <a:pt x="221515" y="150073"/>
                  </a:cubicBezTo>
                  <a:cubicBezTo>
                    <a:pt x="206261" y="143546"/>
                    <a:pt x="201328" y="163695"/>
                    <a:pt x="203756" y="175306"/>
                  </a:cubicBezTo>
                  <a:cubicBezTo>
                    <a:pt x="176019" y="174965"/>
                    <a:pt x="134279" y="196518"/>
                    <a:pt x="129688" y="226153"/>
                  </a:cubicBezTo>
                  <a:cubicBezTo>
                    <a:pt x="121378" y="279655"/>
                    <a:pt x="161372" y="290318"/>
                    <a:pt x="203756" y="301018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6" name="Freeform: Shape 1075">
              <a:extLst>
                <a:ext uri="{FF2B5EF4-FFF2-40B4-BE49-F238E27FC236}">
                  <a16:creationId xmlns:a16="http://schemas.microsoft.com/office/drawing/2014/main" id="{17290000-1488-41BB-2730-A5A86BABF2E5}"/>
                </a:ext>
              </a:extLst>
            </p:cNvPr>
            <p:cNvSpPr/>
            <p:nvPr/>
          </p:nvSpPr>
          <p:spPr>
            <a:xfrm>
              <a:off x="12693955" y="4813153"/>
              <a:ext cx="45285" cy="75354"/>
            </a:xfrm>
            <a:custGeom>
              <a:avLst/>
              <a:gdLst>
                <a:gd name="connsiteX0" fmla="*/ 0 w 45285"/>
                <a:gd name="connsiteY0" fmla="*/ 75317 h 75354"/>
                <a:gd name="connsiteX1" fmla="*/ 0 w 45285"/>
                <a:gd name="connsiteY1" fmla="*/ 1742 h 75354"/>
                <a:gd name="connsiteX2" fmla="*/ 10776 w 45285"/>
                <a:gd name="connsiteY2" fmla="*/ 2538 h 75354"/>
                <a:gd name="connsiteX3" fmla="*/ 0 w 45285"/>
                <a:gd name="connsiteY3" fmla="*/ 75355 h 75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285" h="75354">
                  <a:moveTo>
                    <a:pt x="0" y="75317"/>
                  </a:moveTo>
                  <a:lnTo>
                    <a:pt x="0" y="1742"/>
                  </a:lnTo>
                  <a:cubicBezTo>
                    <a:pt x="2239" y="-2053"/>
                    <a:pt x="7058" y="1362"/>
                    <a:pt x="10776" y="2538"/>
                  </a:cubicBezTo>
                  <a:cubicBezTo>
                    <a:pt x="65797" y="19879"/>
                    <a:pt x="49670" y="70764"/>
                    <a:pt x="0" y="75355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7" name="Freeform: Shape 1076">
              <a:extLst>
                <a:ext uri="{FF2B5EF4-FFF2-40B4-BE49-F238E27FC236}">
                  <a16:creationId xmlns:a16="http://schemas.microsoft.com/office/drawing/2014/main" id="{01D5A059-C964-C570-9A9A-CFBCA55591CA}"/>
                </a:ext>
              </a:extLst>
            </p:cNvPr>
            <p:cNvSpPr/>
            <p:nvPr/>
          </p:nvSpPr>
          <p:spPr>
            <a:xfrm>
              <a:off x="12630481" y="4709824"/>
              <a:ext cx="38658" cy="64506"/>
            </a:xfrm>
            <a:custGeom>
              <a:avLst/>
              <a:gdLst>
                <a:gd name="connsiteX0" fmla="*/ 38658 w 38658"/>
                <a:gd name="connsiteY0" fmla="*/ 0 h 64506"/>
                <a:gd name="connsiteX1" fmla="*/ 38658 w 38658"/>
                <a:gd name="connsiteY1" fmla="*/ 64507 h 64506"/>
                <a:gd name="connsiteX2" fmla="*/ 941 w 38658"/>
                <a:gd name="connsiteY2" fmla="*/ 41815 h 64506"/>
                <a:gd name="connsiteX3" fmla="*/ 38658 w 38658"/>
                <a:gd name="connsiteY3" fmla="*/ 0 h 64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658" h="64506">
                  <a:moveTo>
                    <a:pt x="38658" y="0"/>
                  </a:moveTo>
                  <a:lnTo>
                    <a:pt x="38658" y="64507"/>
                  </a:lnTo>
                  <a:cubicBezTo>
                    <a:pt x="28337" y="60333"/>
                    <a:pt x="3786" y="54413"/>
                    <a:pt x="941" y="41815"/>
                  </a:cubicBezTo>
                  <a:cubicBezTo>
                    <a:pt x="-4675" y="16961"/>
                    <a:pt x="15739" y="607"/>
                    <a:pt x="38658" y="0"/>
                  </a:cubicBezTo>
                  <a:close/>
                </a:path>
              </a:pathLst>
            </a:custGeom>
            <a:grpFill/>
            <a:ln w="37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94" name="Group 1093">
            <a:extLst>
              <a:ext uri="{FF2B5EF4-FFF2-40B4-BE49-F238E27FC236}">
                <a16:creationId xmlns:a16="http://schemas.microsoft.com/office/drawing/2014/main" id="{E60903A3-2AE8-50AF-3788-250A3CA7C4BB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826699" y="1927413"/>
            <a:ext cx="611856" cy="658185"/>
            <a:chOff x="-1349716" y="3198713"/>
            <a:chExt cx="707488" cy="761058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90" name="Freeform: Shape 1089">
              <a:extLst>
                <a:ext uri="{FF2B5EF4-FFF2-40B4-BE49-F238E27FC236}">
                  <a16:creationId xmlns:a16="http://schemas.microsoft.com/office/drawing/2014/main" id="{90B41069-2621-C760-5ED7-4D28EA60AC7F}"/>
                </a:ext>
              </a:extLst>
            </p:cNvPr>
            <p:cNvSpPr/>
            <p:nvPr/>
          </p:nvSpPr>
          <p:spPr>
            <a:xfrm>
              <a:off x="-1340572" y="3198713"/>
              <a:ext cx="698285" cy="508788"/>
            </a:xfrm>
            <a:custGeom>
              <a:avLst/>
              <a:gdLst>
                <a:gd name="connsiteX0" fmla="*/ 658522 w 698285"/>
                <a:gd name="connsiteY0" fmla="*/ 150442 h 508788"/>
                <a:gd name="connsiteX1" fmla="*/ 634215 w 698285"/>
                <a:gd name="connsiteY1" fmla="*/ 128377 h 508788"/>
                <a:gd name="connsiteX2" fmla="*/ 346193 w 698285"/>
                <a:gd name="connsiteY2" fmla="*/ 415632 h 508788"/>
                <a:gd name="connsiteX3" fmla="*/ 245721 w 698285"/>
                <a:gd name="connsiteY3" fmla="*/ 323302 h 508788"/>
                <a:gd name="connsiteX4" fmla="*/ 59351 w 698285"/>
                <a:gd name="connsiteY4" fmla="*/ 508788 h 508788"/>
                <a:gd name="connsiteX5" fmla="*/ 0 w 698285"/>
                <a:gd name="connsiteY5" fmla="*/ 448493 h 508788"/>
                <a:gd name="connsiteX6" fmla="*/ 249497 w 698285"/>
                <a:gd name="connsiteY6" fmla="*/ 194748 h 508788"/>
                <a:gd name="connsiteX7" fmla="*/ 346783 w 698285"/>
                <a:gd name="connsiteY7" fmla="*/ 291975 h 508788"/>
                <a:gd name="connsiteX8" fmla="*/ 569791 w 698285"/>
                <a:gd name="connsiteY8" fmla="*/ 64778 h 508788"/>
                <a:gd name="connsiteX9" fmla="*/ 552446 w 698285"/>
                <a:gd name="connsiteY9" fmla="*/ 39882 h 508788"/>
                <a:gd name="connsiteX10" fmla="*/ 698286 w 698285"/>
                <a:gd name="connsiteY10" fmla="*/ 0 h 508788"/>
                <a:gd name="connsiteX11" fmla="*/ 658522 w 698285"/>
                <a:gd name="connsiteY11" fmla="*/ 150442 h 508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8285" h="508788">
                  <a:moveTo>
                    <a:pt x="658522" y="150442"/>
                  </a:moveTo>
                  <a:lnTo>
                    <a:pt x="634215" y="128377"/>
                  </a:lnTo>
                  <a:lnTo>
                    <a:pt x="346193" y="415632"/>
                  </a:lnTo>
                  <a:lnTo>
                    <a:pt x="245721" y="323302"/>
                  </a:lnTo>
                  <a:lnTo>
                    <a:pt x="59351" y="508788"/>
                  </a:lnTo>
                  <a:lnTo>
                    <a:pt x="0" y="448493"/>
                  </a:lnTo>
                  <a:lnTo>
                    <a:pt x="249497" y="194748"/>
                  </a:lnTo>
                  <a:lnTo>
                    <a:pt x="346783" y="291975"/>
                  </a:lnTo>
                  <a:lnTo>
                    <a:pt x="569791" y="64778"/>
                  </a:lnTo>
                  <a:lnTo>
                    <a:pt x="552446" y="39882"/>
                  </a:lnTo>
                  <a:lnTo>
                    <a:pt x="698286" y="0"/>
                  </a:lnTo>
                  <a:lnTo>
                    <a:pt x="658522" y="150442"/>
                  </a:lnTo>
                  <a:close/>
                </a:path>
              </a:pathLst>
            </a:custGeom>
            <a:solidFill>
              <a:srgbClr val="FFFFFF"/>
            </a:solidFill>
            <a:ln w="58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1" name="Freeform: Shape 1090">
              <a:extLst>
                <a:ext uri="{FF2B5EF4-FFF2-40B4-BE49-F238E27FC236}">
                  <a16:creationId xmlns:a16="http://schemas.microsoft.com/office/drawing/2014/main" id="{BC34E73A-F712-3FAD-0731-C56AEE7F1785}"/>
                </a:ext>
              </a:extLst>
            </p:cNvPr>
            <p:cNvSpPr/>
            <p:nvPr/>
          </p:nvSpPr>
          <p:spPr>
            <a:xfrm>
              <a:off x="-836799" y="3552693"/>
              <a:ext cx="194571" cy="407077"/>
            </a:xfrm>
            <a:custGeom>
              <a:avLst/>
              <a:gdLst>
                <a:gd name="connsiteX0" fmla="*/ 0 w 194571"/>
                <a:gd name="connsiteY0" fmla="*/ 0 h 407077"/>
                <a:gd name="connsiteX1" fmla="*/ 194571 w 194571"/>
                <a:gd name="connsiteY1" fmla="*/ 0 h 407077"/>
                <a:gd name="connsiteX2" fmla="*/ 194571 w 194571"/>
                <a:gd name="connsiteY2" fmla="*/ 407078 h 407077"/>
                <a:gd name="connsiteX3" fmla="*/ 0 w 194571"/>
                <a:gd name="connsiteY3" fmla="*/ 407078 h 407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571" h="407077">
                  <a:moveTo>
                    <a:pt x="0" y="0"/>
                  </a:moveTo>
                  <a:lnTo>
                    <a:pt x="194571" y="0"/>
                  </a:lnTo>
                  <a:lnTo>
                    <a:pt x="194571" y="407078"/>
                  </a:lnTo>
                  <a:lnTo>
                    <a:pt x="0" y="407078"/>
                  </a:lnTo>
                  <a:close/>
                </a:path>
              </a:pathLst>
            </a:custGeom>
            <a:solidFill>
              <a:srgbClr val="FFFFFF"/>
            </a:solidFill>
            <a:ln w="58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2" name="Freeform: Shape 1091">
              <a:extLst>
                <a:ext uri="{FF2B5EF4-FFF2-40B4-BE49-F238E27FC236}">
                  <a16:creationId xmlns:a16="http://schemas.microsoft.com/office/drawing/2014/main" id="{44DD1739-997B-81DD-EC23-41B500FDEEE2}"/>
                </a:ext>
              </a:extLst>
            </p:cNvPr>
            <p:cNvSpPr/>
            <p:nvPr/>
          </p:nvSpPr>
          <p:spPr>
            <a:xfrm>
              <a:off x="-1093258" y="3681011"/>
              <a:ext cx="194571" cy="278759"/>
            </a:xfrm>
            <a:custGeom>
              <a:avLst/>
              <a:gdLst>
                <a:gd name="connsiteX0" fmla="*/ 0 w 194571"/>
                <a:gd name="connsiteY0" fmla="*/ 0 h 278759"/>
                <a:gd name="connsiteX1" fmla="*/ 194571 w 194571"/>
                <a:gd name="connsiteY1" fmla="*/ 0 h 278759"/>
                <a:gd name="connsiteX2" fmla="*/ 194571 w 194571"/>
                <a:gd name="connsiteY2" fmla="*/ 278760 h 278759"/>
                <a:gd name="connsiteX3" fmla="*/ 0 w 194571"/>
                <a:gd name="connsiteY3" fmla="*/ 278760 h 2787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571" h="278759">
                  <a:moveTo>
                    <a:pt x="0" y="0"/>
                  </a:moveTo>
                  <a:lnTo>
                    <a:pt x="194571" y="0"/>
                  </a:lnTo>
                  <a:lnTo>
                    <a:pt x="194571" y="278760"/>
                  </a:lnTo>
                  <a:lnTo>
                    <a:pt x="0" y="278760"/>
                  </a:lnTo>
                  <a:close/>
                </a:path>
              </a:pathLst>
            </a:custGeom>
            <a:solidFill>
              <a:srgbClr val="FFFFFF"/>
            </a:solidFill>
            <a:ln w="58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3" name="Freeform: Shape 1092">
              <a:extLst>
                <a:ext uri="{FF2B5EF4-FFF2-40B4-BE49-F238E27FC236}">
                  <a16:creationId xmlns:a16="http://schemas.microsoft.com/office/drawing/2014/main" id="{FE9A199C-C169-A843-E0CF-A9CFD0B6F156}"/>
                </a:ext>
              </a:extLst>
            </p:cNvPr>
            <p:cNvSpPr/>
            <p:nvPr/>
          </p:nvSpPr>
          <p:spPr>
            <a:xfrm>
              <a:off x="-1349716" y="3765082"/>
              <a:ext cx="194571" cy="194689"/>
            </a:xfrm>
            <a:custGeom>
              <a:avLst/>
              <a:gdLst>
                <a:gd name="connsiteX0" fmla="*/ 0 w 194571"/>
                <a:gd name="connsiteY0" fmla="*/ 0 h 194689"/>
                <a:gd name="connsiteX1" fmla="*/ 194571 w 194571"/>
                <a:gd name="connsiteY1" fmla="*/ 0 h 194689"/>
                <a:gd name="connsiteX2" fmla="*/ 194571 w 194571"/>
                <a:gd name="connsiteY2" fmla="*/ 194689 h 194689"/>
                <a:gd name="connsiteX3" fmla="*/ 0 w 194571"/>
                <a:gd name="connsiteY3" fmla="*/ 194689 h 194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571" h="194689">
                  <a:moveTo>
                    <a:pt x="0" y="0"/>
                  </a:moveTo>
                  <a:lnTo>
                    <a:pt x="194571" y="0"/>
                  </a:lnTo>
                  <a:lnTo>
                    <a:pt x="194571" y="194689"/>
                  </a:lnTo>
                  <a:lnTo>
                    <a:pt x="0" y="194689"/>
                  </a:lnTo>
                  <a:close/>
                </a:path>
              </a:pathLst>
            </a:custGeom>
            <a:solidFill>
              <a:srgbClr val="FFFFFF"/>
            </a:solidFill>
            <a:ln w="58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1D2624A4-A40D-DA78-CFA2-956A4F8DCB2F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FC50F46-B8BA-F093-7475-0E96451285A7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620576" y="6159330"/>
            <a:ext cx="609755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2763" indent="-512763"/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ources:	Press Ganey: </a:t>
            </a:r>
            <a:r>
              <a:rPr lang="en-US" sz="1000" dirty="0">
                <a:solidFill>
                  <a:schemeClr val="bg1"/>
                </a:solidFill>
                <a:hlinkClick r:id="rId3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mployee engagement in 2024: Trends, challenges, and opportunities</a:t>
            </a:r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38960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EE1CF3F1-7616-B43E-0733-2285D497A40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-1" y="2905125"/>
            <a:ext cx="12191997" cy="395287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95D91B34-767E-04A8-E235-EDEDFA2240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>
            <a:off x="-1" y="1108028"/>
            <a:ext cx="12191998" cy="2501248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D39D3B2-D372-191B-DFF2-AB21D013453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5715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95" imgH="394" progId="TCLayout.ActiveDocument.1">
                  <p:embed/>
                </p:oleObj>
              </mc:Choice>
              <mc:Fallback>
                <p:oleObj name="think-cell Slide" r:id="rId3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39D3B2-D372-191B-DFF2-AB21D0134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4054D62-CD41-0722-B7A9-97457D19A64E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11488149" y="6228775"/>
            <a:ext cx="445704" cy="445704"/>
          </a:xfrm>
          <a:noFill/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7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24A44A-DC19-E653-2618-699F3B4D768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The Disruptive Math of Turnover, Engagement, and Innov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B6215A6-716F-782E-1AFC-106AA47BB3F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28678" y="1155216"/>
            <a:ext cx="43243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f your annual turnover is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D442A63-BBB2-B7B1-7A41-C0CEE9CB7C42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604934" y="1155216"/>
            <a:ext cx="63289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n your entire organization is “new”. . 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783B21-7D4C-B99E-0513-7620DBCAE8B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722316" y="1750974"/>
            <a:ext cx="2542032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5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0B3624-99C8-8F62-6051-D70C2AE6F41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1713226" y="2358341"/>
            <a:ext cx="2542032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D914C6F-D5B1-F5E9-7D31-B78AB8D617ED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713226" y="2965708"/>
            <a:ext cx="2542032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5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6CC24D7-5E7B-84D0-F5B8-3C3EA0C9B2F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994712" y="1750974"/>
            <a:ext cx="3582258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ery Six Year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319C07F-ED03-D305-5D98-7E99861752E5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995141" y="2358341"/>
            <a:ext cx="35814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ery Five Yea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94CD37E-8C3B-C1A7-1185-97DA2739B4F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6995141" y="2965708"/>
            <a:ext cx="3581400" cy="4572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very Four Years</a:t>
            </a:r>
          </a:p>
        </p:txBody>
      </p:sp>
      <p:sp>
        <p:nvSpPr>
          <p:cNvPr id="26" name="Rectangle: Top Corners Rounded 25">
            <a:extLst>
              <a:ext uri="{FF2B5EF4-FFF2-40B4-BE49-F238E27FC236}">
                <a16:creationId xmlns:a16="http://schemas.microsoft.com/office/drawing/2014/main" id="{D60D1006-DEDB-E048-2651-8745776D7749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 rot="10800000">
            <a:off x="2076448" y="3609276"/>
            <a:ext cx="8039104" cy="58594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>
              <a:alpha val="6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57C578-8172-6754-E371-4C3F6202C16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2643188" y="3658622"/>
            <a:ext cx="71151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MPLICATIONS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AF73F85-53D1-B38D-1FFC-5CEDE5F682E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866159" y="4449737"/>
            <a:ext cx="3974890" cy="575034"/>
          </a:xfrm>
          <a:prstGeom prst="rect">
            <a:avLst/>
          </a:prstGeom>
          <a:solidFill>
            <a:schemeClr val="accent3">
              <a:alpha val="68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st employees don’t know who you were pre-pandemic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72A8E0C-DBEB-0C87-A39E-7A2997A49AB8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866159" y="5121115"/>
            <a:ext cx="3974890" cy="575034"/>
          </a:xfrm>
          <a:prstGeom prst="rect">
            <a:avLst/>
          </a:prstGeom>
          <a:solidFill>
            <a:schemeClr val="accent3">
              <a:alpha val="68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mission, vision, values, and culture need to be constantly taught and retaught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53902EE-6B9C-1AED-7C60-E328F38DE3D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1866159" y="5811543"/>
            <a:ext cx="3974890" cy="575034"/>
          </a:xfrm>
          <a:prstGeom prst="rect">
            <a:avLst/>
          </a:prstGeom>
          <a:solidFill>
            <a:schemeClr val="accent3">
              <a:alpha val="68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attributes that you think differentiate you . . . do not.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5BC9E62-7C38-E02C-D407-22ADFBD1848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6354001" y="4449737"/>
            <a:ext cx="3974890" cy="575034"/>
          </a:xfrm>
          <a:prstGeom prst="rect">
            <a:avLst/>
          </a:prstGeom>
          <a:solidFill>
            <a:schemeClr val="accent3">
              <a:alpha val="68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locus of engagement is the “job,” not the “organization.”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10F1EEF-C979-03CD-09C1-60178F3FA322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6354001" y="5121115"/>
            <a:ext cx="3974890" cy="575034"/>
          </a:xfrm>
          <a:prstGeom prst="rect">
            <a:avLst/>
          </a:prstGeom>
          <a:solidFill>
            <a:schemeClr val="accent3">
              <a:alpha val="68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ployees do not buy into your long-term strategy.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1C6D50C-7263-5912-C5F0-14B44C2A4C38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6354001" y="5811543"/>
            <a:ext cx="3974890" cy="575034"/>
          </a:xfrm>
          <a:prstGeom prst="rect">
            <a:avLst/>
          </a:prstGeom>
          <a:solidFill>
            <a:schemeClr val="accent3">
              <a:alpha val="68000"/>
            </a:schemeClr>
          </a:solidFill>
          <a:ln>
            <a:noFill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novation does not take hold.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CC8CCE0-CB33-7B27-7FF9-41D6ECE54549}"/>
              </a:ext>
            </a:extLst>
          </p:cNvPr>
          <p:cNvGrpSpPr/>
          <p:nvPr>
            <p:custDataLst>
              <p:tags r:id="rId23"/>
            </p:custDataLst>
          </p:nvPr>
        </p:nvGrpSpPr>
        <p:grpSpPr>
          <a:xfrm>
            <a:off x="1678091" y="4669244"/>
            <a:ext cx="306065" cy="136019"/>
            <a:chOff x="1457325" y="684657"/>
            <a:chExt cx="174034" cy="77343"/>
          </a:xfrm>
          <a:solidFill>
            <a:schemeClr val="accent3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9CEBEC1C-CB5C-35AC-7DC4-5A5A7F005417}"/>
                </a:ext>
              </a:extLst>
            </p:cNvPr>
            <p:cNvSpPr/>
            <p:nvPr/>
          </p:nvSpPr>
          <p:spPr>
            <a:xfrm>
              <a:off x="1457325" y="685228"/>
              <a:ext cx="76200" cy="76200"/>
            </a:xfrm>
            <a:prstGeom prst="ellips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Isosceles Triangle 65">
              <a:extLst>
                <a:ext uri="{FF2B5EF4-FFF2-40B4-BE49-F238E27FC236}">
                  <a16:creationId xmlns:a16="http://schemas.microsoft.com/office/drawing/2014/main" id="{70A8296F-E588-0A24-B23C-DAA83E358594}"/>
                </a:ext>
              </a:extLst>
            </p:cNvPr>
            <p:cNvSpPr/>
            <p:nvPr/>
          </p:nvSpPr>
          <p:spPr>
            <a:xfrm rot="5400000">
              <a:off x="1559350" y="689991"/>
              <a:ext cx="77343" cy="66675"/>
            </a:xfrm>
            <a:prstGeom prst="triangl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1EE56F1-4C6A-B26E-2405-93360F0CB5B8}"/>
              </a:ext>
            </a:extLst>
          </p:cNvPr>
          <p:cNvGrpSpPr/>
          <p:nvPr>
            <p:custDataLst>
              <p:tags r:id="rId24"/>
            </p:custDataLst>
          </p:nvPr>
        </p:nvGrpSpPr>
        <p:grpSpPr>
          <a:xfrm>
            <a:off x="1678091" y="5354437"/>
            <a:ext cx="306065" cy="136019"/>
            <a:chOff x="1457325" y="684657"/>
            <a:chExt cx="174034" cy="77343"/>
          </a:xfrm>
          <a:solidFill>
            <a:schemeClr val="accent3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2657CBD5-D97C-5209-D82E-128F1D27D15E}"/>
                </a:ext>
              </a:extLst>
            </p:cNvPr>
            <p:cNvSpPr/>
            <p:nvPr/>
          </p:nvSpPr>
          <p:spPr>
            <a:xfrm>
              <a:off x="1457325" y="685228"/>
              <a:ext cx="76200" cy="76200"/>
            </a:xfrm>
            <a:prstGeom prst="ellips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Isosceles Triangle 68">
              <a:extLst>
                <a:ext uri="{FF2B5EF4-FFF2-40B4-BE49-F238E27FC236}">
                  <a16:creationId xmlns:a16="http://schemas.microsoft.com/office/drawing/2014/main" id="{04F6F6D7-0E07-F127-F7BA-C6D271B888DA}"/>
                </a:ext>
              </a:extLst>
            </p:cNvPr>
            <p:cNvSpPr/>
            <p:nvPr/>
          </p:nvSpPr>
          <p:spPr>
            <a:xfrm rot="5400000">
              <a:off x="1559350" y="689991"/>
              <a:ext cx="77343" cy="66675"/>
            </a:xfrm>
            <a:prstGeom prst="triangl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EDDE240-7FCB-4919-88C1-768AC5C422A0}"/>
              </a:ext>
            </a:extLst>
          </p:cNvPr>
          <p:cNvGrpSpPr/>
          <p:nvPr>
            <p:custDataLst>
              <p:tags r:id="rId25"/>
            </p:custDataLst>
          </p:nvPr>
        </p:nvGrpSpPr>
        <p:grpSpPr>
          <a:xfrm>
            <a:off x="1678091" y="6039630"/>
            <a:ext cx="306065" cy="136019"/>
            <a:chOff x="1457325" y="684657"/>
            <a:chExt cx="174034" cy="77343"/>
          </a:xfrm>
          <a:solidFill>
            <a:schemeClr val="accent3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6EC271D1-B41F-71FF-AEFB-143EDB772BA1}"/>
                </a:ext>
              </a:extLst>
            </p:cNvPr>
            <p:cNvSpPr/>
            <p:nvPr/>
          </p:nvSpPr>
          <p:spPr>
            <a:xfrm>
              <a:off x="1457325" y="685228"/>
              <a:ext cx="76200" cy="76200"/>
            </a:xfrm>
            <a:prstGeom prst="ellips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Isosceles Triangle 71">
              <a:extLst>
                <a:ext uri="{FF2B5EF4-FFF2-40B4-BE49-F238E27FC236}">
                  <a16:creationId xmlns:a16="http://schemas.microsoft.com/office/drawing/2014/main" id="{20B79DA9-7E86-AA3A-4993-0449118A177D}"/>
                </a:ext>
              </a:extLst>
            </p:cNvPr>
            <p:cNvSpPr/>
            <p:nvPr/>
          </p:nvSpPr>
          <p:spPr>
            <a:xfrm rot="5400000">
              <a:off x="1559350" y="689991"/>
              <a:ext cx="77343" cy="66675"/>
            </a:xfrm>
            <a:prstGeom prst="triangl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D641E35F-50C7-CB8F-8BC4-6930662D4182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6164263" y="4669244"/>
            <a:ext cx="306065" cy="136019"/>
            <a:chOff x="1457325" y="684657"/>
            <a:chExt cx="174034" cy="77343"/>
          </a:xfrm>
          <a:solidFill>
            <a:schemeClr val="accent3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E3621339-CF19-A82D-5F1D-36C2735323BD}"/>
                </a:ext>
              </a:extLst>
            </p:cNvPr>
            <p:cNvSpPr/>
            <p:nvPr/>
          </p:nvSpPr>
          <p:spPr>
            <a:xfrm>
              <a:off x="1457325" y="685228"/>
              <a:ext cx="76200" cy="76200"/>
            </a:xfrm>
            <a:prstGeom prst="ellips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Isosceles Triangle 74">
              <a:extLst>
                <a:ext uri="{FF2B5EF4-FFF2-40B4-BE49-F238E27FC236}">
                  <a16:creationId xmlns:a16="http://schemas.microsoft.com/office/drawing/2014/main" id="{615629C6-53BF-74D1-EFD7-A9F096DF1007}"/>
                </a:ext>
              </a:extLst>
            </p:cNvPr>
            <p:cNvSpPr/>
            <p:nvPr/>
          </p:nvSpPr>
          <p:spPr>
            <a:xfrm rot="5400000">
              <a:off x="1559350" y="689991"/>
              <a:ext cx="77343" cy="66675"/>
            </a:xfrm>
            <a:prstGeom prst="triangl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6B76F897-AC59-77D8-1B75-203F6EF06273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6164263" y="5354437"/>
            <a:ext cx="306065" cy="136019"/>
            <a:chOff x="1457325" y="684657"/>
            <a:chExt cx="174034" cy="77343"/>
          </a:xfrm>
          <a:solidFill>
            <a:schemeClr val="accent3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33E1CC52-4FDC-E775-A546-9A8A2DFAC44A}"/>
                </a:ext>
              </a:extLst>
            </p:cNvPr>
            <p:cNvSpPr/>
            <p:nvPr/>
          </p:nvSpPr>
          <p:spPr>
            <a:xfrm>
              <a:off x="1457325" y="685228"/>
              <a:ext cx="76200" cy="76200"/>
            </a:xfrm>
            <a:prstGeom prst="ellips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Isosceles Triangle 77">
              <a:extLst>
                <a:ext uri="{FF2B5EF4-FFF2-40B4-BE49-F238E27FC236}">
                  <a16:creationId xmlns:a16="http://schemas.microsoft.com/office/drawing/2014/main" id="{3FF3EE54-29C7-D3AF-0E2C-32DC64F2C4F8}"/>
                </a:ext>
              </a:extLst>
            </p:cNvPr>
            <p:cNvSpPr/>
            <p:nvPr/>
          </p:nvSpPr>
          <p:spPr>
            <a:xfrm rot="5400000">
              <a:off x="1559350" y="689991"/>
              <a:ext cx="77343" cy="66675"/>
            </a:xfrm>
            <a:prstGeom prst="triangl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CD65575D-FD63-7107-1C51-C49BFE53F9B0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6164263" y="6039630"/>
            <a:ext cx="306065" cy="136019"/>
            <a:chOff x="1457325" y="684657"/>
            <a:chExt cx="174034" cy="77343"/>
          </a:xfrm>
          <a:solidFill>
            <a:schemeClr val="accent3"/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EBD6563F-5ACB-C0FD-7E4A-A1506A693E25}"/>
                </a:ext>
              </a:extLst>
            </p:cNvPr>
            <p:cNvSpPr/>
            <p:nvPr/>
          </p:nvSpPr>
          <p:spPr>
            <a:xfrm>
              <a:off x="1457325" y="685228"/>
              <a:ext cx="76200" cy="76200"/>
            </a:xfrm>
            <a:prstGeom prst="ellips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Isosceles Triangle 80">
              <a:extLst>
                <a:ext uri="{FF2B5EF4-FFF2-40B4-BE49-F238E27FC236}">
                  <a16:creationId xmlns:a16="http://schemas.microsoft.com/office/drawing/2014/main" id="{63D464CE-0333-35CB-FECD-8A6F9D83EB24}"/>
                </a:ext>
              </a:extLst>
            </p:cNvPr>
            <p:cNvSpPr/>
            <p:nvPr/>
          </p:nvSpPr>
          <p:spPr>
            <a:xfrm rot="5400000">
              <a:off x="1559350" y="689991"/>
              <a:ext cx="77343" cy="66675"/>
            </a:xfrm>
            <a:prstGeom prst="triangle">
              <a:avLst/>
            </a:prstGeom>
            <a:grpFill/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33C57D5B-8430-E816-7904-6A925D67034F}"/>
              </a:ext>
            </a:extLst>
          </p:cNvPr>
          <p:cNvCxnSpPr/>
          <p:nvPr>
            <p:custDataLst>
              <p:tags r:id="rId29"/>
            </p:custDataLst>
          </p:nvPr>
        </p:nvCxnSpPr>
        <p:spPr>
          <a:xfrm>
            <a:off x="3933138" y="1990166"/>
            <a:ext cx="3291840" cy="0"/>
          </a:xfrm>
          <a:prstGeom prst="straightConnector1">
            <a:avLst/>
          </a:prstGeom>
          <a:ln w="6350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B6231966-2F09-993C-D2DC-9964B59C0D7B}"/>
              </a:ext>
            </a:extLst>
          </p:cNvPr>
          <p:cNvCxnSpPr/>
          <p:nvPr>
            <p:custDataLst>
              <p:tags r:id="rId30"/>
            </p:custDataLst>
          </p:nvPr>
        </p:nvCxnSpPr>
        <p:spPr>
          <a:xfrm>
            <a:off x="3933138" y="2590241"/>
            <a:ext cx="3291840" cy="0"/>
          </a:xfrm>
          <a:prstGeom prst="straightConnector1">
            <a:avLst/>
          </a:prstGeom>
          <a:ln w="6350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E15CF856-F96C-1A90-8225-A0AB70792ACB}"/>
              </a:ext>
            </a:extLst>
          </p:cNvPr>
          <p:cNvCxnSpPr/>
          <p:nvPr>
            <p:custDataLst>
              <p:tags r:id="rId31"/>
            </p:custDataLst>
          </p:nvPr>
        </p:nvCxnSpPr>
        <p:spPr>
          <a:xfrm>
            <a:off x="3933138" y="3190316"/>
            <a:ext cx="3291840" cy="0"/>
          </a:xfrm>
          <a:prstGeom prst="straightConnector1">
            <a:avLst/>
          </a:prstGeom>
          <a:ln w="6350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8C57FAF3-E5B3-236F-5226-C5D6C2EB96F6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42373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0625484-E9BE-1E19-050A-9BB5B611D1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66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95" imgH="394" progId="TCLayout.ActiveDocument.1">
                  <p:embed/>
                </p:oleObj>
              </mc:Choice>
              <mc:Fallback>
                <p:oleObj name="think-cell Slide" r:id="rId30" imgW="395" imgH="39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625484-E9BE-1E19-050A-9BB5B611D1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752E40-2D58-79C3-2FA6-52080FCD9AF8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8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32240F-36D6-5BFE-492E-468326D3299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From Engagement to Innovatio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6F4B93E-77CC-AFB5-9DA0-0481C66A483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1438483"/>
            <a:ext cx="5364427" cy="461941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3437B12-9996-9ACC-0332-65590100C3F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6831845" y="1438483"/>
            <a:ext cx="5360155" cy="461941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075" name="Group 1074">
            <a:extLst>
              <a:ext uri="{FF2B5EF4-FFF2-40B4-BE49-F238E27FC236}">
                <a16:creationId xmlns:a16="http://schemas.microsoft.com/office/drawing/2014/main" id="{7BAAA8BC-70E7-F3AB-33EE-5CFC88C4FE09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3304158" y="1949746"/>
            <a:ext cx="5393184" cy="3446296"/>
            <a:chOff x="3304158" y="2060094"/>
            <a:chExt cx="5393184" cy="3446296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F58138E3-E885-1371-0CC5-5F00203810A4}"/>
                </a:ext>
              </a:extLst>
            </p:cNvPr>
            <p:cNvSpPr/>
            <p:nvPr/>
          </p:nvSpPr>
          <p:spPr>
            <a:xfrm>
              <a:off x="4398785" y="2114603"/>
              <a:ext cx="3337280" cy="333727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F357BA85-04D3-9B33-3001-45B4BCD88E22}"/>
                </a:ext>
              </a:extLst>
            </p:cNvPr>
            <p:cNvSpPr/>
            <p:nvPr/>
          </p:nvSpPr>
          <p:spPr>
            <a:xfrm>
              <a:off x="4552736" y="2273694"/>
              <a:ext cx="2976796" cy="2976795"/>
            </a:xfrm>
            <a:custGeom>
              <a:avLst/>
              <a:gdLst>
                <a:gd name="connsiteX0" fmla="*/ 1146238 w 2292477"/>
                <a:gd name="connsiteY0" fmla="*/ 0 h 2292476"/>
                <a:gd name="connsiteX1" fmla="*/ 0 w 2292477"/>
                <a:gd name="connsiteY1" fmla="*/ 1146239 h 2292476"/>
                <a:gd name="connsiteX2" fmla="*/ 1146238 w 2292477"/>
                <a:gd name="connsiteY2" fmla="*/ 2292477 h 2292476"/>
                <a:gd name="connsiteX3" fmla="*/ 2292477 w 2292477"/>
                <a:gd name="connsiteY3" fmla="*/ 1146239 h 2292476"/>
                <a:gd name="connsiteX4" fmla="*/ 1146238 w 2292477"/>
                <a:gd name="connsiteY4" fmla="*/ 0 h 2292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2477" h="2292476">
                  <a:moveTo>
                    <a:pt x="1146238" y="0"/>
                  </a:moveTo>
                  <a:cubicBezTo>
                    <a:pt x="514159" y="0"/>
                    <a:pt x="0" y="514255"/>
                    <a:pt x="0" y="1146239"/>
                  </a:cubicBezTo>
                  <a:cubicBezTo>
                    <a:pt x="0" y="1778222"/>
                    <a:pt x="514159" y="2292477"/>
                    <a:pt x="1146238" y="2292477"/>
                  </a:cubicBezTo>
                  <a:cubicBezTo>
                    <a:pt x="1778318" y="2292477"/>
                    <a:pt x="2292477" y="1778222"/>
                    <a:pt x="2292477" y="1146239"/>
                  </a:cubicBezTo>
                  <a:cubicBezTo>
                    <a:pt x="2292477" y="514255"/>
                    <a:pt x="1778222" y="0"/>
                    <a:pt x="1146238" y="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C70195F4-7124-1D0A-A4D4-66C3B3E3E998}"/>
                </a:ext>
              </a:extLst>
            </p:cNvPr>
            <p:cNvSpPr/>
            <p:nvPr/>
          </p:nvSpPr>
          <p:spPr>
            <a:xfrm>
              <a:off x="4538758" y="2249824"/>
              <a:ext cx="3082172" cy="3082174"/>
            </a:xfrm>
            <a:custGeom>
              <a:avLst/>
              <a:gdLst>
                <a:gd name="connsiteX0" fmla="*/ 2373630 w 2373629"/>
                <a:gd name="connsiteY0" fmla="*/ 1186815 h 2373630"/>
                <a:gd name="connsiteX1" fmla="*/ 1186815 w 2373629"/>
                <a:gd name="connsiteY1" fmla="*/ 2373630 h 2373630"/>
                <a:gd name="connsiteX2" fmla="*/ 0 w 2373629"/>
                <a:gd name="connsiteY2" fmla="*/ 1186815 h 2373630"/>
                <a:gd name="connsiteX3" fmla="*/ 1186815 w 2373629"/>
                <a:gd name="connsiteY3" fmla="*/ 0 h 2373630"/>
                <a:gd name="connsiteX4" fmla="*/ 2373630 w 2373629"/>
                <a:gd name="connsiteY4" fmla="*/ 1186815 h 2373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73629" h="2373630">
                  <a:moveTo>
                    <a:pt x="2373630" y="1186815"/>
                  </a:moveTo>
                  <a:cubicBezTo>
                    <a:pt x="2373630" y="1842326"/>
                    <a:pt x="1842326" y="2373630"/>
                    <a:pt x="1186815" y="2373630"/>
                  </a:cubicBezTo>
                  <a:cubicBezTo>
                    <a:pt x="531305" y="2373630"/>
                    <a:pt x="0" y="1842230"/>
                    <a:pt x="0" y="1186815"/>
                  </a:cubicBezTo>
                  <a:cubicBezTo>
                    <a:pt x="0" y="531400"/>
                    <a:pt x="531400" y="0"/>
                    <a:pt x="1186815" y="0"/>
                  </a:cubicBezTo>
                  <a:cubicBezTo>
                    <a:pt x="1842230" y="0"/>
                    <a:pt x="2373630" y="531400"/>
                    <a:pt x="2373630" y="118681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8" name="Graphic 28">
              <a:extLst>
                <a:ext uri="{FF2B5EF4-FFF2-40B4-BE49-F238E27FC236}">
                  <a16:creationId xmlns:a16="http://schemas.microsoft.com/office/drawing/2014/main" id="{A8517791-F6BA-DCD4-47F3-E9611A397F40}"/>
                </a:ext>
              </a:extLst>
            </p:cNvPr>
            <p:cNvGrpSpPr/>
            <p:nvPr/>
          </p:nvGrpSpPr>
          <p:grpSpPr>
            <a:xfrm>
              <a:off x="4514517" y="2239806"/>
              <a:ext cx="3707760" cy="2353682"/>
              <a:chOff x="4928520" y="2244947"/>
              <a:chExt cx="2855404" cy="1812607"/>
            </a:xfrm>
            <a:solidFill>
              <a:schemeClr val="accent3"/>
            </a:solidFill>
            <a:effectLst>
              <a:outerShdw blurRad="139700" dist="38100" dir="10800000" algn="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79" name="Graphic 28">
                <a:extLst>
                  <a:ext uri="{FF2B5EF4-FFF2-40B4-BE49-F238E27FC236}">
                    <a16:creationId xmlns:a16="http://schemas.microsoft.com/office/drawing/2014/main" id="{D6A40ED9-EBB7-E455-620D-8A38969BE731}"/>
                  </a:ext>
                </a:extLst>
              </p:cNvPr>
              <p:cNvGrpSpPr/>
              <p:nvPr/>
            </p:nvGrpSpPr>
            <p:grpSpPr>
              <a:xfrm>
                <a:off x="6091808" y="4056792"/>
                <a:ext cx="61531" cy="761"/>
                <a:chOff x="6091808" y="4056792"/>
                <a:chExt cx="61531" cy="761"/>
              </a:xfrm>
              <a:grpFill/>
            </p:grpSpPr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7E5C94A7-49D3-6D11-C36D-741E5AD34A1D}"/>
                    </a:ext>
                  </a:extLst>
                </p:cNvPr>
                <p:cNvSpPr/>
                <p:nvPr/>
              </p:nvSpPr>
              <p:spPr>
                <a:xfrm>
                  <a:off x="6122574" y="4056792"/>
                  <a:ext cx="30765" cy="761"/>
                </a:xfrm>
                <a:custGeom>
                  <a:avLst/>
                  <a:gdLst>
                    <a:gd name="connsiteX0" fmla="*/ 0 w 30765"/>
                    <a:gd name="connsiteY0" fmla="*/ 762 h 761"/>
                    <a:gd name="connsiteX1" fmla="*/ 30766 w 30765"/>
                    <a:gd name="connsiteY1" fmla="*/ 0 h 761"/>
                    <a:gd name="connsiteX2" fmla="*/ 0 w 30765"/>
                    <a:gd name="connsiteY2" fmla="*/ 0 h 761"/>
                    <a:gd name="connsiteX3" fmla="*/ 0 w 30765"/>
                    <a:gd name="connsiteY3" fmla="*/ 762 h 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765" h="761">
                      <a:moveTo>
                        <a:pt x="0" y="762"/>
                      </a:moveTo>
                      <a:cubicBezTo>
                        <a:pt x="10287" y="762"/>
                        <a:pt x="20574" y="476"/>
                        <a:pt x="30766" y="0"/>
                      </a:cubicBezTo>
                      <a:lnTo>
                        <a:pt x="0" y="0"/>
                      </a:lnTo>
                      <a:lnTo>
                        <a:pt x="0" y="762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id="{7D895300-B47C-C973-35DF-A5E82C312F01}"/>
                    </a:ext>
                  </a:extLst>
                </p:cNvPr>
                <p:cNvSpPr/>
                <p:nvPr/>
              </p:nvSpPr>
              <p:spPr>
                <a:xfrm>
                  <a:off x="6091808" y="4056792"/>
                  <a:ext cx="30765" cy="761"/>
                </a:xfrm>
                <a:custGeom>
                  <a:avLst/>
                  <a:gdLst>
                    <a:gd name="connsiteX0" fmla="*/ 0 w 30765"/>
                    <a:gd name="connsiteY0" fmla="*/ 0 h 761"/>
                    <a:gd name="connsiteX1" fmla="*/ 30766 w 30765"/>
                    <a:gd name="connsiteY1" fmla="*/ 762 h 761"/>
                    <a:gd name="connsiteX2" fmla="*/ 30766 w 30765"/>
                    <a:gd name="connsiteY2" fmla="*/ 0 h 761"/>
                    <a:gd name="connsiteX3" fmla="*/ 0 w 30765"/>
                    <a:gd name="connsiteY3" fmla="*/ 0 h 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765" h="761">
                      <a:moveTo>
                        <a:pt x="0" y="0"/>
                      </a:moveTo>
                      <a:cubicBezTo>
                        <a:pt x="10192" y="476"/>
                        <a:pt x="20479" y="762"/>
                        <a:pt x="30766" y="762"/>
                      </a:cubicBezTo>
                      <a:lnTo>
                        <a:pt x="3076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632853A5-34FA-044D-AE62-F2C6DF2A6DAD}"/>
                  </a:ext>
                </a:extLst>
              </p:cNvPr>
              <p:cNvSpPr/>
              <p:nvPr/>
            </p:nvSpPr>
            <p:spPr>
              <a:xfrm>
                <a:off x="4928520" y="2244947"/>
                <a:ext cx="2855404" cy="1811750"/>
              </a:xfrm>
              <a:custGeom>
                <a:avLst/>
                <a:gdLst>
                  <a:gd name="connsiteX0" fmla="*/ 1191101 w 2855404"/>
                  <a:gd name="connsiteY0" fmla="*/ 575881 h 1811750"/>
                  <a:gd name="connsiteX1" fmla="*/ 2855405 w 2855404"/>
                  <a:gd name="connsiteY1" fmla="*/ 575881 h 1811750"/>
                  <a:gd name="connsiteX2" fmla="*/ 2855405 w 2855404"/>
                  <a:gd name="connsiteY2" fmla="*/ 0 h 1811750"/>
                  <a:gd name="connsiteX3" fmla="*/ 1166241 w 2855404"/>
                  <a:gd name="connsiteY3" fmla="*/ 0 h 1811750"/>
                  <a:gd name="connsiteX4" fmla="*/ 1166241 w 2855404"/>
                  <a:gd name="connsiteY4" fmla="*/ 476 h 1811750"/>
                  <a:gd name="connsiteX5" fmla="*/ 173641 w 2855404"/>
                  <a:gd name="connsiteY5" fmla="*/ 574548 h 1811750"/>
                  <a:gd name="connsiteX6" fmla="*/ 0 w 2855404"/>
                  <a:gd name="connsiteY6" fmla="*/ 1194149 h 1811750"/>
                  <a:gd name="connsiteX7" fmla="*/ 172498 w 2855404"/>
                  <a:gd name="connsiteY7" fmla="*/ 1811750 h 1811750"/>
                  <a:gd name="connsiteX8" fmla="*/ 1163479 w 2855404"/>
                  <a:gd name="connsiteY8" fmla="*/ 1811750 h 1811750"/>
                  <a:gd name="connsiteX9" fmla="*/ 575882 w 2855404"/>
                  <a:gd name="connsiteY9" fmla="*/ 1194149 h 1811750"/>
                  <a:gd name="connsiteX10" fmla="*/ 1191292 w 2855404"/>
                  <a:gd name="connsiteY10" fmla="*/ 575786 h 1811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855404" h="1811750">
                    <a:moveTo>
                      <a:pt x="1191101" y="575881"/>
                    </a:moveTo>
                    <a:lnTo>
                      <a:pt x="2855405" y="575881"/>
                    </a:lnTo>
                    <a:lnTo>
                      <a:pt x="2855405" y="0"/>
                    </a:lnTo>
                    <a:lnTo>
                      <a:pt x="1166241" y="0"/>
                    </a:lnTo>
                    <a:lnTo>
                      <a:pt x="1166241" y="476"/>
                    </a:lnTo>
                    <a:cubicBezTo>
                      <a:pt x="746093" y="10192"/>
                      <a:pt x="378809" y="237744"/>
                      <a:pt x="173641" y="574548"/>
                    </a:cubicBezTo>
                    <a:cubicBezTo>
                      <a:pt x="63437" y="755333"/>
                      <a:pt x="0" y="967454"/>
                      <a:pt x="0" y="1194149"/>
                    </a:cubicBezTo>
                    <a:cubicBezTo>
                      <a:pt x="0" y="1420844"/>
                      <a:pt x="63056" y="1631442"/>
                      <a:pt x="172498" y="1811750"/>
                    </a:cubicBezTo>
                    <a:lnTo>
                      <a:pt x="1163479" y="1811750"/>
                    </a:lnTo>
                    <a:cubicBezTo>
                      <a:pt x="836771" y="1795653"/>
                      <a:pt x="575882" y="1524762"/>
                      <a:pt x="575882" y="1194149"/>
                    </a:cubicBezTo>
                    <a:cubicBezTo>
                      <a:pt x="575882" y="863537"/>
                      <a:pt x="851726" y="577405"/>
                      <a:pt x="1191292" y="57578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4E199830-9EC9-9E8A-38F1-ED8021E6D067}"/>
                </a:ext>
              </a:extLst>
            </p:cNvPr>
            <p:cNvSpPr/>
            <p:nvPr/>
          </p:nvSpPr>
          <p:spPr>
            <a:xfrm>
              <a:off x="3852072" y="2977943"/>
              <a:ext cx="3763665" cy="2355290"/>
            </a:xfrm>
            <a:custGeom>
              <a:avLst/>
              <a:gdLst>
                <a:gd name="connsiteX0" fmla="*/ 2724722 w 2898457"/>
                <a:gd name="connsiteY0" fmla="*/ 0 h 1813845"/>
                <a:gd name="connsiteX1" fmla="*/ 1704213 w 2898457"/>
                <a:gd name="connsiteY1" fmla="*/ 0 h 1813845"/>
                <a:gd name="connsiteX2" fmla="*/ 1704213 w 2898457"/>
                <a:gd name="connsiteY2" fmla="*/ 1238 h 1813845"/>
                <a:gd name="connsiteX3" fmla="*/ 2322576 w 2898457"/>
                <a:gd name="connsiteY3" fmla="*/ 619601 h 1813845"/>
                <a:gd name="connsiteX4" fmla="*/ 1734979 w 2898457"/>
                <a:gd name="connsiteY4" fmla="*/ 1237202 h 1813845"/>
                <a:gd name="connsiteX5" fmla="*/ 1704213 w 2898457"/>
                <a:gd name="connsiteY5" fmla="*/ 1237964 h 1813845"/>
                <a:gd name="connsiteX6" fmla="*/ 1673447 w 2898457"/>
                <a:gd name="connsiteY6" fmla="*/ 1237202 h 1813845"/>
                <a:gd name="connsiteX7" fmla="*/ 0 w 2898457"/>
                <a:gd name="connsiteY7" fmla="*/ 1237964 h 1813845"/>
                <a:gd name="connsiteX8" fmla="*/ 0 w 2898457"/>
                <a:gd name="connsiteY8" fmla="*/ 1813846 h 1813845"/>
                <a:gd name="connsiteX9" fmla="*/ 1689163 w 2898457"/>
                <a:gd name="connsiteY9" fmla="*/ 1813846 h 1813845"/>
                <a:gd name="connsiteX10" fmla="*/ 1689163 w 2898457"/>
                <a:gd name="connsiteY10" fmla="*/ 1813560 h 1813845"/>
                <a:gd name="connsiteX11" fmla="*/ 1704213 w 2898457"/>
                <a:gd name="connsiteY11" fmla="*/ 1813846 h 1813845"/>
                <a:gd name="connsiteX12" fmla="*/ 2725960 w 2898457"/>
                <a:gd name="connsiteY12" fmla="*/ 1237298 h 1813845"/>
                <a:gd name="connsiteX13" fmla="*/ 2898458 w 2898457"/>
                <a:gd name="connsiteY13" fmla="*/ 619697 h 1813845"/>
                <a:gd name="connsiteX14" fmla="*/ 2724817 w 2898457"/>
                <a:gd name="connsiteY14" fmla="*/ 95 h 1813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98457" h="1813845">
                  <a:moveTo>
                    <a:pt x="2724722" y="0"/>
                  </a:moveTo>
                  <a:lnTo>
                    <a:pt x="1704213" y="0"/>
                  </a:lnTo>
                  <a:lnTo>
                    <a:pt x="1704213" y="1238"/>
                  </a:lnTo>
                  <a:cubicBezTo>
                    <a:pt x="2045208" y="1238"/>
                    <a:pt x="2322576" y="278606"/>
                    <a:pt x="2322576" y="619601"/>
                  </a:cubicBezTo>
                  <a:cubicBezTo>
                    <a:pt x="2322576" y="960596"/>
                    <a:pt x="2061686" y="1221105"/>
                    <a:pt x="1734979" y="1237202"/>
                  </a:cubicBezTo>
                  <a:cubicBezTo>
                    <a:pt x="1724787" y="1237678"/>
                    <a:pt x="1714500" y="1237964"/>
                    <a:pt x="1704213" y="1237964"/>
                  </a:cubicBezTo>
                  <a:cubicBezTo>
                    <a:pt x="1693926" y="1237964"/>
                    <a:pt x="1683639" y="1237678"/>
                    <a:pt x="1673447" y="1237202"/>
                  </a:cubicBezTo>
                  <a:lnTo>
                    <a:pt x="0" y="1237964"/>
                  </a:lnTo>
                  <a:lnTo>
                    <a:pt x="0" y="1813846"/>
                  </a:lnTo>
                  <a:lnTo>
                    <a:pt x="1689163" y="1813846"/>
                  </a:lnTo>
                  <a:lnTo>
                    <a:pt x="1689163" y="1813560"/>
                  </a:lnTo>
                  <a:cubicBezTo>
                    <a:pt x="1694212" y="1813560"/>
                    <a:pt x="1699165" y="1813846"/>
                    <a:pt x="1704213" y="1813846"/>
                  </a:cubicBezTo>
                  <a:cubicBezTo>
                    <a:pt x="2136839" y="1813846"/>
                    <a:pt x="2516410" y="1582579"/>
                    <a:pt x="2725960" y="1237298"/>
                  </a:cubicBezTo>
                  <a:cubicBezTo>
                    <a:pt x="2835402" y="1056989"/>
                    <a:pt x="2898458" y="845534"/>
                    <a:pt x="2898458" y="619697"/>
                  </a:cubicBezTo>
                  <a:cubicBezTo>
                    <a:pt x="2898458" y="393859"/>
                    <a:pt x="2834926" y="180784"/>
                    <a:pt x="2724817" y="9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>
              <a:outerShdw blurRad="139700" dist="38100" algn="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FF5CDA2-0E48-579E-EF4E-30DAE505975F}"/>
                </a:ext>
              </a:extLst>
            </p:cNvPr>
            <p:cNvSpPr/>
            <p:nvPr/>
          </p:nvSpPr>
          <p:spPr>
            <a:xfrm>
              <a:off x="8084372" y="2060094"/>
              <a:ext cx="612970" cy="1125760"/>
            </a:xfrm>
            <a:custGeom>
              <a:avLst/>
              <a:gdLst>
                <a:gd name="connsiteX0" fmla="*/ 0 w 472058"/>
                <a:gd name="connsiteY0" fmla="*/ 866965 h 866965"/>
                <a:gd name="connsiteX1" fmla="*/ 0 w 472058"/>
                <a:gd name="connsiteY1" fmla="*/ 0 h 866965"/>
                <a:gd name="connsiteX2" fmla="*/ 472059 w 472058"/>
                <a:gd name="connsiteY2" fmla="*/ 433483 h 866965"/>
                <a:gd name="connsiteX3" fmla="*/ 0 w 472058"/>
                <a:gd name="connsiteY3" fmla="*/ 866965 h 86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2058" h="866965">
                  <a:moveTo>
                    <a:pt x="0" y="866965"/>
                  </a:moveTo>
                  <a:lnTo>
                    <a:pt x="0" y="0"/>
                  </a:lnTo>
                  <a:lnTo>
                    <a:pt x="472059" y="433483"/>
                  </a:lnTo>
                  <a:lnTo>
                    <a:pt x="0" y="86696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B711D57E-06EA-5EBB-CD15-B73E534047DA}"/>
                </a:ext>
              </a:extLst>
            </p:cNvPr>
            <p:cNvSpPr/>
            <p:nvPr/>
          </p:nvSpPr>
          <p:spPr>
            <a:xfrm>
              <a:off x="3304158" y="4380630"/>
              <a:ext cx="612847" cy="1125760"/>
            </a:xfrm>
            <a:custGeom>
              <a:avLst/>
              <a:gdLst>
                <a:gd name="connsiteX0" fmla="*/ 471964 w 471963"/>
                <a:gd name="connsiteY0" fmla="*/ 0 h 866965"/>
                <a:gd name="connsiteX1" fmla="*/ 471964 w 471963"/>
                <a:gd name="connsiteY1" fmla="*/ 866965 h 866965"/>
                <a:gd name="connsiteX2" fmla="*/ 0 w 471963"/>
                <a:gd name="connsiteY2" fmla="*/ 433483 h 866965"/>
                <a:gd name="connsiteX3" fmla="*/ 471964 w 471963"/>
                <a:gd name="connsiteY3" fmla="*/ 0 h 866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1963" h="866965">
                  <a:moveTo>
                    <a:pt x="471964" y="0"/>
                  </a:moveTo>
                  <a:lnTo>
                    <a:pt x="471964" y="866965"/>
                  </a:lnTo>
                  <a:lnTo>
                    <a:pt x="0" y="433483"/>
                  </a:lnTo>
                  <a:lnTo>
                    <a:pt x="471964" y="0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88EFB84-2004-B013-E58A-41C796A96695}"/>
                </a:ext>
              </a:extLst>
            </p:cNvPr>
            <p:cNvSpPr txBox="1"/>
            <p:nvPr/>
          </p:nvSpPr>
          <p:spPr>
            <a:xfrm>
              <a:off x="3647800" y="4750426"/>
              <a:ext cx="254386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unds investments in</a:t>
              </a: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390F9C73-1B5A-CEC1-9777-D4B8BBBA7781}"/>
                </a:ext>
              </a:extLst>
            </p:cNvPr>
            <p:cNvSpPr txBox="1"/>
            <p:nvPr/>
          </p:nvSpPr>
          <p:spPr>
            <a:xfrm>
              <a:off x="5569061" y="2425764"/>
              <a:ext cx="279973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reates opportunities for</a:t>
              </a:r>
            </a:p>
          </p:txBody>
        </p: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7D395B15-64CE-3B79-BAD7-DBE776C5E40B}"/>
                </a:ext>
              </a:extLst>
            </p:cNvPr>
            <p:cNvGrpSpPr/>
            <p:nvPr/>
          </p:nvGrpSpPr>
          <p:grpSpPr>
            <a:xfrm>
              <a:off x="5538391" y="3183830"/>
              <a:ext cx="1121713" cy="1271941"/>
              <a:chOff x="4919376" y="2114835"/>
              <a:chExt cx="2373249" cy="2691098"/>
            </a:xfrm>
          </p:grpSpPr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7D769844-A675-2B09-EBE5-61789F3D8313}"/>
                  </a:ext>
                </a:extLst>
              </p:cNvPr>
              <p:cNvSpPr/>
              <p:nvPr/>
            </p:nvSpPr>
            <p:spPr>
              <a:xfrm>
                <a:off x="5137499" y="2254665"/>
                <a:ext cx="2107025" cy="1144045"/>
              </a:xfrm>
              <a:custGeom>
                <a:avLst/>
                <a:gdLst>
                  <a:gd name="connsiteX0" fmla="*/ 0 w 2107025"/>
                  <a:gd name="connsiteY0" fmla="*/ 27715 h 1144045"/>
                  <a:gd name="connsiteX1" fmla="*/ 1215104 w 2107025"/>
                  <a:gd name="connsiteY1" fmla="*/ 315656 h 1144045"/>
                  <a:gd name="connsiteX2" fmla="*/ 2107025 w 2107025"/>
                  <a:gd name="connsiteY2" fmla="*/ 1144045 h 1144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107025" h="1144045">
                    <a:moveTo>
                      <a:pt x="0" y="27715"/>
                    </a:moveTo>
                    <a:cubicBezTo>
                      <a:pt x="246793" y="-55343"/>
                      <a:pt x="727329" y="50480"/>
                      <a:pt x="1215104" y="315656"/>
                    </a:cubicBezTo>
                    <a:cubicBezTo>
                      <a:pt x="1680877" y="568830"/>
                      <a:pt x="2021014" y="895443"/>
                      <a:pt x="2107025" y="1144045"/>
                    </a:cubicBezTo>
                  </a:path>
                </a:pathLst>
              </a:custGeom>
              <a:noFill/>
              <a:ln w="1905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EA424601-7216-84A0-4F25-702274B03A95}"/>
                  </a:ext>
                </a:extLst>
              </p:cNvPr>
              <p:cNvSpPr/>
              <p:nvPr/>
            </p:nvSpPr>
            <p:spPr>
              <a:xfrm>
                <a:off x="5104923" y="2228559"/>
                <a:ext cx="1813655" cy="1548484"/>
              </a:xfrm>
              <a:custGeom>
                <a:avLst/>
                <a:gdLst>
                  <a:gd name="connsiteX0" fmla="*/ 0 w 1813655"/>
                  <a:gd name="connsiteY0" fmla="*/ 1548485 h 1548484"/>
                  <a:gd name="connsiteX1" fmla="*/ 715137 w 1813655"/>
                  <a:gd name="connsiteY1" fmla="*/ 524737 h 1548484"/>
                  <a:gd name="connsiteX2" fmla="*/ 1813655 w 1813655"/>
                  <a:gd name="connsiteY2" fmla="*/ 481 h 1548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13655" h="1548484">
                    <a:moveTo>
                      <a:pt x="0" y="1548485"/>
                    </a:moveTo>
                    <a:cubicBezTo>
                      <a:pt x="13621" y="1288452"/>
                      <a:pt x="288893" y="880687"/>
                      <a:pt x="715137" y="524737"/>
                    </a:cubicBezTo>
                    <a:cubicBezTo>
                      <a:pt x="1122045" y="184981"/>
                      <a:pt x="1550860" y="-11044"/>
                      <a:pt x="1813655" y="481"/>
                    </a:cubicBezTo>
                  </a:path>
                </a:pathLst>
              </a:custGeom>
              <a:noFill/>
              <a:ln w="1905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181" name="Graphic 2">
                <a:extLst>
                  <a:ext uri="{FF2B5EF4-FFF2-40B4-BE49-F238E27FC236}">
                    <a16:creationId xmlns:a16="http://schemas.microsoft.com/office/drawing/2014/main" id="{C0E95243-2C7B-4EF0-91E3-9AD184FA0293}"/>
                  </a:ext>
                </a:extLst>
              </p:cNvPr>
              <p:cNvGrpSpPr/>
              <p:nvPr/>
            </p:nvGrpSpPr>
            <p:grpSpPr>
              <a:xfrm>
                <a:off x="5063585" y="2114835"/>
                <a:ext cx="2035492" cy="2691098"/>
                <a:chOff x="5063585" y="2114835"/>
                <a:chExt cx="2035492" cy="2691098"/>
              </a:xfrm>
            </p:grpSpPr>
            <p:sp>
              <p:nvSpPr>
                <p:cNvPr id="188" name="Freeform: Shape 187">
                  <a:extLst>
                    <a:ext uri="{FF2B5EF4-FFF2-40B4-BE49-F238E27FC236}">
                      <a16:creationId xmlns:a16="http://schemas.microsoft.com/office/drawing/2014/main" id="{876CAEC4-F2B6-0BF4-BC80-88B7F24F8BCC}"/>
                    </a:ext>
                  </a:extLst>
                </p:cNvPr>
                <p:cNvSpPr/>
                <p:nvPr/>
              </p:nvSpPr>
              <p:spPr>
                <a:xfrm>
                  <a:off x="5063585" y="2114835"/>
                  <a:ext cx="2035492" cy="2035492"/>
                </a:xfrm>
                <a:custGeom>
                  <a:avLst/>
                  <a:gdLst>
                    <a:gd name="connsiteX0" fmla="*/ 2035493 w 2035492"/>
                    <a:gd name="connsiteY0" fmla="*/ 1017746 h 2035492"/>
                    <a:gd name="connsiteX1" fmla="*/ 1017746 w 2035492"/>
                    <a:gd name="connsiteY1" fmla="*/ 2035493 h 2035492"/>
                    <a:gd name="connsiteX2" fmla="*/ 0 w 2035492"/>
                    <a:gd name="connsiteY2" fmla="*/ 1017746 h 2035492"/>
                    <a:gd name="connsiteX3" fmla="*/ 1017746 w 2035492"/>
                    <a:gd name="connsiteY3" fmla="*/ 0 h 2035492"/>
                    <a:gd name="connsiteX4" fmla="*/ 2035493 w 2035492"/>
                    <a:gd name="connsiteY4" fmla="*/ 1017746 h 20354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35492" h="2035492">
                      <a:moveTo>
                        <a:pt x="2035493" y="1017746"/>
                      </a:moveTo>
                      <a:cubicBezTo>
                        <a:pt x="2035493" y="1579832"/>
                        <a:pt x="1579832" y="2035493"/>
                        <a:pt x="1017746" y="2035493"/>
                      </a:cubicBezTo>
                      <a:cubicBezTo>
                        <a:pt x="455660" y="2035493"/>
                        <a:pt x="0" y="1579832"/>
                        <a:pt x="0" y="1017746"/>
                      </a:cubicBezTo>
                      <a:cubicBezTo>
                        <a:pt x="0" y="455661"/>
                        <a:pt x="455660" y="0"/>
                        <a:pt x="1017746" y="0"/>
                      </a:cubicBezTo>
                      <a:cubicBezTo>
                        <a:pt x="1579832" y="0"/>
                        <a:pt x="2035493" y="455661"/>
                        <a:pt x="2035493" y="1017746"/>
                      </a:cubicBezTo>
                      <a:close/>
                    </a:path>
                  </a:pathLst>
                </a:custGeom>
                <a:solidFill>
                  <a:srgbClr val="FFD5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: Shape 188">
                  <a:extLst>
                    <a:ext uri="{FF2B5EF4-FFF2-40B4-BE49-F238E27FC236}">
                      <a16:creationId xmlns:a16="http://schemas.microsoft.com/office/drawing/2014/main" id="{CCCB27FB-ADB9-E8C4-CF8E-C066F67F28B5}"/>
                    </a:ext>
                  </a:extLst>
                </p:cNvPr>
                <p:cNvSpPr/>
                <p:nvPr/>
              </p:nvSpPr>
              <p:spPr>
                <a:xfrm>
                  <a:off x="5438203" y="2487834"/>
                  <a:ext cx="1289589" cy="1289399"/>
                </a:xfrm>
                <a:custGeom>
                  <a:avLst/>
                  <a:gdLst>
                    <a:gd name="connsiteX0" fmla="*/ 1241489 w 1289589"/>
                    <a:gd name="connsiteY0" fmla="*/ 901065 h 1289399"/>
                    <a:gd name="connsiteX1" fmla="*/ 1289209 w 1289589"/>
                    <a:gd name="connsiteY1" fmla="*/ 724376 h 1289399"/>
                    <a:gd name="connsiteX2" fmla="*/ 1289209 w 1289589"/>
                    <a:gd name="connsiteY2" fmla="*/ 723424 h 1289399"/>
                    <a:gd name="connsiteX3" fmla="*/ 1197864 w 1289589"/>
                    <a:gd name="connsiteY3" fmla="*/ 711898 h 1289399"/>
                    <a:gd name="connsiteX4" fmla="*/ 1197293 w 1289589"/>
                    <a:gd name="connsiteY4" fmla="*/ 578263 h 1289399"/>
                    <a:gd name="connsiteX5" fmla="*/ 1289590 w 1289589"/>
                    <a:gd name="connsiteY5" fmla="*/ 567214 h 1289399"/>
                    <a:gd name="connsiteX6" fmla="*/ 1242250 w 1289589"/>
                    <a:gd name="connsiteY6" fmla="*/ 390239 h 1289399"/>
                    <a:gd name="connsiteX7" fmla="*/ 1156049 w 1289589"/>
                    <a:gd name="connsiteY7" fmla="*/ 427006 h 1289399"/>
                    <a:gd name="connsiteX8" fmla="*/ 1089184 w 1289589"/>
                    <a:gd name="connsiteY8" fmla="*/ 311753 h 1289399"/>
                    <a:gd name="connsiteX9" fmla="*/ 1164336 w 1289589"/>
                    <a:gd name="connsiteY9" fmla="*/ 255365 h 1289399"/>
                    <a:gd name="connsiteX10" fmla="*/ 1035082 w 1289589"/>
                    <a:gd name="connsiteY10" fmla="*/ 125730 h 1289399"/>
                    <a:gd name="connsiteX11" fmla="*/ 978694 w 1289589"/>
                    <a:gd name="connsiteY11" fmla="*/ 200596 h 1289399"/>
                    <a:gd name="connsiteX12" fmla="*/ 863632 w 1289589"/>
                    <a:gd name="connsiteY12" fmla="*/ 133255 h 1289399"/>
                    <a:gd name="connsiteX13" fmla="*/ 900208 w 1289589"/>
                    <a:gd name="connsiteY13" fmla="*/ 47625 h 1289399"/>
                    <a:gd name="connsiteX14" fmla="*/ 723900 w 1289589"/>
                    <a:gd name="connsiteY14" fmla="*/ 286 h 1289399"/>
                    <a:gd name="connsiteX15" fmla="*/ 723900 w 1289589"/>
                    <a:gd name="connsiteY15" fmla="*/ 286 h 1289399"/>
                    <a:gd name="connsiteX16" fmla="*/ 715518 w 1289589"/>
                    <a:gd name="connsiteY16" fmla="*/ 65913 h 1289399"/>
                    <a:gd name="connsiteX17" fmla="*/ 712375 w 1289589"/>
                    <a:gd name="connsiteY17" fmla="*/ 91630 h 1289399"/>
                    <a:gd name="connsiteX18" fmla="*/ 709613 w 1289589"/>
                    <a:gd name="connsiteY18" fmla="*/ 91250 h 1289399"/>
                    <a:gd name="connsiteX19" fmla="*/ 578644 w 1289589"/>
                    <a:gd name="connsiteY19" fmla="*/ 90583 h 1289399"/>
                    <a:gd name="connsiteX20" fmla="*/ 567880 w 1289589"/>
                    <a:gd name="connsiteY20" fmla="*/ 0 h 1289399"/>
                    <a:gd name="connsiteX21" fmla="*/ 390906 w 1289589"/>
                    <a:gd name="connsiteY21" fmla="*/ 47244 h 1289399"/>
                    <a:gd name="connsiteX22" fmla="*/ 426244 w 1289589"/>
                    <a:gd name="connsiteY22" fmla="*/ 130016 h 1289399"/>
                    <a:gd name="connsiteX23" fmla="*/ 309277 w 1289589"/>
                    <a:gd name="connsiteY23" fmla="*/ 196025 h 1289399"/>
                    <a:gd name="connsiteX24" fmla="*/ 256032 w 1289589"/>
                    <a:gd name="connsiteY24" fmla="*/ 124873 h 1289399"/>
                    <a:gd name="connsiteX25" fmla="*/ 126301 w 1289589"/>
                    <a:gd name="connsiteY25" fmla="*/ 254032 h 1289399"/>
                    <a:gd name="connsiteX26" fmla="*/ 195929 w 1289589"/>
                    <a:gd name="connsiteY26" fmla="*/ 306610 h 1289399"/>
                    <a:gd name="connsiteX27" fmla="*/ 127063 w 1289589"/>
                    <a:gd name="connsiteY27" fmla="*/ 422720 h 1289399"/>
                    <a:gd name="connsiteX28" fmla="*/ 48006 w 1289589"/>
                    <a:gd name="connsiteY28" fmla="*/ 388906 h 1289399"/>
                    <a:gd name="connsiteX29" fmla="*/ 571 w 1289589"/>
                    <a:gd name="connsiteY29" fmla="*/ 564928 h 1289399"/>
                    <a:gd name="connsiteX30" fmla="*/ 571 w 1289589"/>
                    <a:gd name="connsiteY30" fmla="*/ 564928 h 1289399"/>
                    <a:gd name="connsiteX31" fmla="*/ 571 w 1289589"/>
                    <a:gd name="connsiteY31" fmla="*/ 565595 h 1289399"/>
                    <a:gd name="connsiteX32" fmla="*/ 83248 w 1289589"/>
                    <a:gd name="connsiteY32" fmla="*/ 575786 h 1289399"/>
                    <a:gd name="connsiteX33" fmla="*/ 84487 w 1289589"/>
                    <a:gd name="connsiteY33" fmla="*/ 575977 h 1289399"/>
                    <a:gd name="connsiteX34" fmla="*/ 84010 w 1289589"/>
                    <a:gd name="connsiteY34" fmla="*/ 579025 h 1289399"/>
                    <a:gd name="connsiteX35" fmla="*/ 83439 w 1289589"/>
                    <a:gd name="connsiteY35" fmla="*/ 711518 h 1289399"/>
                    <a:gd name="connsiteX36" fmla="*/ 0 w 1289589"/>
                    <a:gd name="connsiteY36" fmla="*/ 721423 h 1289399"/>
                    <a:gd name="connsiteX37" fmla="*/ 47149 w 1289589"/>
                    <a:gd name="connsiteY37" fmla="*/ 898398 h 1289399"/>
                    <a:gd name="connsiteX38" fmla="*/ 124016 w 1289589"/>
                    <a:gd name="connsiteY38" fmla="*/ 865727 h 1289399"/>
                    <a:gd name="connsiteX39" fmla="*/ 191643 w 1289589"/>
                    <a:gd name="connsiteY39" fmla="*/ 983456 h 1289399"/>
                    <a:gd name="connsiteX40" fmla="*/ 124873 w 1289589"/>
                    <a:gd name="connsiteY40" fmla="*/ 1033367 h 1289399"/>
                    <a:gd name="connsiteX41" fmla="*/ 253937 w 1289589"/>
                    <a:gd name="connsiteY41" fmla="*/ 1163098 h 1289399"/>
                    <a:gd name="connsiteX42" fmla="*/ 304324 w 1289589"/>
                    <a:gd name="connsiteY42" fmla="*/ 1096423 h 1289399"/>
                    <a:gd name="connsiteX43" fmla="*/ 421862 w 1289589"/>
                    <a:gd name="connsiteY43" fmla="*/ 1164241 h 1289399"/>
                    <a:gd name="connsiteX44" fmla="*/ 388810 w 1289589"/>
                    <a:gd name="connsiteY44" fmla="*/ 1241393 h 1289399"/>
                    <a:gd name="connsiteX45" fmla="*/ 565213 w 1289589"/>
                    <a:gd name="connsiteY45" fmla="*/ 1288923 h 1289399"/>
                    <a:gd name="connsiteX46" fmla="*/ 565499 w 1289589"/>
                    <a:gd name="connsiteY46" fmla="*/ 1288923 h 1289399"/>
                    <a:gd name="connsiteX47" fmla="*/ 575691 w 1289589"/>
                    <a:gd name="connsiteY47" fmla="*/ 1204913 h 1289399"/>
                    <a:gd name="connsiteX48" fmla="*/ 711232 w 1289589"/>
                    <a:gd name="connsiteY48" fmla="*/ 1204341 h 1289399"/>
                    <a:gd name="connsiteX49" fmla="*/ 721233 w 1289589"/>
                    <a:gd name="connsiteY49" fmla="*/ 1289399 h 1289399"/>
                    <a:gd name="connsiteX50" fmla="*/ 898303 w 1289589"/>
                    <a:gd name="connsiteY50" fmla="*/ 1242346 h 1289399"/>
                    <a:gd name="connsiteX51" fmla="*/ 864203 w 1289589"/>
                    <a:gd name="connsiteY51" fmla="*/ 1162050 h 1289399"/>
                    <a:gd name="connsiteX52" fmla="*/ 980313 w 1289589"/>
                    <a:gd name="connsiteY52" fmla="*/ 1093851 h 1289399"/>
                    <a:gd name="connsiteX53" fmla="*/ 1033367 w 1289589"/>
                    <a:gd name="connsiteY53" fmla="*/ 1164812 h 1289399"/>
                    <a:gd name="connsiteX54" fmla="*/ 1163193 w 1289589"/>
                    <a:gd name="connsiteY54" fmla="*/ 1035748 h 1289399"/>
                    <a:gd name="connsiteX55" fmla="*/ 1091374 w 1289589"/>
                    <a:gd name="connsiteY55" fmla="*/ 981456 h 1289399"/>
                    <a:gd name="connsiteX56" fmla="*/ 1157764 w 1289589"/>
                    <a:gd name="connsiteY56" fmla="*/ 865060 h 1289399"/>
                    <a:gd name="connsiteX57" fmla="*/ 1241489 w 1289589"/>
                    <a:gd name="connsiteY57" fmla="*/ 900970 h 1289399"/>
                    <a:gd name="connsiteX58" fmla="*/ 589121 w 1289589"/>
                    <a:gd name="connsiteY58" fmla="*/ 1065085 h 1289399"/>
                    <a:gd name="connsiteX59" fmla="*/ 223552 w 1289589"/>
                    <a:gd name="connsiteY59" fmla="*/ 596360 h 1289399"/>
                    <a:gd name="connsiteX60" fmla="*/ 692277 w 1289589"/>
                    <a:gd name="connsiteY60" fmla="*/ 230791 h 1289399"/>
                    <a:gd name="connsiteX61" fmla="*/ 1057847 w 1289589"/>
                    <a:gd name="connsiteY61" fmla="*/ 699516 h 1289399"/>
                    <a:gd name="connsiteX62" fmla="*/ 589121 w 1289589"/>
                    <a:gd name="connsiteY62" fmla="*/ 1065085 h 1289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1289589" h="1289399">
                      <a:moveTo>
                        <a:pt x="1241489" y="901065"/>
                      </a:moveTo>
                      <a:cubicBezTo>
                        <a:pt x="1265587" y="844963"/>
                        <a:pt x="1281589" y="785527"/>
                        <a:pt x="1289209" y="724376"/>
                      </a:cubicBezTo>
                      <a:lnTo>
                        <a:pt x="1289209" y="723424"/>
                      </a:lnTo>
                      <a:cubicBezTo>
                        <a:pt x="1289209" y="723424"/>
                        <a:pt x="1197864" y="711898"/>
                        <a:pt x="1197864" y="711898"/>
                      </a:cubicBezTo>
                      <a:cubicBezTo>
                        <a:pt x="1203103" y="666559"/>
                        <a:pt x="1202722" y="621792"/>
                        <a:pt x="1197293" y="578263"/>
                      </a:cubicBezTo>
                      <a:lnTo>
                        <a:pt x="1289590" y="567214"/>
                      </a:lnTo>
                      <a:cubicBezTo>
                        <a:pt x="1282351" y="506349"/>
                        <a:pt x="1266349" y="446818"/>
                        <a:pt x="1242250" y="390239"/>
                      </a:cubicBezTo>
                      <a:lnTo>
                        <a:pt x="1156049" y="427006"/>
                      </a:lnTo>
                      <a:cubicBezTo>
                        <a:pt x="1138333" y="385953"/>
                        <a:pt x="1115854" y="347281"/>
                        <a:pt x="1089184" y="311753"/>
                      </a:cubicBezTo>
                      <a:lnTo>
                        <a:pt x="1164336" y="255365"/>
                      </a:lnTo>
                      <a:cubicBezTo>
                        <a:pt x="1127474" y="206216"/>
                        <a:pt x="1084040" y="162592"/>
                        <a:pt x="1035082" y="125730"/>
                      </a:cubicBezTo>
                      <a:lnTo>
                        <a:pt x="978694" y="200596"/>
                      </a:lnTo>
                      <a:cubicBezTo>
                        <a:pt x="943451" y="173926"/>
                        <a:pt x="904970" y="151162"/>
                        <a:pt x="863632" y="133255"/>
                      </a:cubicBezTo>
                      <a:lnTo>
                        <a:pt x="900208" y="47625"/>
                      </a:lnTo>
                      <a:cubicBezTo>
                        <a:pt x="844391" y="23813"/>
                        <a:pt x="785336" y="7906"/>
                        <a:pt x="723900" y="286"/>
                      </a:cubicBezTo>
                      <a:cubicBezTo>
                        <a:pt x="723900" y="286"/>
                        <a:pt x="723900" y="286"/>
                        <a:pt x="723900" y="286"/>
                      </a:cubicBezTo>
                      <a:lnTo>
                        <a:pt x="715518" y="65913"/>
                      </a:lnTo>
                      <a:lnTo>
                        <a:pt x="712375" y="91630"/>
                      </a:lnTo>
                      <a:cubicBezTo>
                        <a:pt x="711422" y="91535"/>
                        <a:pt x="710565" y="91345"/>
                        <a:pt x="709613" y="91250"/>
                      </a:cubicBezTo>
                      <a:cubicBezTo>
                        <a:pt x="665131" y="85725"/>
                        <a:pt x="621316" y="85820"/>
                        <a:pt x="578644" y="90583"/>
                      </a:cubicBezTo>
                      <a:lnTo>
                        <a:pt x="567880" y="0"/>
                      </a:lnTo>
                      <a:cubicBezTo>
                        <a:pt x="507016" y="7239"/>
                        <a:pt x="447389" y="23146"/>
                        <a:pt x="390906" y="47244"/>
                      </a:cubicBezTo>
                      <a:lnTo>
                        <a:pt x="426244" y="130016"/>
                      </a:lnTo>
                      <a:cubicBezTo>
                        <a:pt x="384620" y="147352"/>
                        <a:pt x="345376" y="169545"/>
                        <a:pt x="309277" y="196025"/>
                      </a:cubicBezTo>
                      <a:lnTo>
                        <a:pt x="256032" y="124873"/>
                      </a:lnTo>
                      <a:cubicBezTo>
                        <a:pt x="206883" y="161639"/>
                        <a:pt x="163259" y="205168"/>
                        <a:pt x="126301" y="254032"/>
                      </a:cubicBezTo>
                      <a:lnTo>
                        <a:pt x="195929" y="306610"/>
                      </a:lnTo>
                      <a:cubicBezTo>
                        <a:pt x="168592" y="342043"/>
                        <a:pt x="145447" y="381000"/>
                        <a:pt x="127063" y="422720"/>
                      </a:cubicBezTo>
                      <a:lnTo>
                        <a:pt x="48006" y="388906"/>
                      </a:lnTo>
                      <a:cubicBezTo>
                        <a:pt x="24098" y="444817"/>
                        <a:pt x="8096" y="504063"/>
                        <a:pt x="571" y="564928"/>
                      </a:cubicBezTo>
                      <a:lnTo>
                        <a:pt x="571" y="564928"/>
                      </a:lnTo>
                      <a:cubicBezTo>
                        <a:pt x="571" y="564928"/>
                        <a:pt x="571" y="565595"/>
                        <a:pt x="571" y="565595"/>
                      </a:cubicBezTo>
                      <a:lnTo>
                        <a:pt x="83248" y="575786"/>
                      </a:lnTo>
                      <a:lnTo>
                        <a:pt x="84487" y="575977"/>
                      </a:lnTo>
                      <a:cubicBezTo>
                        <a:pt x="84392" y="577025"/>
                        <a:pt x="84201" y="577977"/>
                        <a:pt x="84010" y="579025"/>
                      </a:cubicBezTo>
                      <a:cubicBezTo>
                        <a:pt x="78486" y="623983"/>
                        <a:pt x="78581" y="668369"/>
                        <a:pt x="83439" y="711518"/>
                      </a:cubicBezTo>
                      <a:lnTo>
                        <a:pt x="0" y="721423"/>
                      </a:lnTo>
                      <a:cubicBezTo>
                        <a:pt x="7239" y="782288"/>
                        <a:pt x="23050" y="841915"/>
                        <a:pt x="47149" y="898398"/>
                      </a:cubicBezTo>
                      <a:lnTo>
                        <a:pt x="124016" y="865727"/>
                      </a:lnTo>
                      <a:cubicBezTo>
                        <a:pt x="141827" y="907637"/>
                        <a:pt x="164497" y="947166"/>
                        <a:pt x="191643" y="983456"/>
                      </a:cubicBezTo>
                      <a:lnTo>
                        <a:pt x="124873" y="1033367"/>
                      </a:lnTo>
                      <a:cubicBezTo>
                        <a:pt x="161639" y="1082516"/>
                        <a:pt x="205073" y="1126236"/>
                        <a:pt x="253937" y="1163098"/>
                      </a:cubicBezTo>
                      <a:lnTo>
                        <a:pt x="304324" y="1096423"/>
                      </a:lnTo>
                      <a:cubicBezTo>
                        <a:pt x="340233" y="1123474"/>
                        <a:pt x="379667" y="1146334"/>
                        <a:pt x="421862" y="1164241"/>
                      </a:cubicBezTo>
                      <a:lnTo>
                        <a:pt x="388810" y="1241393"/>
                      </a:lnTo>
                      <a:cubicBezTo>
                        <a:pt x="444817" y="1265396"/>
                        <a:pt x="504158" y="1281398"/>
                        <a:pt x="565213" y="1288923"/>
                      </a:cubicBezTo>
                      <a:lnTo>
                        <a:pt x="565499" y="1288923"/>
                      </a:lnTo>
                      <a:cubicBezTo>
                        <a:pt x="565499" y="1288923"/>
                        <a:pt x="575691" y="1204913"/>
                        <a:pt x="575691" y="1204913"/>
                      </a:cubicBezTo>
                      <a:cubicBezTo>
                        <a:pt x="621697" y="1210247"/>
                        <a:pt x="667131" y="1209961"/>
                        <a:pt x="711232" y="1204341"/>
                      </a:cubicBezTo>
                      <a:lnTo>
                        <a:pt x="721233" y="1289399"/>
                      </a:lnTo>
                      <a:cubicBezTo>
                        <a:pt x="782193" y="1282256"/>
                        <a:pt x="841724" y="1266349"/>
                        <a:pt x="898303" y="1242346"/>
                      </a:cubicBezTo>
                      <a:lnTo>
                        <a:pt x="864203" y="1162050"/>
                      </a:lnTo>
                      <a:cubicBezTo>
                        <a:pt x="905637" y="1143953"/>
                        <a:pt x="944594" y="1120997"/>
                        <a:pt x="980313" y="1093851"/>
                      </a:cubicBezTo>
                      <a:lnTo>
                        <a:pt x="1033367" y="1164812"/>
                      </a:lnTo>
                      <a:cubicBezTo>
                        <a:pt x="1082612" y="1128046"/>
                        <a:pt x="1126236" y="1084612"/>
                        <a:pt x="1163193" y="1035748"/>
                      </a:cubicBezTo>
                      <a:lnTo>
                        <a:pt x="1091374" y="981456"/>
                      </a:lnTo>
                      <a:cubicBezTo>
                        <a:pt x="1117854" y="945833"/>
                        <a:pt x="1140238" y="906780"/>
                        <a:pt x="1157764" y="865060"/>
                      </a:cubicBezTo>
                      <a:lnTo>
                        <a:pt x="1241489" y="900970"/>
                      </a:lnTo>
                      <a:close/>
                      <a:moveTo>
                        <a:pt x="589121" y="1065085"/>
                      </a:moveTo>
                      <a:cubicBezTo>
                        <a:pt x="359092" y="1036606"/>
                        <a:pt x="195072" y="826389"/>
                        <a:pt x="223552" y="596360"/>
                      </a:cubicBezTo>
                      <a:cubicBezTo>
                        <a:pt x="252031" y="366331"/>
                        <a:pt x="462248" y="202311"/>
                        <a:pt x="692277" y="230791"/>
                      </a:cubicBezTo>
                      <a:cubicBezTo>
                        <a:pt x="922306" y="259271"/>
                        <a:pt x="1086326" y="469487"/>
                        <a:pt x="1057847" y="699516"/>
                      </a:cubicBezTo>
                      <a:cubicBezTo>
                        <a:pt x="1029367" y="929545"/>
                        <a:pt x="819150" y="1093565"/>
                        <a:pt x="589121" y="1065085"/>
                      </a:cubicBezTo>
                      <a:close/>
                    </a:path>
                  </a:pathLst>
                </a:custGeom>
                <a:solidFill>
                  <a:srgbClr val="FFD5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: Shape 189">
                  <a:extLst>
                    <a:ext uri="{FF2B5EF4-FFF2-40B4-BE49-F238E27FC236}">
                      <a16:creationId xmlns:a16="http://schemas.microsoft.com/office/drawing/2014/main" id="{5B5870D3-DBEC-A9F7-CFB3-AA7E3AF6CCD1}"/>
                    </a:ext>
                  </a:extLst>
                </p:cNvPr>
                <p:cNvSpPr/>
                <p:nvPr/>
              </p:nvSpPr>
              <p:spPr>
                <a:xfrm>
                  <a:off x="5759005" y="2810256"/>
                  <a:ext cx="644652" cy="644652"/>
                </a:xfrm>
                <a:custGeom>
                  <a:avLst/>
                  <a:gdLst>
                    <a:gd name="connsiteX0" fmla="*/ 644652 w 644652"/>
                    <a:gd name="connsiteY0" fmla="*/ 322326 h 644652"/>
                    <a:gd name="connsiteX1" fmla="*/ 322326 w 644652"/>
                    <a:gd name="connsiteY1" fmla="*/ 644652 h 644652"/>
                    <a:gd name="connsiteX2" fmla="*/ 0 w 644652"/>
                    <a:gd name="connsiteY2" fmla="*/ 322326 h 644652"/>
                    <a:gd name="connsiteX3" fmla="*/ 322326 w 644652"/>
                    <a:gd name="connsiteY3" fmla="*/ 0 h 644652"/>
                    <a:gd name="connsiteX4" fmla="*/ 644652 w 644652"/>
                    <a:gd name="connsiteY4" fmla="*/ 322326 h 6446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4652" h="644652">
                      <a:moveTo>
                        <a:pt x="644652" y="322326"/>
                      </a:moveTo>
                      <a:cubicBezTo>
                        <a:pt x="644652" y="500342"/>
                        <a:pt x="500342" y="644652"/>
                        <a:pt x="322326" y="644652"/>
                      </a:cubicBezTo>
                      <a:cubicBezTo>
                        <a:pt x="144310" y="644652"/>
                        <a:pt x="0" y="500342"/>
                        <a:pt x="0" y="322326"/>
                      </a:cubicBezTo>
                      <a:cubicBezTo>
                        <a:pt x="0" y="144310"/>
                        <a:pt x="144310" y="0"/>
                        <a:pt x="322326" y="0"/>
                      </a:cubicBezTo>
                      <a:cubicBezTo>
                        <a:pt x="500342" y="0"/>
                        <a:pt x="644652" y="144310"/>
                        <a:pt x="644652" y="322326"/>
                      </a:cubicBezTo>
                      <a:close/>
                    </a:path>
                  </a:pathLst>
                </a:custGeom>
                <a:solidFill>
                  <a:srgbClr val="FDFDF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: Shape 190">
                  <a:extLst>
                    <a:ext uri="{FF2B5EF4-FFF2-40B4-BE49-F238E27FC236}">
                      <a16:creationId xmlns:a16="http://schemas.microsoft.com/office/drawing/2014/main" id="{0A99517D-57A8-8691-8721-469C1B77A299}"/>
                    </a:ext>
                  </a:extLst>
                </p:cNvPr>
                <p:cNvSpPr/>
                <p:nvPr/>
              </p:nvSpPr>
              <p:spPr>
                <a:xfrm>
                  <a:off x="5967412" y="3103054"/>
                  <a:ext cx="91820" cy="91820"/>
                </a:xfrm>
                <a:custGeom>
                  <a:avLst/>
                  <a:gdLst>
                    <a:gd name="connsiteX0" fmla="*/ 91821 w 91820"/>
                    <a:gd name="connsiteY0" fmla="*/ 45911 h 91820"/>
                    <a:gd name="connsiteX1" fmla="*/ 45911 w 91820"/>
                    <a:gd name="connsiteY1" fmla="*/ 91821 h 91820"/>
                    <a:gd name="connsiteX2" fmla="*/ 0 w 91820"/>
                    <a:gd name="connsiteY2" fmla="*/ 45911 h 91820"/>
                    <a:gd name="connsiteX3" fmla="*/ 45911 w 91820"/>
                    <a:gd name="connsiteY3" fmla="*/ 0 h 91820"/>
                    <a:gd name="connsiteX4" fmla="*/ 91821 w 91820"/>
                    <a:gd name="connsiteY4" fmla="*/ 45911 h 91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820" h="91820">
                      <a:moveTo>
                        <a:pt x="91821" y="45911"/>
                      </a:moveTo>
                      <a:cubicBezTo>
                        <a:pt x="91821" y="71247"/>
                        <a:pt x="71247" y="91821"/>
                        <a:pt x="45911" y="91821"/>
                      </a:cubicBezTo>
                      <a:cubicBezTo>
                        <a:pt x="20574" y="91821"/>
                        <a:pt x="0" y="71247"/>
                        <a:pt x="0" y="45911"/>
                      </a:cubicBezTo>
                      <a:cubicBezTo>
                        <a:pt x="0" y="20574"/>
                        <a:pt x="20574" y="0"/>
                        <a:pt x="45911" y="0"/>
                      </a:cubicBezTo>
                      <a:cubicBezTo>
                        <a:pt x="71247" y="0"/>
                        <a:pt x="91821" y="20574"/>
                        <a:pt x="91821" y="45911"/>
                      </a:cubicBezTo>
                      <a:close/>
                    </a:path>
                  </a:pathLst>
                </a:custGeom>
                <a:noFill/>
                <a:ln w="28575" cap="flat">
                  <a:solidFill>
                    <a:srgbClr val="3B55C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: Shape 191">
                  <a:extLst>
                    <a:ext uri="{FF2B5EF4-FFF2-40B4-BE49-F238E27FC236}">
                      <a16:creationId xmlns:a16="http://schemas.microsoft.com/office/drawing/2014/main" id="{6DC31C38-769D-2634-5F67-5EEA4E92059F}"/>
                    </a:ext>
                  </a:extLst>
                </p:cNvPr>
                <p:cNvSpPr/>
                <p:nvPr/>
              </p:nvSpPr>
              <p:spPr>
                <a:xfrm>
                  <a:off x="6103334" y="3103054"/>
                  <a:ext cx="91820" cy="91820"/>
                </a:xfrm>
                <a:custGeom>
                  <a:avLst/>
                  <a:gdLst>
                    <a:gd name="connsiteX0" fmla="*/ 91821 w 91820"/>
                    <a:gd name="connsiteY0" fmla="*/ 45911 h 91820"/>
                    <a:gd name="connsiteX1" fmla="*/ 45910 w 91820"/>
                    <a:gd name="connsiteY1" fmla="*/ 91821 h 91820"/>
                    <a:gd name="connsiteX2" fmla="*/ 0 w 91820"/>
                    <a:gd name="connsiteY2" fmla="*/ 45911 h 91820"/>
                    <a:gd name="connsiteX3" fmla="*/ 45910 w 91820"/>
                    <a:gd name="connsiteY3" fmla="*/ 0 h 91820"/>
                    <a:gd name="connsiteX4" fmla="*/ 91821 w 91820"/>
                    <a:gd name="connsiteY4" fmla="*/ 45911 h 91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1820" h="91820">
                      <a:moveTo>
                        <a:pt x="91821" y="45911"/>
                      </a:moveTo>
                      <a:cubicBezTo>
                        <a:pt x="91821" y="71247"/>
                        <a:pt x="71247" y="91821"/>
                        <a:pt x="45910" y="91821"/>
                      </a:cubicBezTo>
                      <a:cubicBezTo>
                        <a:pt x="20574" y="91821"/>
                        <a:pt x="0" y="71247"/>
                        <a:pt x="0" y="45911"/>
                      </a:cubicBezTo>
                      <a:cubicBezTo>
                        <a:pt x="0" y="20574"/>
                        <a:pt x="20574" y="0"/>
                        <a:pt x="45910" y="0"/>
                      </a:cubicBezTo>
                      <a:cubicBezTo>
                        <a:pt x="71247" y="0"/>
                        <a:pt x="91821" y="20574"/>
                        <a:pt x="91821" y="45911"/>
                      </a:cubicBezTo>
                      <a:close/>
                    </a:path>
                  </a:pathLst>
                </a:custGeom>
                <a:noFill/>
                <a:ln w="28575" cap="flat">
                  <a:solidFill>
                    <a:srgbClr val="3B55C5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grpSp>
              <p:nvGrpSpPr>
                <p:cNvPr id="193" name="Graphic 2">
                  <a:extLst>
                    <a:ext uri="{FF2B5EF4-FFF2-40B4-BE49-F238E27FC236}">
                      <a16:creationId xmlns:a16="http://schemas.microsoft.com/office/drawing/2014/main" id="{0DAB7341-D13E-E2D4-3E29-274EF6F8D60C}"/>
                    </a:ext>
                  </a:extLst>
                </p:cNvPr>
                <p:cNvGrpSpPr/>
                <p:nvPr/>
              </p:nvGrpSpPr>
              <p:grpSpPr>
                <a:xfrm>
                  <a:off x="6013418" y="3196971"/>
                  <a:ext cx="135826" cy="902779"/>
                  <a:chOff x="6013418" y="3196971"/>
                  <a:chExt cx="135826" cy="902779"/>
                </a:xfrm>
              </p:grpSpPr>
              <p:sp>
                <p:nvSpPr>
                  <p:cNvPr id="197" name="Freeform: Shape 196">
                    <a:extLst>
                      <a:ext uri="{FF2B5EF4-FFF2-40B4-BE49-F238E27FC236}">
                        <a16:creationId xmlns:a16="http://schemas.microsoft.com/office/drawing/2014/main" id="{1C0C74D5-656C-4CF6-4760-572F7AD4AFC1}"/>
                      </a:ext>
                    </a:extLst>
                  </p:cNvPr>
                  <p:cNvSpPr/>
                  <p:nvPr/>
                </p:nvSpPr>
                <p:spPr>
                  <a:xfrm>
                    <a:off x="6013418" y="3196971"/>
                    <a:ext cx="9525" cy="902779"/>
                  </a:xfrm>
                  <a:custGeom>
                    <a:avLst/>
                    <a:gdLst>
                      <a:gd name="connsiteX0" fmla="*/ 0 w 9525"/>
                      <a:gd name="connsiteY0" fmla="*/ 0 h 902779"/>
                      <a:gd name="connsiteX1" fmla="*/ 0 w 9525"/>
                      <a:gd name="connsiteY1" fmla="*/ 902780 h 90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525" h="902779">
                        <a:moveTo>
                          <a:pt x="0" y="0"/>
                        </a:moveTo>
                        <a:lnTo>
                          <a:pt x="0" y="902780"/>
                        </a:lnTo>
                      </a:path>
                    </a:pathLst>
                  </a:custGeom>
                  <a:ln w="28575" cap="flat">
                    <a:solidFill>
                      <a:srgbClr val="3B55C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98" name="Freeform: Shape 197">
                    <a:extLst>
                      <a:ext uri="{FF2B5EF4-FFF2-40B4-BE49-F238E27FC236}">
                        <a16:creationId xmlns:a16="http://schemas.microsoft.com/office/drawing/2014/main" id="{6CE818B6-ECB6-2E09-E89C-FC58A4410DEE}"/>
                      </a:ext>
                    </a:extLst>
                  </p:cNvPr>
                  <p:cNvSpPr/>
                  <p:nvPr/>
                </p:nvSpPr>
                <p:spPr>
                  <a:xfrm>
                    <a:off x="6149244" y="3196971"/>
                    <a:ext cx="9525" cy="902779"/>
                  </a:xfrm>
                  <a:custGeom>
                    <a:avLst/>
                    <a:gdLst>
                      <a:gd name="connsiteX0" fmla="*/ 0 w 9525"/>
                      <a:gd name="connsiteY0" fmla="*/ 0 h 902779"/>
                      <a:gd name="connsiteX1" fmla="*/ 0 w 9525"/>
                      <a:gd name="connsiteY1" fmla="*/ 902780 h 90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525" h="902779">
                        <a:moveTo>
                          <a:pt x="0" y="0"/>
                        </a:moveTo>
                        <a:lnTo>
                          <a:pt x="0" y="902780"/>
                        </a:lnTo>
                      </a:path>
                    </a:pathLst>
                  </a:custGeom>
                  <a:ln w="28575" cap="flat">
                    <a:solidFill>
                      <a:srgbClr val="3B55C5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94" name="Freeform: Shape 193">
                  <a:extLst>
                    <a:ext uri="{FF2B5EF4-FFF2-40B4-BE49-F238E27FC236}">
                      <a16:creationId xmlns:a16="http://schemas.microsoft.com/office/drawing/2014/main" id="{81EC9553-1D7A-03C7-4F50-0530989B7F80}"/>
                    </a:ext>
                  </a:extLst>
                </p:cNvPr>
                <p:cNvSpPr/>
                <p:nvPr/>
              </p:nvSpPr>
              <p:spPr>
                <a:xfrm>
                  <a:off x="5717571" y="4078605"/>
                  <a:ext cx="727329" cy="727328"/>
                </a:xfrm>
                <a:custGeom>
                  <a:avLst/>
                  <a:gdLst>
                    <a:gd name="connsiteX0" fmla="*/ 95 w 727329"/>
                    <a:gd name="connsiteY0" fmla="*/ 0 h 727328"/>
                    <a:gd name="connsiteX1" fmla="*/ 727329 w 727329"/>
                    <a:gd name="connsiteY1" fmla="*/ 0 h 727328"/>
                    <a:gd name="connsiteX2" fmla="*/ 727329 w 727329"/>
                    <a:gd name="connsiteY2" fmla="*/ 363664 h 727328"/>
                    <a:gd name="connsiteX3" fmla="*/ 363664 w 727329"/>
                    <a:gd name="connsiteY3" fmla="*/ 727329 h 727328"/>
                    <a:gd name="connsiteX4" fmla="*/ 363664 w 727329"/>
                    <a:gd name="connsiteY4" fmla="*/ 727329 h 727328"/>
                    <a:gd name="connsiteX5" fmla="*/ 0 w 727329"/>
                    <a:gd name="connsiteY5" fmla="*/ 363664 h 727328"/>
                    <a:gd name="connsiteX6" fmla="*/ 0 w 727329"/>
                    <a:gd name="connsiteY6" fmla="*/ 0 h 727328"/>
                    <a:gd name="connsiteX7" fmla="*/ 0 w 727329"/>
                    <a:gd name="connsiteY7" fmla="*/ 0 h 7273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27329" h="727328">
                      <a:moveTo>
                        <a:pt x="95" y="0"/>
                      </a:moveTo>
                      <a:lnTo>
                        <a:pt x="727329" y="0"/>
                      </a:lnTo>
                      <a:lnTo>
                        <a:pt x="727329" y="363664"/>
                      </a:lnTo>
                      <a:cubicBezTo>
                        <a:pt x="727329" y="564356"/>
                        <a:pt x="564356" y="727329"/>
                        <a:pt x="363664" y="727329"/>
                      </a:cubicBezTo>
                      <a:lnTo>
                        <a:pt x="363664" y="727329"/>
                      </a:lnTo>
                      <a:cubicBezTo>
                        <a:pt x="162973" y="727329"/>
                        <a:pt x="0" y="564356"/>
                        <a:pt x="0" y="363664"/>
                      </a:cubicBez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90D9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: Shape 194">
                  <a:extLst>
                    <a:ext uri="{FF2B5EF4-FFF2-40B4-BE49-F238E27FC236}">
                      <a16:creationId xmlns:a16="http://schemas.microsoft.com/office/drawing/2014/main" id="{DFD38DE3-CF19-B121-D537-2AAE12091B37}"/>
                    </a:ext>
                  </a:extLst>
                </p:cNvPr>
                <p:cNvSpPr/>
                <p:nvPr/>
              </p:nvSpPr>
              <p:spPr>
                <a:xfrm>
                  <a:off x="5600700" y="4193095"/>
                  <a:ext cx="961167" cy="77533"/>
                </a:xfrm>
                <a:custGeom>
                  <a:avLst/>
                  <a:gdLst>
                    <a:gd name="connsiteX0" fmla="*/ 922401 w 961167"/>
                    <a:gd name="connsiteY0" fmla="*/ 77533 h 77533"/>
                    <a:gd name="connsiteX1" fmla="*/ 38767 w 961167"/>
                    <a:gd name="connsiteY1" fmla="*/ 77533 h 77533"/>
                    <a:gd name="connsiteX2" fmla="*/ 0 w 961167"/>
                    <a:gd name="connsiteY2" fmla="*/ 38767 h 77533"/>
                    <a:gd name="connsiteX3" fmla="*/ 0 w 961167"/>
                    <a:gd name="connsiteY3" fmla="*/ 38767 h 77533"/>
                    <a:gd name="connsiteX4" fmla="*/ 38767 w 961167"/>
                    <a:gd name="connsiteY4" fmla="*/ 0 h 77533"/>
                    <a:gd name="connsiteX5" fmla="*/ 922401 w 961167"/>
                    <a:gd name="connsiteY5" fmla="*/ 0 h 77533"/>
                    <a:gd name="connsiteX6" fmla="*/ 961168 w 961167"/>
                    <a:gd name="connsiteY6" fmla="*/ 38767 h 77533"/>
                    <a:gd name="connsiteX7" fmla="*/ 961168 w 961167"/>
                    <a:gd name="connsiteY7" fmla="*/ 38767 h 77533"/>
                    <a:gd name="connsiteX8" fmla="*/ 922401 w 961167"/>
                    <a:gd name="connsiteY8" fmla="*/ 77533 h 77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61167" h="77533">
                      <a:moveTo>
                        <a:pt x="922401" y="77533"/>
                      </a:moveTo>
                      <a:lnTo>
                        <a:pt x="38767" y="77533"/>
                      </a:lnTo>
                      <a:cubicBezTo>
                        <a:pt x="17431" y="77533"/>
                        <a:pt x="0" y="60103"/>
                        <a:pt x="0" y="38767"/>
                      </a:cubicBezTo>
                      <a:lnTo>
                        <a:pt x="0" y="38767"/>
                      </a:lnTo>
                      <a:cubicBezTo>
                        <a:pt x="0" y="17431"/>
                        <a:pt x="17431" y="0"/>
                        <a:pt x="38767" y="0"/>
                      </a:cubicBezTo>
                      <a:lnTo>
                        <a:pt x="922401" y="0"/>
                      </a:lnTo>
                      <a:cubicBezTo>
                        <a:pt x="943737" y="0"/>
                        <a:pt x="961168" y="17431"/>
                        <a:pt x="961168" y="38767"/>
                      </a:cubicBezTo>
                      <a:lnTo>
                        <a:pt x="961168" y="38767"/>
                      </a:lnTo>
                      <a:cubicBezTo>
                        <a:pt x="961168" y="60103"/>
                        <a:pt x="943737" y="77533"/>
                        <a:pt x="922401" y="77533"/>
                      </a:cubicBezTo>
                      <a:close/>
                    </a:path>
                  </a:pathLst>
                </a:custGeom>
                <a:solidFill>
                  <a:srgbClr val="3B55C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: Shape 195">
                  <a:extLst>
                    <a:ext uri="{FF2B5EF4-FFF2-40B4-BE49-F238E27FC236}">
                      <a16:creationId xmlns:a16="http://schemas.microsoft.com/office/drawing/2014/main" id="{80349392-3FEF-1FB3-D43C-DF56C21F53D0}"/>
                    </a:ext>
                  </a:extLst>
                </p:cNvPr>
                <p:cNvSpPr/>
                <p:nvPr/>
              </p:nvSpPr>
              <p:spPr>
                <a:xfrm>
                  <a:off x="5600700" y="4338351"/>
                  <a:ext cx="961167" cy="77533"/>
                </a:xfrm>
                <a:custGeom>
                  <a:avLst/>
                  <a:gdLst>
                    <a:gd name="connsiteX0" fmla="*/ 922401 w 961167"/>
                    <a:gd name="connsiteY0" fmla="*/ 77533 h 77533"/>
                    <a:gd name="connsiteX1" fmla="*/ 38767 w 961167"/>
                    <a:gd name="connsiteY1" fmla="*/ 77533 h 77533"/>
                    <a:gd name="connsiteX2" fmla="*/ 0 w 961167"/>
                    <a:gd name="connsiteY2" fmla="*/ 38767 h 77533"/>
                    <a:gd name="connsiteX3" fmla="*/ 0 w 961167"/>
                    <a:gd name="connsiteY3" fmla="*/ 38767 h 77533"/>
                    <a:gd name="connsiteX4" fmla="*/ 38767 w 961167"/>
                    <a:gd name="connsiteY4" fmla="*/ 0 h 77533"/>
                    <a:gd name="connsiteX5" fmla="*/ 922401 w 961167"/>
                    <a:gd name="connsiteY5" fmla="*/ 0 h 77533"/>
                    <a:gd name="connsiteX6" fmla="*/ 961168 w 961167"/>
                    <a:gd name="connsiteY6" fmla="*/ 38767 h 77533"/>
                    <a:gd name="connsiteX7" fmla="*/ 961168 w 961167"/>
                    <a:gd name="connsiteY7" fmla="*/ 38767 h 77533"/>
                    <a:gd name="connsiteX8" fmla="*/ 922401 w 961167"/>
                    <a:gd name="connsiteY8" fmla="*/ 77533 h 77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61167" h="77533">
                      <a:moveTo>
                        <a:pt x="922401" y="77533"/>
                      </a:moveTo>
                      <a:lnTo>
                        <a:pt x="38767" y="77533"/>
                      </a:lnTo>
                      <a:cubicBezTo>
                        <a:pt x="17431" y="77533"/>
                        <a:pt x="0" y="60103"/>
                        <a:pt x="0" y="38767"/>
                      </a:cubicBezTo>
                      <a:lnTo>
                        <a:pt x="0" y="38767"/>
                      </a:lnTo>
                      <a:cubicBezTo>
                        <a:pt x="0" y="17431"/>
                        <a:pt x="17431" y="0"/>
                        <a:pt x="38767" y="0"/>
                      </a:cubicBezTo>
                      <a:lnTo>
                        <a:pt x="922401" y="0"/>
                      </a:lnTo>
                      <a:cubicBezTo>
                        <a:pt x="943737" y="0"/>
                        <a:pt x="961168" y="17431"/>
                        <a:pt x="961168" y="38767"/>
                      </a:cubicBezTo>
                      <a:lnTo>
                        <a:pt x="961168" y="38767"/>
                      </a:lnTo>
                      <a:cubicBezTo>
                        <a:pt x="961168" y="60103"/>
                        <a:pt x="943737" y="77533"/>
                        <a:pt x="922401" y="77533"/>
                      </a:cubicBezTo>
                      <a:close/>
                    </a:path>
                  </a:pathLst>
                </a:custGeom>
                <a:solidFill>
                  <a:srgbClr val="3B55C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1911449B-117F-1D89-2675-B6C2898BC0ED}"/>
                  </a:ext>
                </a:extLst>
              </p:cNvPr>
              <p:cNvSpPr/>
              <p:nvPr/>
            </p:nvSpPr>
            <p:spPr>
              <a:xfrm>
                <a:off x="5104393" y="2229135"/>
                <a:ext cx="2064783" cy="1807480"/>
              </a:xfrm>
              <a:custGeom>
                <a:avLst/>
                <a:gdLst>
                  <a:gd name="connsiteX0" fmla="*/ 1814186 w 2064783"/>
                  <a:gd name="connsiteY0" fmla="*/ 0 h 1807480"/>
                  <a:gd name="connsiteX1" fmla="*/ 2014687 w 2064783"/>
                  <a:gd name="connsiteY1" fmla="*/ 83153 h 1807480"/>
                  <a:gd name="connsiteX2" fmla="*/ 1349080 w 2064783"/>
                  <a:gd name="connsiteY2" fmla="*/ 1282732 h 1807480"/>
                  <a:gd name="connsiteX3" fmla="*/ 50061 w 2064783"/>
                  <a:gd name="connsiteY3" fmla="*/ 1723835 h 1807480"/>
                  <a:gd name="connsiteX4" fmla="*/ 531 w 2064783"/>
                  <a:gd name="connsiteY4" fmla="*/ 1547908 h 18074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64783" h="1807480">
                    <a:moveTo>
                      <a:pt x="1814186" y="0"/>
                    </a:moveTo>
                    <a:cubicBezTo>
                      <a:pt x="1901816" y="3905"/>
                      <a:pt x="1970967" y="30766"/>
                      <a:pt x="2014687" y="83153"/>
                    </a:cubicBezTo>
                    <a:cubicBezTo>
                      <a:pt x="2189661" y="292608"/>
                      <a:pt x="1891624" y="829723"/>
                      <a:pt x="1349080" y="1282732"/>
                    </a:cubicBezTo>
                    <a:cubicBezTo>
                      <a:pt x="806536" y="1735836"/>
                      <a:pt x="224940" y="1933289"/>
                      <a:pt x="50061" y="1723835"/>
                    </a:cubicBezTo>
                    <a:cubicBezTo>
                      <a:pt x="12532" y="1678877"/>
                      <a:pt x="-3184" y="1618964"/>
                      <a:pt x="531" y="1547908"/>
                    </a:cubicBezTo>
                  </a:path>
                </a:pathLst>
              </a:custGeom>
              <a:noFill/>
              <a:ln w="1905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76778992-17D4-4F1D-04BF-BF29BFC4A58F}"/>
                  </a:ext>
                </a:extLst>
              </p:cNvPr>
              <p:cNvSpPr/>
              <p:nvPr/>
            </p:nvSpPr>
            <p:spPr>
              <a:xfrm>
                <a:off x="4967523" y="2282380"/>
                <a:ext cx="2298221" cy="1471853"/>
              </a:xfrm>
              <a:custGeom>
                <a:avLst/>
                <a:gdLst>
                  <a:gd name="connsiteX0" fmla="*/ 2277001 w 2298221"/>
                  <a:gd name="connsiteY0" fmla="*/ 1116330 h 1471853"/>
                  <a:gd name="connsiteX1" fmla="*/ 2273477 w 2298221"/>
                  <a:gd name="connsiteY1" fmla="*/ 1333310 h 1471853"/>
                  <a:gd name="connsiteX2" fmla="*/ 913117 w 2298221"/>
                  <a:gd name="connsiteY2" fmla="*/ 1156240 h 1471853"/>
                  <a:gd name="connsiteX3" fmla="*/ 24720 w 2298221"/>
                  <a:gd name="connsiteY3" fmla="*/ 110871 h 1471853"/>
                  <a:gd name="connsiteX4" fmla="*/ 169976 w 2298221"/>
                  <a:gd name="connsiteY4" fmla="*/ 0 h 147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98221" h="1471853">
                    <a:moveTo>
                      <a:pt x="2277001" y="1116330"/>
                    </a:moveTo>
                    <a:cubicBezTo>
                      <a:pt x="2305672" y="1199198"/>
                      <a:pt x="2306053" y="1273397"/>
                      <a:pt x="2273477" y="1333310"/>
                    </a:cubicBezTo>
                    <a:cubicBezTo>
                      <a:pt x="2143175" y="1573054"/>
                      <a:pt x="1534051" y="1493806"/>
                      <a:pt x="913117" y="1156240"/>
                    </a:cubicBezTo>
                    <a:cubicBezTo>
                      <a:pt x="292182" y="818674"/>
                      <a:pt x="-105582" y="350615"/>
                      <a:pt x="24720" y="110871"/>
                    </a:cubicBezTo>
                    <a:cubicBezTo>
                      <a:pt x="52628" y="59436"/>
                      <a:pt x="102634" y="22669"/>
                      <a:pt x="169976" y="0"/>
                    </a:cubicBezTo>
                  </a:path>
                </a:pathLst>
              </a:custGeom>
              <a:noFill/>
              <a:ln w="19050" cap="flat">
                <a:solidFill>
                  <a:schemeClr val="accent6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9C140827-E2A7-AC95-5C7B-1DE6F7D774CE}"/>
                  </a:ext>
                </a:extLst>
              </p:cNvPr>
              <p:cNvSpPr/>
              <p:nvPr/>
            </p:nvSpPr>
            <p:spPr>
              <a:xfrm>
                <a:off x="4919376" y="2462021"/>
                <a:ext cx="96202" cy="96202"/>
              </a:xfrm>
              <a:custGeom>
                <a:avLst/>
                <a:gdLst>
                  <a:gd name="connsiteX0" fmla="*/ 96202 w 96202"/>
                  <a:gd name="connsiteY0" fmla="*/ 48101 h 96202"/>
                  <a:gd name="connsiteX1" fmla="*/ 48101 w 96202"/>
                  <a:gd name="connsiteY1" fmla="*/ 96203 h 96202"/>
                  <a:gd name="connsiteX2" fmla="*/ 0 w 96202"/>
                  <a:gd name="connsiteY2" fmla="*/ 48101 h 96202"/>
                  <a:gd name="connsiteX3" fmla="*/ 48101 w 96202"/>
                  <a:gd name="connsiteY3" fmla="*/ 0 h 96202"/>
                  <a:gd name="connsiteX4" fmla="*/ 96202 w 96202"/>
                  <a:gd name="connsiteY4" fmla="*/ 48101 h 96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02" h="96202">
                    <a:moveTo>
                      <a:pt x="96202" y="48101"/>
                    </a:moveTo>
                    <a:cubicBezTo>
                      <a:pt x="96202" y="74676"/>
                      <a:pt x="74676" y="96203"/>
                      <a:pt x="48101" y="96203"/>
                    </a:cubicBezTo>
                    <a:cubicBezTo>
                      <a:pt x="21527" y="96203"/>
                      <a:pt x="0" y="74676"/>
                      <a:pt x="0" y="48101"/>
                    </a:cubicBezTo>
                    <a:cubicBezTo>
                      <a:pt x="0" y="21527"/>
                      <a:pt x="21527" y="0"/>
                      <a:pt x="48101" y="0"/>
                    </a:cubicBezTo>
                    <a:cubicBezTo>
                      <a:pt x="74676" y="0"/>
                      <a:pt x="96202" y="21527"/>
                      <a:pt x="96202" y="4810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07EC8511-C088-E60C-5535-18D85749AB73}"/>
                  </a:ext>
                </a:extLst>
              </p:cNvPr>
              <p:cNvSpPr/>
              <p:nvPr/>
            </p:nvSpPr>
            <p:spPr>
              <a:xfrm>
                <a:off x="7196423" y="3324891"/>
                <a:ext cx="96202" cy="96202"/>
              </a:xfrm>
              <a:custGeom>
                <a:avLst/>
                <a:gdLst>
                  <a:gd name="connsiteX0" fmla="*/ 96203 w 96202"/>
                  <a:gd name="connsiteY0" fmla="*/ 48101 h 96202"/>
                  <a:gd name="connsiteX1" fmla="*/ 48101 w 96202"/>
                  <a:gd name="connsiteY1" fmla="*/ 96202 h 96202"/>
                  <a:gd name="connsiteX2" fmla="*/ 0 w 96202"/>
                  <a:gd name="connsiteY2" fmla="*/ 48101 h 96202"/>
                  <a:gd name="connsiteX3" fmla="*/ 48101 w 96202"/>
                  <a:gd name="connsiteY3" fmla="*/ 0 h 96202"/>
                  <a:gd name="connsiteX4" fmla="*/ 96203 w 96202"/>
                  <a:gd name="connsiteY4" fmla="*/ 48101 h 96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02" h="96202">
                    <a:moveTo>
                      <a:pt x="96203" y="48101"/>
                    </a:moveTo>
                    <a:cubicBezTo>
                      <a:pt x="96203" y="74676"/>
                      <a:pt x="74676" y="96202"/>
                      <a:pt x="48101" y="96202"/>
                    </a:cubicBezTo>
                    <a:cubicBezTo>
                      <a:pt x="21527" y="96202"/>
                      <a:pt x="0" y="74676"/>
                      <a:pt x="0" y="48101"/>
                    </a:cubicBezTo>
                    <a:cubicBezTo>
                      <a:pt x="0" y="21526"/>
                      <a:pt x="21527" y="0"/>
                      <a:pt x="48101" y="0"/>
                    </a:cubicBezTo>
                    <a:cubicBezTo>
                      <a:pt x="74676" y="0"/>
                      <a:pt x="96203" y="21526"/>
                      <a:pt x="96203" y="4810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99CADCB7-D930-8141-0311-C390ED263126}"/>
                  </a:ext>
                </a:extLst>
              </p:cNvPr>
              <p:cNvSpPr/>
              <p:nvPr/>
            </p:nvSpPr>
            <p:spPr>
              <a:xfrm>
                <a:off x="6822376" y="2183320"/>
                <a:ext cx="96202" cy="96202"/>
              </a:xfrm>
              <a:custGeom>
                <a:avLst/>
                <a:gdLst>
                  <a:gd name="connsiteX0" fmla="*/ 96202 w 96202"/>
                  <a:gd name="connsiteY0" fmla="*/ 48101 h 96202"/>
                  <a:gd name="connsiteX1" fmla="*/ 48101 w 96202"/>
                  <a:gd name="connsiteY1" fmla="*/ 96202 h 96202"/>
                  <a:gd name="connsiteX2" fmla="*/ 0 w 96202"/>
                  <a:gd name="connsiteY2" fmla="*/ 48101 h 96202"/>
                  <a:gd name="connsiteX3" fmla="*/ 48101 w 96202"/>
                  <a:gd name="connsiteY3" fmla="*/ 0 h 96202"/>
                  <a:gd name="connsiteX4" fmla="*/ 96202 w 96202"/>
                  <a:gd name="connsiteY4" fmla="*/ 48101 h 96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02" h="96202">
                    <a:moveTo>
                      <a:pt x="96202" y="48101"/>
                    </a:moveTo>
                    <a:cubicBezTo>
                      <a:pt x="96202" y="74676"/>
                      <a:pt x="74676" y="96202"/>
                      <a:pt x="48101" y="96202"/>
                    </a:cubicBezTo>
                    <a:cubicBezTo>
                      <a:pt x="21526" y="96202"/>
                      <a:pt x="0" y="74676"/>
                      <a:pt x="0" y="48101"/>
                    </a:cubicBezTo>
                    <a:cubicBezTo>
                      <a:pt x="0" y="21527"/>
                      <a:pt x="21526" y="0"/>
                      <a:pt x="48101" y="0"/>
                    </a:cubicBezTo>
                    <a:cubicBezTo>
                      <a:pt x="74676" y="0"/>
                      <a:pt x="96202" y="21527"/>
                      <a:pt x="96202" y="48101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B6390A21-DA82-B065-59FB-B78BE73CA472}"/>
                  </a:ext>
                </a:extLst>
              </p:cNvPr>
              <p:cNvSpPr/>
              <p:nvPr/>
            </p:nvSpPr>
            <p:spPr>
              <a:xfrm>
                <a:off x="5390197" y="3982402"/>
                <a:ext cx="96202" cy="96202"/>
              </a:xfrm>
              <a:custGeom>
                <a:avLst/>
                <a:gdLst>
                  <a:gd name="connsiteX0" fmla="*/ 96203 w 96202"/>
                  <a:gd name="connsiteY0" fmla="*/ 48101 h 96202"/>
                  <a:gd name="connsiteX1" fmla="*/ 48101 w 96202"/>
                  <a:gd name="connsiteY1" fmla="*/ 96203 h 96202"/>
                  <a:gd name="connsiteX2" fmla="*/ 0 w 96202"/>
                  <a:gd name="connsiteY2" fmla="*/ 48101 h 96202"/>
                  <a:gd name="connsiteX3" fmla="*/ 48101 w 96202"/>
                  <a:gd name="connsiteY3" fmla="*/ 0 h 96202"/>
                  <a:gd name="connsiteX4" fmla="*/ 96203 w 96202"/>
                  <a:gd name="connsiteY4" fmla="*/ 48101 h 96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02" h="96202">
                    <a:moveTo>
                      <a:pt x="96203" y="48101"/>
                    </a:moveTo>
                    <a:cubicBezTo>
                      <a:pt x="96203" y="74676"/>
                      <a:pt x="74676" y="96203"/>
                      <a:pt x="48101" y="96203"/>
                    </a:cubicBezTo>
                    <a:cubicBezTo>
                      <a:pt x="21527" y="96203"/>
                      <a:pt x="0" y="74676"/>
                      <a:pt x="0" y="48101"/>
                    </a:cubicBezTo>
                    <a:cubicBezTo>
                      <a:pt x="0" y="21526"/>
                      <a:pt x="21527" y="0"/>
                      <a:pt x="48101" y="0"/>
                    </a:cubicBezTo>
                    <a:cubicBezTo>
                      <a:pt x="74676" y="0"/>
                      <a:pt x="96203" y="21526"/>
                      <a:pt x="96203" y="48101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2" name="TextBox 171">
            <a:extLst>
              <a:ext uri="{FF2B5EF4-FFF2-40B4-BE49-F238E27FC236}">
                <a16:creationId xmlns:a16="http://schemas.microsoft.com/office/drawing/2014/main" id="{DC6381E0-3C6C-8587-D861-89843E7A76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485497" y="3178426"/>
            <a:ext cx="3657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557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siness transformation at scale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CCC87775-952E-81E7-4ED8-24B248AE0E7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368792" y="2034049"/>
            <a:ext cx="3385534" cy="8679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Business Model Innovation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D891F18-4659-ADE0-485A-03F988B1645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87954" y="1788375"/>
            <a:ext cx="2926080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11557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31843D14-699E-5E5E-86DC-38123A91764C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66700" y="4610287"/>
            <a:ext cx="3007015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Innovation</a:t>
            </a:r>
          </a:p>
        </p:txBody>
      </p:sp>
      <p:grpSp>
        <p:nvGrpSpPr>
          <p:cNvPr id="1070" name="Group 1069">
            <a:extLst>
              <a:ext uri="{FF2B5EF4-FFF2-40B4-BE49-F238E27FC236}">
                <a16:creationId xmlns:a16="http://schemas.microsoft.com/office/drawing/2014/main" id="{7FAB1348-ED00-D26C-2000-CEA9664855D0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254471" y="3613248"/>
            <a:ext cx="447357" cy="370884"/>
            <a:chOff x="-1806635" y="2329176"/>
            <a:chExt cx="1534009" cy="1271778"/>
          </a:xfrm>
          <a:solidFill>
            <a:schemeClr val="bg1"/>
          </a:solidFill>
        </p:grpSpPr>
        <p:sp>
          <p:nvSpPr>
            <p:cNvPr id="1039" name="Freeform: Shape 1038">
              <a:extLst>
                <a:ext uri="{FF2B5EF4-FFF2-40B4-BE49-F238E27FC236}">
                  <a16:creationId xmlns:a16="http://schemas.microsoft.com/office/drawing/2014/main" id="{73B8E796-CFBF-8E0E-CCE0-FA668A39AD9D}"/>
                </a:ext>
              </a:extLst>
            </p:cNvPr>
            <p:cNvSpPr/>
            <p:nvPr/>
          </p:nvSpPr>
          <p:spPr>
            <a:xfrm>
              <a:off x="-1093806" y="2531014"/>
              <a:ext cx="157328" cy="969369"/>
            </a:xfrm>
            <a:custGeom>
              <a:avLst/>
              <a:gdLst>
                <a:gd name="connsiteX0" fmla="*/ 157328 w 157328"/>
                <a:gd name="connsiteY0" fmla="*/ 969370 h 969369"/>
                <a:gd name="connsiteX1" fmla="*/ 0 w 157328"/>
                <a:gd name="connsiteY1" fmla="*/ 969370 h 969369"/>
                <a:gd name="connsiteX2" fmla="*/ 0 w 157328"/>
                <a:gd name="connsiteY2" fmla="*/ 10392 h 969369"/>
                <a:gd name="connsiteX3" fmla="*/ 12496 w 157328"/>
                <a:gd name="connsiteY3" fmla="*/ 2392 h 969369"/>
                <a:gd name="connsiteX4" fmla="*/ 142636 w 157328"/>
                <a:gd name="connsiteY4" fmla="*/ 2235 h 969369"/>
                <a:gd name="connsiteX5" fmla="*/ 156858 w 157328"/>
                <a:gd name="connsiteY5" fmla="*/ 10862 h 969369"/>
                <a:gd name="connsiteX6" fmla="*/ 157276 w 157328"/>
                <a:gd name="connsiteY6" fmla="*/ 199615 h 969369"/>
                <a:gd name="connsiteX7" fmla="*/ 157276 w 157328"/>
                <a:gd name="connsiteY7" fmla="*/ 523527 h 969369"/>
                <a:gd name="connsiteX8" fmla="*/ 157276 w 157328"/>
                <a:gd name="connsiteY8" fmla="*/ 969370 h 969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328" h="969369">
                  <a:moveTo>
                    <a:pt x="157328" y="969370"/>
                  </a:moveTo>
                  <a:lnTo>
                    <a:pt x="0" y="969370"/>
                  </a:lnTo>
                  <a:lnTo>
                    <a:pt x="0" y="10392"/>
                  </a:lnTo>
                  <a:cubicBezTo>
                    <a:pt x="0" y="4693"/>
                    <a:pt x="7947" y="2915"/>
                    <a:pt x="12496" y="2392"/>
                  </a:cubicBezTo>
                  <a:cubicBezTo>
                    <a:pt x="42404" y="-850"/>
                    <a:pt x="112467" y="-693"/>
                    <a:pt x="142636" y="2235"/>
                  </a:cubicBezTo>
                  <a:cubicBezTo>
                    <a:pt x="149695" y="2915"/>
                    <a:pt x="153512" y="3804"/>
                    <a:pt x="156858" y="10862"/>
                  </a:cubicBezTo>
                  <a:lnTo>
                    <a:pt x="157276" y="199615"/>
                  </a:lnTo>
                  <a:cubicBezTo>
                    <a:pt x="78795" y="291691"/>
                    <a:pt x="72730" y="433647"/>
                    <a:pt x="157276" y="523527"/>
                  </a:cubicBezTo>
                  <a:lnTo>
                    <a:pt x="157276" y="969370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4" name="Freeform: Shape 1043">
              <a:extLst>
                <a:ext uri="{FF2B5EF4-FFF2-40B4-BE49-F238E27FC236}">
                  <a16:creationId xmlns:a16="http://schemas.microsoft.com/office/drawing/2014/main" id="{9F4AB258-E8FC-E9B9-B9C8-50C0E4684082}"/>
                </a:ext>
              </a:extLst>
            </p:cNvPr>
            <p:cNvSpPr/>
            <p:nvPr/>
          </p:nvSpPr>
          <p:spPr>
            <a:xfrm>
              <a:off x="-962525" y="2687374"/>
              <a:ext cx="689899" cy="646666"/>
            </a:xfrm>
            <a:custGeom>
              <a:avLst/>
              <a:gdLst>
                <a:gd name="connsiteX0" fmla="*/ 65734 w 689899"/>
                <a:gd name="connsiteY0" fmla="*/ 56744 h 646666"/>
                <a:gd name="connsiteX1" fmla="*/ 389541 w 689899"/>
                <a:gd name="connsiteY1" fmla="*/ 301861 h 646666"/>
                <a:gd name="connsiteX2" fmla="*/ 378143 w 689899"/>
                <a:gd name="connsiteY2" fmla="*/ 320318 h 646666"/>
                <a:gd name="connsiteX3" fmla="*/ 398952 w 689899"/>
                <a:gd name="connsiteY3" fmla="*/ 343062 h 646666"/>
                <a:gd name="connsiteX4" fmla="*/ 435500 w 689899"/>
                <a:gd name="connsiteY4" fmla="*/ 352212 h 646666"/>
                <a:gd name="connsiteX5" fmla="*/ 677219 w 689899"/>
                <a:gd name="connsiteY5" fmla="*/ 546037 h 646666"/>
                <a:gd name="connsiteX6" fmla="*/ 679258 w 689899"/>
                <a:gd name="connsiteY6" fmla="*/ 575944 h 646666"/>
                <a:gd name="connsiteX7" fmla="*/ 689611 w 689899"/>
                <a:gd name="connsiteY7" fmla="*/ 597277 h 646666"/>
                <a:gd name="connsiteX8" fmla="*/ 649455 w 689899"/>
                <a:gd name="connsiteY8" fmla="*/ 643916 h 646666"/>
                <a:gd name="connsiteX9" fmla="*/ 624096 w 689899"/>
                <a:gd name="connsiteY9" fmla="*/ 637694 h 646666"/>
                <a:gd name="connsiteX10" fmla="*/ 590529 w 689899"/>
                <a:gd name="connsiteY10" fmla="*/ 635028 h 646666"/>
                <a:gd name="connsiteX11" fmla="*/ 425200 w 689899"/>
                <a:gd name="connsiteY11" fmla="*/ 460549 h 646666"/>
                <a:gd name="connsiteX12" fmla="*/ 362300 w 689899"/>
                <a:gd name="connsiteY12" fmla="*/ 395714 h 646666"/>
                <a:gd name="connsiteX13" fmla="*/ 365594 w 689899"/>
                <a:gd name="connsiteY13" fmla="*/ 376525 h 646666"/>
                <a:gd name="connsiteX14" fmla="*/ 348392 w 689899"/>
                <a:gd name="connsiteY14" fmla="*/ 359480 h 646666"/>
                <a:gd name="connsiteX15" fmla="*/ 300550 w 689899"/>
                <a:gd name="connsiteY15" fmla="*/ 390800 h 646666"/>
                <a:gd name="connsiteX16" fmla="*/ 65681 w 689899"/>
                <a:gd name="connsiteY16" fmla="*/ 56692 h 646666"/>
                <a:gd name="connsiteX17" fmla="*/ 187508 w 689899"/>
                <a:gd name="connsiteY17" fmla="*/ 42836 h 646666"/>
                <a:gd name="connsiteX18" fmla="*/ 63956 w 689899"/>
                <a:gd name="connsiteY18" fmla="*/ 292763 h 646666"/>
                <a:gd name="connsiteX19" fmla="*/ 348026 w 689899"/>
                <a:gd name="connsiteY19" fmla="*/ 294593 h 646666"/>
                <a:gd name="connsiteX20" fmla="*/ 187508 w 689899"/>
                <a:gd name="connsiteY20" fmla="*/ 42836 h 646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9899" h="646666">
                  <a:moveTo>
                    <a:pt x="65734" y="56744"/>
                  </a:moveTo>
                  <a:cubicBezTo>
                    <a:pt x="228186" y="-96820"/>
                    <a:pt x="491133" y="87018"/>
                    <a:pt x="389541" y="301861"/>
                  </a:cubicBezTo>
                  <a:cubicBezTo>
                    <a:pt x="387031" y="307142"/>
                    <a:pt x="379293" y="316292"/>
                    <a:pt x="378143" y="320318"/>
                  </a:cubicBezTo>
                  <a:cubicBezTo>
                    <a:pt x="375894" y="328370"/>
                    <a:pt x="394195" y="337102"/>
                    <a:pt x="398952" y="343062"/>
                  </a:cubicBezTo>
                  <a:cubicBezTo>
                    <a:pt x="414847" y="325442"/>
                    <a:pt x="423997" y="343324"/>
                    <a:pt x="435500" y="352212"/>
                  </a:cubicBezTo>
                  <a:cubicBezTo>
                    <a:pt x="517328" y="415217"/>
                    <a:pt x="596489" y="481673"/>
                    <a:pt x="677219" y="546037"/>
                  </a:cubicBezTo>
                  <a:cubicBezTo>
                    <a:pt x="688931" y="562298"/>
                    <a:pt x="677898" y="569513"/>
                    <a:pt x="679258" y="575944"/>
                  </a:cubicBezTo>
                  <a:cubicBezTo>
                    <a:pt x="680827" y="583369"/>
                    <a:pt x="691807" y="583944"/>
                    <a:pt x="689611" y="597277"/>
                  </a:cubicBezTo>
                  <a:cubicBezTo>
                    <a:pt x="688670" y="602924"/>
                    <a:pt x="655206" y="640884"/>
                    <a:pt x="649455" y="643916"/>
                  </a:cubicBezTo>
                  <a:cubicBezTo>
                    <a:pt x="634083" y="652073"/>
                    <a:pt x="632566" y="639681"/>
                    <a:pt x="624096" y="637694"/>
                  </a:cubicBezTo>
                  <a:cubicBezTo>
                    <a:pt x="615626" y="635707"/>
                    <a:pt x="611757" y="651654"/>
                    <a:pt x="590529" y="635028"/>
                  </a:cubicBezTo>
                  <a:cubicBezTo>
                    <a:pt x="534216" y="577984"/>
                    <a:pt x="480414" y="518639"/>
                    <a:pt x="425200" y="460549"/>
                  </a:cubicBezTo>
                  <a:cubicBezTo>
                    <a:pt x="414847" y="449674"/>
                    <a:pt x="365071" y="404132"/>
                    <a:pt x="362300" y="395714"/>
                  </a:cubicBezTo>
                  <a:cubicBezTo>
                    <a:pt x="359529" y="387296"/>
                    <a:pt x="361830" y="383689"/>
                    <a:pt x="365594" y="376525"/>
                  </a:cubicBezTo>
                  <a:lnTo>
                    <a:pt x="348392" y="359480"/>
                  </a:lnTo>
                  <a:cubicBezTo>
                    <a:pt x="331817" y="368421"/>
                    <a:pt x="317909" y="382120"/>
                    <a:pt x="300550" y="390800"/>
                  </a:cubicBezTo>
                  <a:cubicBezTo>
                    <a:pt x="87589" y="497463"/>
                    <a:pt x="-105294" y="218360"/>
                    <a:pt x="65681" y="56692"/>
                  </a:cubicBezTo>
                  <a:close/>
                  <a:moveTo>
                    <a:pt x="187508" y="42836"/>
                  </a:moveTo>
                  <a:cubicBezTo>
                    <a:pt x="67459" y="54078"/>
                    <a:pt x="4245" y="189708"/>
                    <a:pt x="63956" y="292763"/>
                  </a:cubicBezTo>
                  <a:cubicBezTo>
                    <a:pt x="125288" y="398747"/>
                    <a:pt x="285126" y="400054"/>
                    <a:pt x="348026" y="294593"/>
                  </a:cubicBezTo>
                  <a:cubicBezTo>
                    <a:pt x="420338" y="173342"/>
                    <a:pt x="327059" y="29765"/>
                    <a:pt x="187508" y="42836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E28F728E-478D-B597-128A-852A8A858A22}"/>
                </a:ext>
              </a:extLst>
            </p:cNvPr>
            <p:cNvSpPr/>
            <p:nvPr/>
          </p:nvSpPr>
          <p:spPr>
            <a:xfrm>
              <a:off x="-1394764" y="2942147"/>
              <a:ext cx="157380" cy="558236"/>
            </a:xfrm>
            <a:custGeom>
              <a:avLst/>
              <a:gdLst>
                <a:gd name="connsiteX0" fmla="*/ 157328 w 157380"/>
                <a:gd name="connsiteY0" fmla="*/ 558236 h 558236"/>
                <a:gd name="connsiteX1" fmla="*/ 0 w 157380"/>
                <a:gd name="connsiteY1" fmla="*/ 558236 h 558236"/>
                <a:gd name="connsiteX2" fmla="*/ 2405 w 157380"/>
                <a:gd name="connsiteY2" fmla="*/ 548093 h 558236"/>
                <a:gd name="connsiteX3" fmla="*/ 2405 w 157380"/>
                <a:gd name="connsiteY3" fmla="*/ 246821 h 558236"/>
                <a:gd name="connsiteX4" fmla="*/ 2405 w 157380"/>
                <a:gd name="connsiteY4" fmla="*/ 27899 h 558236"/>
                <a:gd name="connsiteX5" fmla="*/ 12444 w 157380"/>
                <a:gd name="connsiteY5" fmla="*/ 1652 h 558236"/>
                <a:gd name="connsiteX6" fmla="*/ 144937 w 157380"/>
                <a:gd name="connsiteY6" fmla="*/ 1652 h 558236"/>
                <a:gd name="connsiteX7" fmla="*/ 157381 w 157380"/>
                <a:gd name="connsiteY7" fmla="*/ 9756 h 558236"/>
                <a:gd name="connsiteX8" fmla="*/ 157381 w 157380"/>
                <a:gd name="connsiteY8" fmla="*/ 558236 h 55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7380" h="558236">
                  <a:moveTo>
                    <a:pt x="157328" y="558236"/>
                  </a:moveTo>
                  <a:lnTo>
                    <a:pt x="0" y="558236"/>
                  </a:lnTo>
                  <a:cubicBezTo>
                    <a:pt x="1673" y="554786"/>
                    <a:pt x="2301" y="552014"/>
                    <a:pt x="2405" y="548093"/>
                  </a:cubicBezTo>
                  <a:cubicBezTo>
                    <a:pt x="4915" y="447913"/>
                    <a:pt x="2353" y="347367"/>
                    <a:pt x="2405" y="246821"/>
                  </a:cubicBezTo>
                  <a:cubicBezTo>
                    <a:pt x="2405" y="174352"/>
                    <a:pt x="2614" y="101204"/>
                    <a:pt x="2405" y="27899"/>
                  </a:cubicBezTo>
                  <a:cubicBezTo>
                    <a:pt x="2405" y="17756"/>
                    <a:pt x="-4811" y="3952"/>
                    <a:pt x="12444" y="1652"/>
                  </a:cubicBezTo>
                  <a:cubicBezTo>
                    <a:pt x="52234" y="-3682"/>
                    <a:pt x="103788" y="5991"/>
                    <a:pt x="144937" y="1652"/>
                  </a:cubicBezTo>
                  <a:cubicBezTo>
                    <a:pt x="148283" y="188"/>
                    <a:pt x="157381" y="8344"/>
                    <a:pt x="157381" y="9756"/>
                  </a:cubicBezTo>
                  <a:lnTo>
                    <a:pt x="157381" y="558236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6" name="Freeform: Shape 1045">
              <a:extLst>
                <a:ext uri="{FF2B5EF4-FFF2-40B4-BE49-F238E27FC236}">
                  <a16:creationId xmlns:a16="http://schemas.microsoft.com/office/drawing/2014/main" id="{9C3098B6-641B-1487-B580-D77A0DF1FE44}"/>
                </a:ext>
              </a:extLst>
            </p:cNvPr>
            <p:cNvSpPr/>
            <p:nvPr/>
          </p:nvSpPr>
          <p:spPr>
            <a:xfrm>
              <a:off x="-1806635" y="3534310"/>
              <a:ext cx="1242128" cy="66644"/>
            </a:xfrm>
            <a:custGeom>
              <a:avLst/>
              <a:gdLst>
                <a:gd name="connsiteX0" fmla="*/ 14445 w 1242128"/>
                <a:gd name="connsiteY0" fmla="*/ 3039 h 66644"/>
                <a:gd name="connsiteX1" fmla="*/ 447321 w 1242128"/>
                <a:gd name="connsiteY1" fmla="*/ 2464 h 66644"/>
                <a:gd name="connsiteX2" fmla="*/ 992560 w 1242128"/>
                <a:gd name="connsiteY2" fmla="*/ 4033 h 66644"/>
                <a:gd name="connsiteX3" fmla="*/ 1220318 w 1242128"/>
                <a:gd name="connsiteY3" fmla="*/ 2516 h 66644"/>
                <a:gd name="connsiteX4" fmla="*/ 1239245 w 1242128"/>
                <a:gd name="connsiteY4" fmla="*/ 11144 h 66644"/>
                <a:gd name="connsiteX5" fmla="*/ 1240709 w 1242128"/>
                <a:gd name="connsiteY5" fmla="*/ 57312 h 66644"/>
                <a:gd name="connsiteX6" fmla="*/ 1222618 w 1242128"/>
                <a:gd name="connsiteY6" fmla="*/ 66567 h 66644"/>
                <a:gd name="connsiteX7" fmla="*/ 16170 w 1242128"/>
                <a:gd name="connsiteY7" fmla="*/ 66567 h 66644"/>
                <a:gd name="connsiteX8" fmla="*/ 1269 w 1242128"/>
                <a:gd name="connsiteY8" fmla="*/ 54018 h 66644"/>
                <a:gd name="connsiteX9" fmla="*/ 14393 w 1242128"/>
                <a:gd name="connsiteY9" fmla="*/ 3092 h 66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2128" h="66644">
                  <a:moveTo>
                    <a:pt x="14445" y="3039"/>
                  </a:moveTo>
                  <a:cubicBezTo>
                    <a:pt x="158702" y="2255"/>
                    <a:pt x="303011" y="2516"/>
                    <a:pt x="447321" y="2464"/>
                  </a:cubicBezTo>
                  <a:cubicBezTo>
                    <a:pt x="626244" y="2412"/>
                    <a:pt x="811022" y="3667"/>
                    <a:pt x="992560" y="4033"/>
                  </a:cubicBezTo>
                  <a:cubicBezTo>
                    <a:pt x="1064087" y="4137"/>
                    <a:pt x="1150463" y="-3967"/>
                    <a:pt x="1220318" y="2516"/>
                  </a:cubicBezTo>
                  <a:cubicBezTo>
                    <a:pt x="1227742" y="3196"/>
                    <a:pt x="1235428" y="3824"/>
                    <a:pt x="1239245" y="11144"/>
                  </a:cubicBezTo>
                  <a:cubicBezTo>
                    <a:pt x="1242278" y="17000"/>
                    <a:pt x="1243167" y="51875"/>
                    <a:pt x="1240709" y="57312"/>
                  </a:cubicBezTo>
                  <a:cubicBezTo>
                    <a:pt x="1238252" y="62750"/>
                    <a:pt x="1228579" y="67299"/>
                    <a:pt x="1222618" y="66567"/>
                  </a:cubicBezTo>
                  <a:lnTo>
                    <a:pt x="16170" y="66567"/>
                  </a:lnTo>
                  <a:cubicBezTo>
                    <a:pt x="7804" y="65521"/>
                    <a:pt x="2471" y="62855"/>
                    <a:pt x="1269" y="54018"/>
                  </a:cubicBezTo>
                  <a:cubicBezTo>
                    <a:pt x="-561" y="40110"/>
                    <a:pt x="-2966" y="6176"/>
                    <a:pt x="14393" y="3092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8" name="Freeform: Shape 1047">
              <a:extLst>
                <a:ext uri="{FF2B5EF4-FFF2-40B4-BE49-F238E27FC236}">
                  <a16:creationId xmlns:a16="http://schemas.microsoft.com/office/drawing/2014/main" id="{689C1E0B-35EE-2256-F924-64F29A3ED219}"/>
                </a:ext>
              </a:extLst>
            </p:cNvPr>
            <p:cNvSpPr/>
            <p:nvPr/>
          </p:nvSpPr>
          <p:spPr>
            <a:xfrm>
              <a:off x="-792795" y="3105833"/>
              <a:ext cx="157328" cy="394550"/>
            </a:xfrm>
            <a:custGeom>
              <a:avLst/>
              <a:gdLst>
                <a:gd name="connsiteX0" fmla="*/ 157328 w 157328"/>
                <a:gd name="connsiteY0" fmla="*/ 394550 h 394550"/>
                <a:gd name="connsiteX1" fmla="*/ 0 w 157328"/>
                <a:gd name="connsiteY1" fmla="*/ 394550 h 394550"/>
                <a:gd name="connsiteX2" fmla="*/ 0 w 157328"/>
                <a:gd name="connsiteY2" fmla="*/ 29646 h 394550"/>
                <a:gd name="connsiteX3" fmla="*/ 157328 w 157328"/>
                <a:gd name="connsiteY3" fmla="*/ 0 h 394550"/>
                <a:gd name="connsiteX4" fmla="*/ 157328 w 157328"/>
                <a:gd name="connsiteY4" fmla="*/ 394550 h 394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7328" h="394550">
                  <a:moveTo>
                    <a:pt x="157328" y="394550"/>
                  </a:moveTo>
                  <a:lnTo>
                    <a:pt x="0" y="394550"/>
                  </a:lnTo>
                  <a:lnTo>
                    <a:pt x="0" y="29646"/>
                  </a:lnTo>
                  <a:cubicBezTo>
                    <a:pt x="55005" y="37803"/>
                    <a:pt x="108494" y="24574"/>
                    <a:pt x="157328" y="0"/>
                  </a:cubicBezTo>
                  <a:lnTo>
                    <a:pt x="157328" y="394550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F3889C4C-8B7C-EBF2-E7C6-085B28523FEA}"/>
                </a:ext>
              </a:extLst>
            </p:cNvPr>
            <p:cNvSpPr/>
            <p:nvPr/>
          </p:nvSpPr>
          <p:spPr>
            <a:xfrm>
              <a:off x="-1695775" y="3172865"/>
              <a:ext cx="157380" cy="327518"/>
            </a:xfrm>
            <a:custGeom>
              <a:avLst/>
              <a:gdLst>
                <a:gd name="connsiteX0" fmla="*/ 157329 w 157380"/>
                <a:gd name="connsiteY0" fmla="*/ 327518 h 327518"/>
                <a:gd name="connsiteX1" fmla="*/ 0 w 157380"/>
                <a:gd name="connsiteY1" fmla="*/ 327518 h 327518"/>
                <a:gd name="connsiteX2" fmla="*/ 0 w 157380"/>
                <a:gd name="connsiteY2" fmla="*/ 9358 h 327518"/>
                <a:gd name="connsiteX3" fmla="*/ 14693 w 157380"/>
                <a:gd name="connsiteY3" fmla="*/ 1253 h 327518"/>
                <a:gd name="connsiteX4" fmla="*/ 144937 w 157380"/>
                <a:gd name="connsiteY4" fmla="*/ 1253 h 327518"/>
                <a:gd name="connsiteX5" fmla="*/ 157381 w 157380"/>
                <a:gd name="connsiteY5" fmla="*/ 9358 h 327518"/>
                <a:gd name="connsiteX6" fmla="*/ 157381 w 157380"/>
                <a:gd name="connsiteY6" fmla="*/ 327518 h 327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7380" h="327518">
                  <a:moveTo>
                    <a:pt x="157329" y="327518"/>
                  </a:moveTo>
                  <a:lnTo>
                    <a:pt x="0" y="327518"/>
                  </a:lnTo>
                  <a:lnTo>
                    <a:pt x="0" y="9358"/>
                  </a:lnTo>
                  <a:cubicBezTo>
                    <a:pt x="0" y="4966"/>
                    <a:pt x="10457" y="1672"/>
                    <a:pt x="14693" y="1253"/>
                  </a:cubicBezTo>
                  <a:cubicBezTo>
                    <a:pt x="55632" y="-2825"/>
                    <a:pt x="103213" y="4652"/>
                    <a:pt x="144937" y="1253"/>
                  </a:cubicBezTo>
                  <a:cubicBezTo>
                    <a:pt x="148283" y="-211"/>
                    <a:pt x="157381" y="7946"/>
                    <a:pt x="157381" y="9358"/>
                  </a:cubicBezTo>
                  <a:lnTo>
                    <a:pt x="157381" y="327518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A32D08BE-7AE9-CBD6-F196-3E13F46FCF54}"/>
                </a:ext>
              </a:extLst>
            </p:cNvPr>
            <p:cNvSpPr/>
            <p:nvPr/>
          </p:nvSpPr>
          <p:spPr>
            <a:xfrm>
              <a:off x="-1635970" y="2329176"/>
              <a:ext cx="637487" cy="634599"/>
            </a:xfrm>
            <a:custGeom>
              <a:avLst/>
              <a:gdLst>
                <a:gd name="connsiteX0" fmla="*/ 522819 w 637487"/>
                <a:gd name="connsiteY0" fmla="*/ 40051 h 634599"/>
                <a:gd name="connsiteX1" fmla="*/ 506296 w 637487"/>
                <a:gd name="connsiteY1" fmla="*/ 36077 h 634599"/>
                <a:gd name="connsiteX2" fmla="*/ 507865 w 637487"/>
                <a:gd name="connsiteY2" fmla="*/ 0 h 634599"/>
                <a:gd name="connsiteX3" fmla="*/ 600307 w 637487"/>
                <a:gd name="connsiteY3" fmla="*/ 1307 h 634599"/>
                <a:gd name="connsiteX4" fmla="*/ 626502 w 637487"/>
                <a:gd name="connsiteY4" fmla="*/ 9307 h 634599"/>
                <a:gd name="connsiteX5" fmla="*/ 635600 w 637487"/>
                <a:gd name="connsiteY5" fmla="*/ 100546 h 634599"/>
                <a:gd name="connsiteX6" fmla="*/ 633456 w 637487"/>
                <a:gd name="connsiteY6" fmla="*/ 125591 h 634599"/>
                <a:gd name="connsiteX7" fmla="*/ 597065 w 637487"/>
                <a:gd name="connsiteY7" fmla="*/ 116284 h 634599"/>
                <a:gd name="connsiteX8" fmla="*/ 596752 w 637487"/>
                <a:gd name="connsiteY8" fmla="*/ 82403 h 634599"/>
                <a:gd name="connsiteX9" fmla="*/ 592412 w 637487"/>
                <a:gd name="connsiteY9" fmla="*/ 74246 h 634599"/>
                <a:gd name="connsiteX10" fmla="*/ 335269 w 637487"/>
                <a:gd name="connsiteY10" fmla="*/ 379910 h 634599"/>
                <a:gd name="connsiteX11" fmla="*/ 317596 w 637487"/>
                <a:gd name="connsiteY11" fmla="*/ 386707 h 634599"/>
                <a:gd name="connsiteX12" fmla="*/ 200162 w 637487"/>
                <a:gd name="connsiteY12" fmla="*/ 387858 h 634599"/>
                <a:gd name="connsiteX13" fmla="*/ 39173 w 637487"/>
                <a:gd name="connsiteY13" fmla="*/ 621419 h 634599"/>
                <a:gd name="connsiteX14" fmla="*/ 3148 w 637487"/>
                <a:gd name="connsiteY14" fmla="*/ 603590 h 634599"/>
                <a:gd name="connsiteX15" fmla="*/ 173444 w 637487"/>
                <a:gd name="connsiteY15" fmla="*/ 355440 h 634599"/>
                <a:gd name="connsiteX16" fmla="*/ 201312 w 637487"/>
                <a:gd name="connsiteY16" fmla="*/ 345663 h 634599"/>
                <a:gd name="connsiteX17" fmla="*/ 310799 w 637487"/>
                <a:gd name="connsiteY17" fmla="*/ 345820 h 634599"/>
                <a:gd name="connsiteX18" fmla="*/ 569563 w 637487"/>
                <a:gd name="connsiteY18" fmla="*/ 39999 h 634599"/>
                <a:gd name="connsiteX19" fmla="*/ 522819 w 637487"/>
                <a:gd name="connsiteY19" fmla="*/ 39999 h 634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37487" h="634599">
                  <a:moveTo>
                    <a:pt x="522819" y="40051"/>
                  </a:moveTo>
                  <a:cubicBezTo>
                    <a:pt x="519943" y="39737"/>
                    <a:pt x="508963" y="37175"/>
                    <a:pt x="506296" y="36077"/>
                  </a:cubicBezTo>
                  <a:cubicBezTo>
                    <a:pt x="490454" y="29542"/>
                    <a:pt x="489983" y="3712"/>
                    <a:pt x="507865" y="0"/>
                  </a:cubicBezTo>
                  <a:cubicBezTo>
                    <a:pt x="537250" y="1412"/>
                    <a:pt x="571602" y="-1359"/>
                    <a:pt x="600307" y="1307"/>
                  </a:cubicBezTo>
                  <a:cubicBezTo>
                    <a:pt x="606790" y="1935"/>
                    <a:pt x="622162" y="4863"/>
                    <a:pt x="626502" y="9307"/>
                  </a:cubicBezTo>
                  <a:cubicBezTo>
                    <a:pt x="635339" y="18457"/>
                    <a:pt x="635600" y="84912"/>
                    <a:pt x="635600" y="100546"/>
                  </a:cubicBezTo>
                  <a:cubicBezTo>
                    <a:pt x="635600" y="110323"/>
                    <a:pt x="641038" y="114977"/>
                    <a:pt x="633456" y="125591"/>
                  </a:cubicBezTo>
                  <a:cubicBezTo>
                    <a:pt x="622895" y="140336"/>
                    <a:pt x="599784" y="133382"/>
                    <a:pt x="597065" y="116284"/>
                  </a:cubicBezTo>
                  <a:cubicBezTo>
                    <a:pt x="595444" y="105931"/>
                    <a:pt x="597902" y="93331"/>
                    <a:pt x="596752" y="82403"/>
                  </a:cubicBezTo>
                  <a:cubicBezTo>
                    <a:pt x="596542" y="80207"/>
                    <a:pt x="595758" y="73828"/>
                    <a:pt x="592412" y="74246"/>
                  </a:cubicBezTo>
                  <a:lnTo>
                    <a:pt x="335269" y="379910"/>
                  </a:lnTo>
                  <a:cubicBezTo>
                    <a:pt x="329727" y="383675"/>
                    <a:pt x="324393" y="385923"/>
                    <a:pt x="317596" y="386707"/>
                  </a:cubicBezTo>
                  <a:cubicBezTo>
                    <a:pt x="298616" y="388851"/>
                    <a:pt x="208057" y="383047"/>
                    <a:pt x="200162" y="387858"/>
                  </a:cubicBezTo>
                  <a:lnTo>
                    <a:pt x="39173" y="621419"/>
                  </a:lnTo>
                  <a:cubicBezTo>
                    <a:pt x="23435" y="647615"/>
                    <a:pt x="-10446" y="631145"/>
                    <a:pt x="3148" y="603590"/>
                  </a:cubicBezTo>
                  <a:lnTo>
                    <a:pt x="173444" y="355440"/>
                  </a:lnTo>
                  <a:lnTo>
                    <a:pt x="201312" y="345663"/>
                  </a:lnTo>
                  <a:lnTo>
                    <a:pt x="310799" y="345820"/>
                  </a:lnTo>
                  <a:lnTo>
                    <a:pt x="569563" y="39999"/>
                  </a:lnTo>
                  <a:cubicBezTo>
                    <a:pt x="554609" y="38796"/>
                    <a:pt x="537459" y="41620"/>
                    <a:pt x="522819" y="39999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2" name="Group 1071">
            <a:extLst>
              <a:ext uri="{FF2B5EF4-FFF2-40B4-BE49-F238E27FC236}">
                <a16:creationId xmlns:a16="http://schemas.microsoft.com/office/drawing/2014/main" id="{C8F8B9C4-F88B-9762-A53E-3076995A2D71}"/>
              </a:ext>
            </a:extLst>
          </p:cNvPr>
          <p:cNvGrpSpPr/>
          <p:nvPr>
            <p:custDataLst>
              <p:tags r:id="rId13"/>
            </p:custDataLst>
          </p:nvPr>
        </p:nvGrpSpPr>
        <p:grpSpPr>
          <a:xfrm>
            <a:off x="296930" y="3031147"/>
            <a:ext cx="362438" cy="371040"/>
            <a:chOff x="-4101893" y="2089086"/>
            <a:chExt cx="1024228" cy="1048537"/>
          </a:xfrm>
          <a:solidFill>
            <a:schemeClr val="bg1"/>
          </a:solidFill>
        </p:grpSpPr>
        <p:sp>
          <p:nvSpPr>
            <p:cNvPr id="1035" name="Freeform: Shape 1034">
              <a:extLst>
                <a:ext uri="{FF2B5EF4-FFF2-40B4-BE49-F238E27FC236}">
                  <a16:creationId xmlns:a16="http://schemas.microsoft.com/office/drawing/2014/main" id="{A3F6E6C2-B8F5-DFE1-839F-3112752EC31C}"/>
                </a:ext>
              </a:extLst>
            </p:cNvPr>
            <p:cNvSpPr/>
            <p:nvPr/>
          </p:nvSpPr>
          <p:spPr>
            <a:xfrm>
              <a:off x="-4101890" y="2089086"/>
              <a:ext cx="1024225" cy="1048537"/>
            </a:xfrm>
            <a:custGeom>
              <a:avLst/>
              <a:gdLst>
                <a:gd name="connsiteX0" fmla="*/ 1000667 w 1024225"/>
                <a:gd name="connsiteY0" fmla="*/ 306023 h 1048537"/>
                <a:gd name="connsiteX1" fmla="*/ 926212 w 1024225"/>
                <a:gd name="connsiteY1" fmla="*/ 417916 h 1048537"/>
                <a:gd name="connsiteX2" fmla="*/ 719943 w 1024225"/>
                <a:gd name="connsiteY2" fmla="*/ 686195 h 1048537"/>
                <a:gd name="connsiteX3" fmla="*/ 714192 w 1024225"/>
                <a:gd name="connsiteY3" fmla="*/ 687345 h 1048537"/>
                <a:gd name="connsiteX4" fmla="*/ 694637 w 1024225"/>
                <a:gd name="connsiteY4" fmla="*/ 663294 h 1048537"/>
                <a:gd name="connsiteX5" fmla="*/ 897925 w 1024225"/>
                <a:gd name="connsiteY5" fmla="*/ 401027 h 1048537"/>
                <a:gd name="connsiteX6" fmla="*/ 889298 w 1024225"/>
                <a:gd name="connsiteY6" fmla="*/ 382047 h 1048537"/>
                <a:gd name="connsiteX7" fmla="*/ 955597 w 1024225"/>
                <a:gd name="connsiteY7" fmla="*/ 284429 h 1048537"/>
                <a:gd name="connsiteX8" fmla="*/ 982942 w 1024225"/>
                <a:gd name="connsiteY8" fmla="*/ 185243 h 1048537"/>
                <a:gd name="connsiteX9" fmla="*/ 633671 w 1024225"/>
                <a:gd name="connsiteY9" fmla="*/ 132382 h 1048537"/>
                <a:gd name="connsiteX10" fmla="*/ 600208 w 1024225"/>
                <a:gd name="connsiteY10" fmla="*/ 155701 h 1048537"/>
                <a:gd name="connsiteX11" fmla="*/ 667867 w 1024225"/>
                <a:gd name="connsiteY11" fmla="*/ 266025 h 1048537"/>
                <a:gd name="connsiteX12" fmla="*/ 671997 w 1024225"/>
                <a:gd name="connsiteY12" fmla="*/ 312036 h 1048537"/>
                <a:gd name="connsiteX13" fmla="*/ 738139 w 1024225"/>
                <a:gd name="connsiteY13" fmla="*/ 378178 h 1048537"/>
                <a:gd name="connsiteX14" fmla="*/ 809771 w 1024225"/>
                <a:gd name="connsiteY14" fmla="*/ 463457 h 1048537"/>
                <a:gd name="connsiteX15" fmla="*/ 782634 w 1024225"/>
                <a:gd name="connsiteY15" fmla="*/ 482071 h 1048537"/>
                <a:gd name="connsiteX16" fmla="*/ 667448 w 1024225"/>
                <a:gd name="connsiteY16" fmla="*/ 357682 h 1048537"/>
                <a:gd name="connsiteX17" fmla="*/ 631998 w 1024225"/>
                <a:gd name="connsiteY17" fmla="*/ 424870 h 1048537"/>
                <a:gd name="connsiteX18" fmla="*/ 534171 w 1024225"/>
                <a:gd name="connsiteY18" fmla="*/ 523324 h 1048537"/>
                <a:gd name="connsiteX19" fmla="*/ 661174 w 1024225"/>
                <a:gd name="connsiteY19" fmla="*/ 674065 h 1048537"/>
                <a:gd name="connsiteX20" fmla="*/ 600156 w 1024225"/>
                <a:gd name="connsiteY20" fmla="*/ 893561 h 1048537"/>
                <a:gd name="connsiteX21" fmla="*/ 647318 w 1024225"/>
                <a:gd name="connsiteY21" fmla="*/ 920593 h 1048537"/>
                <a:gd name="connsiteX22" fmla="*/ 710741 w 1024225"/>
                <a:gd name="connsiteY22" fmla="*/ 900411 h 1048537"/>
                <a:gd name="connsiteX23" fmla="*/ 766060 w 1024225"/>
                <a:gd name="connsiteY23" fmla="*/ 954579 h 1048537"/>
                <a:gd name="connsiteX24" fmla="*/ 768831 w 1024225"/>
                <a:gd name="connsiteY24" fmla="*/ 979154 h 1048537"/>
                <a:gd name="connsiteX25" fmla="*/ 979753 w 1024225"/>
                <a:gd name="connsiteY25" fmla="*/ 946004 h 1048537"/>
                <a:gd name="connsiteX26" fmla="*/ 954655 w 1024225"/>
                <a:gd name="connsiteY26" fmla="*/ 749984 h 1048537"/>
                <a:gd name="connsiteX27" fmla="*/ 855626 w 1024225"/>
                <a:gd name="connsiteY27" fmla="*/ 575401 h 1048537"/>
                <a:gd name="connsiteX28" fmla="*/ 887154 w 1024225"/>
                <a:gd name="connsiteY28" fmla="*/ 558617 h 1048537"/>
                <a:gd name="connsiteX29" fmla="*/ 1019072 w 1024225"/>
                <a:gd name="connsiteY29" fmla="*/ 838347 h 1048537"/>
                <a:gd name="connsiteX30" fmla="*/ 810346 w 1024225"/>
                <a:gd name="connsiteY30" fmla="*/ 1026577 h 1048537"/>
                <a:gd name="connsiteX31" fmla="*/ 754139 w 1024225"/>
                <a:gd name="connsiteY31" fmla="*/ 1009846 h 1048537"/>
                <a:gd name="connsiteX32" fmla="*/ 718323 w 1024225"/>
                <a:gd name="connsiteY32" fmla="*/ 1033427 h 1048537"/>
                <a:gd name="connsiteX33" fmla="*/ 631841 w 1024225"/>
                <a:gd name="connsiteY33" fmla="*/ 950867 h 1048537"/>
                <a:gd name="connsiteX34" fmla="*/ 578091 w 1024225"/>
                <a:gd name="connsiteY34" fmla="*/ 918973 h 1048537"/>
                <a:gd name="connsiteX35" fmla="*/ 538772 w 1024225"/>
                <a:gd name="connsiteY35" fmla="*/ 955991 h 1048537"/>
                <a:gd name="connsiteX36" fmla="*/ 606849 w 1024225"/>
                <a:gd name="connsiteY36" fmla="*/ 1022760 h 1048537"/>
                <a:gd name="connsiteX37" fmla="*/ 585045 w 1024225"/>
                <a:gd name="connsiteY37" fmla="*/ 1048537 h 1048537"/>
                <a:gd name="connsiteX38" fmla="*/ 512054 w 1024225"/>
                <a:gd name="connsiteY38" fmla="*/ 980461 h 1048537"/>
                <a:gd name="connsiteX39" fmla="*/ 441729 w 1024225"/>
                <a:gd name="connsiteY39" fmla="*/ 1046550 h 1048537"/>
                <a:gd name="connsiteX40" fmla="*/ 435978 w 1024225"/>
                <a:gd name="connsiteY40" fmla="*/ 1047701 h 1048537"/>
                <a:gd name="connsiteX41" fmla="*/ 415586 w 1024225"/>
                <a:gd name="connsiteY41" fmla="*/ 1022813 h 1048537"/>
                <a:gd name="connsiteX42" fmla="*/ 483663 w 1024225"/>
                <a:gd name="connsiteY42" fmla="*/ 956043 h 1048537"/>
                <a:gd name="connsiteX43" fmla="*/ 445860 w 1024225"/>
                <a:gd name="connsiteY43" fmla="*/ 918973 h 1048537"/>
                <a:gd name="connsiteX44" fmla="*/ 305890 w 1024225"/>
                <a:gd name="connsiteY44" fmla="*/ 995049 h 1048537"/>
                <a:gd name="connsiteX45" fmla="*/ 68721 w 1024225"/>
                <a:gd name="connsiteY45" fmla="*/ 1020303 h 1048537"/>
                <a:gd name="connsiteX46" fmla="*/ 20984 w 1024225"/>
                <a:gd name="connsiteY46" fmla="*/ 778532 h 1048537"/>
                <a:gd name="connsiteX47" fmla="*/ 1010 w 1024225"/>
                <a:gd name="connsiteY47" fmla="*/ 741409 h 1048537"/>
                <a:gd name="connsiteX48" fmla="*/ 75309 w 1024225"/>
                <a:gd name="connsiteY48" fmla="*/ 660680 h 1048537"/>
                <a:gd name="connsiteX49" fmla="*/ 304845 w 1024225"/>
                <a:gd name="connsiteY49" fmla="*/ 357787 h 1048537"/>
                <a:gd name="connsiteX50" fmla="*/ 328739 w 1024225"/>
                <a:gd name="connsiteY50" fmla="*/ 381681 h 1048537"/>
                <a:gd name="connsiteX51" fmla="*/ 144013 w 1024225"/>
                <a:gd name="connsiteY51" fmla="*/ 612001 h 1048537"/>
                <a:gd name="connsiteX52" fmla="*/ 110759 w 1024225"/>
                <a:gd name="connsiteY52" fmla="*/ 667947 h 1048537"/>
                <a:gd name="connsiteX53" fmla="*/ 110863 w 1024225"/>
                <a:gd name="connsiteY53" fmla="*/ 672444 h 1048537"/>
                <a:gd name="connsiteX54" fmla="*/ 56120 w 1024225"/>
                <a:gd name="connsiteY54" fmla="*/ 794009 h 1048537"/>
                <a:gd name="connsiteX55" fmla="*/ 54029 w 1024225"/>
                <a:gd name="connsiteY55" fmla="*/ 795525 h 1048537"/>
                <a:gd name="connsiteX56" fmla="*/ 36931 w 1024225"/>
                <a:gd name="connsiteY56" fmla="*/ 867523 h 1048537"/>
                <a:gd name="connsiteX57" fmla="*/ 422227 w 1024225"/>
                <a:gd name="connsiteY57" fmla="*/ 892568 h 1048537"/>
                <a:gd name="connsiteX58" fmla="*/ 352216 w 1024225"/>
                <a:gd name="connsiteY58" fmla="*/ 777905 h 1048537"/>
                <a:gd name="connsiteX59" fmla="*/ 348137 w 1024225"/>
                <a:gd name="connsiteY59" fmla="*/ 734089 h 1048537"/>
                <a:gd name="connsiteX60" fmla="*/ 281996 w 1024225"/>
                <a:gd name="connsiteY60" fmla="*/ 667947 h 1048537"/>
                <a:gd name="connsiteX61" fmla="*/ 210155 w 1024225"/>
                <a:gd name="connsiteY61" fmla="*/ 582460 h 1048537"/>
                <a:gd name="connsiteX62" fmla="*/ 239592 w 1024225"/>
                <a:gd name="connsiteY62" fmla="*/ 563323 h 1048537"/>
                <a:gd name="connsiteX63" fmla="*/ 262754 w 1024225"/>
                <a:gd name="connsiteY63" fmla="*/ 593753 h 1048537"/>
                <a:gd name="connsiteX64" fmla="*/ 342595 w 1024225"/>
                <a:gd name="connsiteY64" fmla="*/ 678143 h 1048537"/>
                <a:gd name="connsiteX65" fmla="*/ 356189 w 1024225"/>
                <a:gd name="connsiteY65" fmla="*/ 688496 h 1048537"/>
                <a:gd name="connsiteX66" fmla="*/ 486016 w 1024225"/>
                <a:gd name="connsiteY66" fmla="*/ 522854 h 1048537"/>
                <a:gd name="connsiteX67" fmla="*/ 357444 w 1024225"/>
                <a:gd name="connsiteY67" fmla="*/ 366832 h 1048537"/>
                <a:gd name="connsiteX68" fmla="*/ 361993 w 1024225"/>
                <a:gd name="connsiteY68" fmla="*/ 232457 h 1048537"/>
                <a:gd name="connsiteX69" fmla="*/ 483767 w 1024225"/>
                <a:gd name="connsiteY69" fmla="*/ 94108 h 1048537"/>
                <a:gd name="connsiteX70" fmla="*/ 415691 w 1024225"/>
                <a:gd name="connsiteY70" fmla="*/ 25718 h 1048537"/>
                <a:gd name="connsiteX71" fmla="*/ 436083 w 1024225"/>
                <a:gd name="connsiteY71" fmla="*/ 830 h 1048537"/>
                <a:gd name="connsiteX72" fmla="*/ 441834 w 1024225"/>
                <a:gd name="connsiteY72" fmla="*/ 1980 h 1048537"/>
                <a:gd name="connsiteX73" fmla="*/ 510486 w 1024225"/>
                <a:gd name="connsiteY73" fmla="*/ 68070 h 1048537"/>
                <a:gd name="connsiteX74" fmla="*/ 582013 w 1024225"/>
                <a:gd name="connsiteY74" fmla="*/ 882 h 1048537"/>
                <a:gd name="connsiteX75" fmla="*/ 604757 w 1024225"/>
                <a:gd name="connsiteY75" fmla="*/ 23783 h 1048537"/>
                <a:gd name="connsiteX76" fmla="*/ 534276 w 1024225"/>
                <a:gd name="connsiteY76" fmla="*/ 92487 h 1048537"/>
                <a:gd name="connsiteX77" fmla="*/ 572079 w 1024225"/>
                <a:gd name="connsiteY77" fmla="*/ 129454 h 1048537"/>
                <a:gd name="connsiteX78" fmla="*/ 704310 w 1024225"/>
                <a:gd name="connsiteY78" fmla="*/ 57142 h 1048537"/>
                <a:gd name="connsiteX79" fmla="*/ 956015 w 1024225"/>
                <a:gd name="connsiteY79" fmla="*/ 30528 h 1048537"/>
                <a:gd name="connsiteX80" fmla="*/ 987962 w 1024225"/>
                <a:gd name="connsiteY80" fmla="*/ 292900 h 1048537"/>
                <a:gd name="connsiteX81" fmla="*/ 1000772 w 1024225"/>
                <a:gd name="connsiteY81" fmla="*/ 306180 h 1048537"/>
                <a:gd name="connsiteX82" fmla="*/ 597856 w 1024225"/>
                <a:gd name="connsiteY82" fmla="*/ 200301 h 1048537"/>
                <a:gd name="connsiteX83" fmla="*/ 564340 w 1024225"/>
                <a:gd name="connsiteY83" fmla="*/ 166577 h 1048537"/>
                <a:gd name="connsiteX84" fmla="*/ 457520 w 1024225"/>
                <a:gd name="connsiteY84" fmla="*/ 168250 h 1048537"/>
                <a:gd name="connsiteX85" fmla="*/ 424580 w 1024225"/>
                <a:gd name="connsiteY85" fmla="*/ 200301 h 1048537"/>
                <a:gd name="connsiteX86" fmla="*/ 597856 w 1024225"/>
                <a:gd name="connsiteY86" fmla="*/ 200301 h 1048537"/>
                <a:gd name="connsiteX87" fmla="*/ 638900 w 1024225"/>
                <a:gd name="connsiteY87" fmla="*/ 284691 h 1048537"/>
                <a:gd name="connsiteX88" fmla="*/ 626404 w 1024225"/>
                <a:gd name="connsiteY88" fmla="*/ 250443 h 1048537"/>
                <a:gd name="connsiteX89" fmla="*/ 390123 w 1024225"/>
                <a:gd name="connsiteY89" fmla="*/ 251803 h 1048537"/>
                <a:gd name="connsiteX90" fmla="*/ 381235 w 1024225"/>
                <a:gd name="connsiteY90" fmla="*/ 284638 h 1048537"/>
                <a:gd name="connsiteX91" fmla="*/ 638900 w 1024225"/>
                <a:gd name="connsiteY91" fmla="*/ 284638 h 1048537"/>
                <a:gd name="connsiteX92" fmla="*/ 636599 w 1024225"/>
                <a:gd name="connsiteY92" fmla="*/ 337134 h 1048537"/>
                <a:gd name="connsiteX93" fmla="*/ 383483 w 1024225"/>
                <a:gd name="connsiteY93" fmla="*/ 337134 h 1048537"/>
                <a:gd name="connsiteX94" fmla="*/ 394620 w 1024225"/>
                <a:gd name="connsiteY94" fmla="*/ 369917 h 1048537"/>
                <a:gd name="connsiteX95" fmla="*/ 621750 w 1024225"/>
                <a:gd name="connsiteY95" fmla="*/ 371329 h 1048537"/>
                <a:gd name="connsiteX96" fmla="*/ 636547 w 1024225"/>
                <a:gd name="connsiteY96" fmla="*/ 337134 h 1048537"/>
                <a:gd name="connsiteX97" fmla="*/ 588758 w 1024225"/>
                <a:gd name="connsiteY97" fmla="*/ 421523 h 1048537"/>
                <a:gd name="connsiteX98" fmla="*/ 433677 w 1024225"/>
                <a:gd name="connsiteY98" fmla="*/ 421523 h 1048537"/>
                <a:gd name="connsiteX99" fmla="*/ 467193 w 1024225"/>
                <a:gd name="connsiteY99" fmla="*/ 455248 h 1048537"/>
                <a:gd name="connsiteX100" fmla="*/ 548968 w 1024225"/>
                <a:gd name="connsiteY100" fmla="*/ 455875 h 1048537"/>
                <a:gd name="connsiteX101" fmla="*/ 588758 w 1024225"/>
                <a:gd name="connsiteY101" fmla="*/ 421523 h 1048537"/>
                <a:gd name="connsiteX102" fmla="*/ 588758 w 1024225"/>
                <a:gd name="connsiteY102" fmla="*/ 626798 h 1048537"/>
                <a:gd name="connsiteX103" fmla="*/ 555242 w 1024225"/>
                <a:gd name="connsiteY103" fmla="*/ 593074 h 1048537"/>
                <a:gd name="connsiteX104" fmla="*/ 473467 w 1024225"/>
                <a:gd name="connsiteY104" fmla="*/ 592446 h 1048537"/>
                <a:gd name="connsiteX105" fmla="*/ 433677 w 1024225"/>
                <a:gd name="connsiteY105" fmla="*/ 626798 h 1048537"/>
                <a:gd name="connsiteX106" fmla="*/ 588758 w 1024225"/>
                <a:gd name="connsiteY106" fmla="*/ 626798 h 1048537"/>
                <a:gd name="connsiteX107" fmla="*/ 383535 w 1024225"/>
                <a:gd name="connsiteY107" fmla="*/ 711188 h 1048537"/>
                <a:gd name="connsiteX108" fmla="*/ 638900 w 1024225"/>
                <a:gd name="connsiteY108" fmla="*/ 711188 h 1048537"/>
                <a:gd name="connsiteX109" fmla="*/ 625985 w 1024225"/>
                <a:gd name="connsiteY109" fmla="*/ 676888 h 1048537"/>
                <a:gd name="connsiteX110" fmla="*/ 398280 w 1024225"/>
                <a:gd name="connsiteY110" fmla="*/ 676784 h 1048537"/>
                <a:gd name="connsiteX111" fmla="*/ 394724 w 1024225"/>
                <a:gd name="connsiteY111" fmla="*/ 678352 h 1048537"/>
                <a:gd name="connsiteX112" fmla="*/ 383587 w 1024225"/>
                <a:gd name="connsiteY112" fmla="*/ 711136 h 1048537"/>
                <a:gd name="connsiteX113" fmla="*/ 638900 w 1024225"/>
                <a:gd name="connsiteY113" fmla="*/ 763631 h 1048537"/>
                <a:gd name="connsiteX114" fmla="*/ 381235 w 1024225"/>
                <a:gd name="connsiteY114" fmla="*/ 763631 h 1048537"/>
                <a:gd name="connsiteX115" fmla="*/ 390123 w 1024225"/>
                <a:gd name="connsiteY115" fmla="*/ 796466 h 1048537"/>
                <a:gd name="connsiteX116" fmla="*/ 626404 w 1024225"/>
                <a:gd name="connsiteY116" fmla="*/ 797826 h 1048537"/>
                <a:gd name="connsiteX117" fmla="*/ 638900 w 1024225"/>
                <a:gd name="connsiteY117" fmla="*/ 763578 h 1048537"/>
                <a:gd name="connsiteX118" fmla="*/ 595555 w 1024225"/>
                <a:gd name="connsiteY118" fmla="*/ 848020 h 1048537"/>
                <a:gd name="connsiteX119" fmla="*/ 424527 w 1024225"/>
                <a:gd name="connsiteY119" fmla="*/ 848020 h 1048537"/>
                <a:gd name="connsiteX120" fmla="*/ 458043 w 1024225"/>
                <a:gd name="connsiteY120" fmla="*/ 881745 h 1048537"/>
                <a:gd name="connsiteX121" fmla="*/ 558066 w 1024225"/>
                <a:gd name="connsiteY121" fmla="*/ 882372 h 1048537"/>
                <a:gd name="connsiteX122" fmla="*/ 567164 w 1024225"/>
                <a:gd name="connsiteY122" fmla="*/ 880072 h 1048537"/>
                <a:gd name="connsiteX123" fmla="*/ 592156 w 1024225"/>
                <a:gd name="connsiteY123" fmla="*/ 854870 h 1048537"/>
                <a:gd name="connsiteX124" fmla="*/ 595555 w 1024225"/>
                <a:gd name="connsiteY124" fmla="*/ 848020 h 104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024225" h="1048537">
                  <a:moveTo>
                    <a:pt x="1000667" y="306023"/>
                  </a:moveTo>
                  <a:cubicBezTo>
                    <a:pt x="1049868" y="362283"/>
                    <a:pt x="995543" y="440189"/>
                    <a:pt x="926212" y="417916"/>
                  </a:cubicBezTo>
                  <a:cubicBezTo>
                    <a:pt x="868174" y="515115"/>
                    <a:pt x="797327" y="603897"/>
                    <a:pt x="719943" y="686195"/>
                  </a:cubicBezTo>
                  <a:cubicBezTo>
                    <a:pt x="717957" y="688391"/>
                    <a:pt x="716859" y="688705"/>
                    <a:pt x="714192" y="687345"/>
                  </a:cubicBezTo>
                  <a:cubicBezTo>
                    <a:pt x="710584" y="685515"/>
                    <a:pt x="692702" y="667058"/>
                    <a:pt x="694637" y="663294"/>
                  </a:cubicBezTo>
                  <a:cubicBezTo>
                    <a:pt x="772282" y="584081"/>
                    <a:pt x="841038" y="496397"/>
                    <a:pt x="897925" y="401027"/>
                  </a:cubicBezTo>
                  <a:cubicBezTo>
                    <a:pt x="900173" y="393969"/>
                    <a:pt x="892540" y="389367"/>
                    <a:pt x="889298" y="382047"/>
                  </a:cubicBezTo>
                  <a:cubicBezTo>
                    <a:pt x="867495" y="332585"/>
                    <a:pt x="904147" y="285004"/>
                    <a:pt x="955597" y="284429"/>
                  </a:cubicBezTo>
                  <a:cubicBezTo>
                    <a:pt x="966263" y="251855"/>
                    <a:pt x="978655" y="219542"/>
                    <a:pt x="982942" y="185243"/>
                  </a:cubicBezTo>
                  <a:cubicBezTo>
                    <a:pt x="1012118" y="-47378"/>
                    <a:pt x="738923" y="70527"/>
                    <a:pt x="633671" y="132382"/>
                  </a:cubicBezTo>
                  <a:cubicBezTo>
                    <a:pt x="628234" y="135571"/>
                    <a:pt x="599267" y="151518"/>
                    <a:pt x="600208" y="155701"/>
                  </a:cubicBezTo>
                  <a:cubicBezTo>
                    <a:pt x="632155" y="185138"/>
                    <a:pt x="659553" y="222366"/>
                    <a:pt x="667867" y="266025"/>
                  </a:cubicBezTo>
                  <a:cubicBezTo>
                    <a:pt x="670063" y="277632"/>
                    <a:pt x="669383" y="306233"/>
                    <a:pt x="671997" y="312036"/>
                  </a:cubicBezTo>
                  <a:cubicBezTo>
                    <a:pt x="675762" y="320298"/>
                    <a:pt x="727159" y="366414"/>
                    <a:pt x="738139" y="378178"/>
                  </a:cubicBezTo>
                  <a:cubicBezTo>
                    <a:pt x="746975" y="387694"/>
                    <a:pt x="810712" y="457967"/>
                    <a:pt x="809771" y="463457"/>
                  </a:cubicBezTo>
                  <a:cubicBezTo>
                    <a:pt x="803967" y="467587"/>
                    <a:pt x="789379" y="484946"/>
                    <a:pt x="782634" y="482071"/>
                  </a:cubicBezTo>
                  <a:lnTo>
                    <a:pt x="667448" y="357682"/>
                  </a:lnTo>
                  <a:cubicBezTo>
                    <a:pt x="657200" y="381681"/>
                    <a:pt x="648887" y="404426"/>
                    <a:pt x="631998" y="424870"/>
                  </a:cubicBezTo>
                  <a:cubicBezTo>
                    <a:pt x="619659" y="439823"/>
                    <a:pt x="535374" y="516475"/>
                    <a:pt x="534171" y="523324"/>
                  </a:cubicBezTo>
                  <a:cubicBezTo>
                    <a:pt x="574065" y="573937"/>
                    <a:pt x="637541" y="611583"/>
                    <a:pt x="661174" y="674065"/>
                  </a:cubicBezTo>
                  <a:cubicBezTo>
                    <a:pt x="692284" y="756311"/>
                    <a:pt x="663109" y="837093"/>
                    <a:pt x="600156" y="893561"/>
                  </a:cubicBezTo>
                  <a:lnTo>
                    <a:pt x="647318" y="920593"/>
                  </a:lnTo>
                  <a:cubicBezTo>
                    <a:pt x="666455" y="904489"/>
                    <a:pt x="685225" y="897483"/>
                    <a:pt x="710741" y="900411"/>
                  </a:cubicBezTo>
                  <a:cubicBezTo>
                    <a:pt x="736257" y="903339"/>
                    <a:pt x="761981" y="929012"/>
                    <a:pt x="766060" y="954579"/>
                  </a:cubicBezTo>
                  <a:cubicBezTo>
                    <a:pt x="767158" y="961376"/>
                    <a:pt x="764753" y="975755"/>
                    <a:pt x="768831" y="979154"/>
                  </a:cubicBezTo>
                  <a:cubicBezTo>
                    <a:pt x="833509" y="1001271"/>
                    <a:pt x="946133" y="1027100"/>
                    <a:pt x="979753" y="946004"/>
                  </a:cubicBezTo>
                  <a:cubicBezTo>
                    <a:pt x="1003857" y="887758"/>
                    <a:pt x="977870" y="805773"/>
                    <a:pt x="954655" y="749984"/>
                  </a:cubicBezTo>
                  <a:cubicBezTo>
                    <a:pt x="928983" y="688391"/>
                    <a:pt x="893428" y="630145"/>
                    <a:pt x="855626" y="575401"/>
                  </a:cubicBezTo>
                  <a:cubicBezTo>
                    <a:pt x="861482" y="572368"/>
                    <a:pt x="881926" y="555585"/>
                    <a:pt x="887154" y="558617"/>
                  </a:cubicBezTo>
                  <a:cubicBezTo>
                    <a:pt x="940747" y="642955"/>
                    <a:pt x="1001295" y="738220"/>
                    <a:pt x="1019072" y="838347"/>
                  </a:cubicBezTo>
                  <a:cubicBezTo>
                    <a:pt x="1046993" y="995885"/>
                    <a:pt x="959204" y="1058524"/>
                    <a:pt x="810346" y="1026577"/>
                  </a:cubicBezTo>
                  <a:cubicBezTo>
                    <a:pt x="800046" y="1024381"/>
                    <a:pt x="758426" y="1009375"/>
                    <a:pt x="754139" y="1009846"/>
                  </a:cubicBezTo>
                  <a:cubicBezTo>
                    <a:pt x="749590" y="1010316"/>
                    <a:pt x="733015" y="1029871"/>
                    <a:pt x="718323" y="1033427"/>
                  </a:cubicBezTo>
                  <a:cubicBezTo>
                    <a:pt x="665827" y="1046028"/>
                    <a:pt x="620966" y="1003519"/>
                    <a:pt x="631841" y="950867"/>
                  </a:cubicBezTo>
                  <a:lnTo>
                    <a:pt x="578091" y="918973"/>
                  </a:lnTo>
                  <a:cubicBezTo>
                    <a:pt x="573804" y="918345"/>
                    <a:pt x="538093" y="952226"/>
                    <a:pt x="538772" y="955991"/>
                  </a:cubicBezTo>
                  <a:lnTo>
                    <a:pt x="606849" y="1022760"/>
                  </a:lnTo>
                  <a:lnTo>
                    <a:pt x="585045" y="1048537"/>
                  </a:lnTo>
                  <a:lnTo>
                    <a:pt x="512054" y="980461"/>
                  </a:lnTo>
                  <a:lnTo>
                    <a:pt x="441729" y="1046550"/>
                  </a:lnTo>
                  <a:cubicBezTo>
                    <a:pt x="439743" y="1048799"/>
                    <a:pt x="438645" y="1049060"/>
                    <a:pt x="435978" y="1047701"/>
                  </a:cubicBezTo>
                  <a:cubicBezTo>
                    <a:pt x="432998" y="1046184"/>
                    <a:pt x="415273" y="1024695"/>
                    <a:pt x="415586" y="1022813"/>
                  </a:cubicBezTo>
                  <a:lnTo>
                    <a:pt x="483663" y="956043"/>
                  </a:lnTo>
                  <a:lnTo>
                    <a:pt x="445860" y="918973"/>
                  </a:lnTo>
                  <a:cubicBezTo>
                    <a:pt x="400633" y="946789"/>
                    <a:pt x="354935" y="974239"/>
                    <a:pt x="305890" y="995049"/>
                  </a:cubicBezTo>
                  <a:cubicBezTo>
                    <a:pt x="238546" y="1023597"/>
                    <a:pt x="137948" y="1055439"/>
                    <a:pt x="68721" y="1020303"/>
                  </a:cubicBezTo>
                  <a:cubicBezTo>
                    <a:pt x="-22937" y="973768"/>
                    <a:pt x="-5002" y="860046"/>
                    <a:pt x="20984" y="778532"/>
                  </a:cubicBezTo>
                  <a:cubicBezTo>
                    <a:pt x="12147" y="766297"/>
                    <a:pt x="3363" y="757304"/>
                    <a:pt x="1010" y="741409"/>
                  </a:cubicBezTo>
                  <a:cubicBezTo>
                    <a:pt x="-5839" y="694613"/>
                    <a:pt x="28618" y="658170"/>
                    <a:pt x="75309" y="660680"/>
                  </a:cubicBezTo>
                  <a:cubicBezTo>
                    <a:pt x="136797" y="549415"/>
                    <a:pt x="214599" y="447039"/>
                    <a:pt x="304845" y="357787"/>
                  </a:cubicBezTo>
                  <a:lnTo>
                    <a:pt x="328739" y="381681"/>
                  </a:lnTo>
                  <a:cubicBezTo>
                    <a:pt x="259931" y="451379"/>
                    <a:pt x="196403" y="529023"/>
                    <a:pt x="144013" y="612001"/>
                  </a:cubicBezTo>
                  <a:cubicBezTo>
                    <a:pt x="137006" y="623086"/>
                    <a:pt x="113112" y="658118"/>
                    <a:pt x="110759" y="667947"/>
                  </a:cubicBezTo>
                  <a:cubicBezTo>
                    <a:pt x="110341" y="669568"/>
                    <a:pt x="109609" y="670875"/>
                    <a:pt x="110863" y="672444"/>
                  </a:cubicBezTo>
                  <a:cubicBezTo>
                    <a:pt x="167332" y="717619"/>
                    <a:pt x="127909" y="807551"/>
                    <a:pt x="56120" y="794009"/>
                  </a:cubicBezTo>
                  <a:lnTo>
                    <a:pt x="54029" y="795525"/>
                  </a:lnTo>
                  <a:cubicBezTo>
                    <a:pt x="46813" y="817799"/>
                    <a:pt x="38813" y="844151"/>
                    <a:pt x="36931" y="867523"/>
                  </a:cubicBezTo>
                  <a:cubicBezTo>
                    <a:pt x="17690" y="1107725"/>
                    <a:pt x="321994" y="963050"/>
                    <a:pt x="422227" y="892568"/>
                  </a:cubicBezTo>
                  <a:cubicBezTo>
                    <a:pt x="388345" y="862033"/>
                    <a:pt x="360791" y="823707"/>
                    <a:pt x="352216" y="777905"/>
                  </a:cubicBezTo>
                  <a:cubicBezTo>
                    <a:pt x="350229" y="767291"/>
                    <a:pt x="350752" y="739893"/>
                    <a:pt x="348137" y="734089"/>
                  </a:cubicBezTo>
                  <a:cubicBezTo>
                    <a:pt x="344321" y="725723"/>
                    <a:pt x="293028" y="679764"/>
                    <a:pt x="281996" y="667947"/>
                  </a:cubicBezTo>
                  <a:cubicBezTo>
                    <a:pt x="272741" y="658013"/>
                    <a:pt x="210311" y="588473"/>
                    <a:pt x="210155" y="582460"/>
                  </a:cubicBezTo>
                  <a:cubicBezTo>
                    <a:pt x="217056" y="580107"/>
                    <a:pt x="233736" y="559977"/>
                    <a:pt x="239592" y="563323"/>
                  </a:cubicBezTo>
                  <a:cubicBezTo>
                    <a:pt x="241265" y="564264"/>
                    <a:pt x="258676" y="589100"/>
                    <a:pt x="262754" y="593753"/>
                  </a:cubicBezTo>
                  <a:cubicBezTo>
                    <a:pt x="288322" y="623034"/>
                    <a:pt x="315145" y="650588"/>
                    <a:pt x="342595" y="678143"/>
                  </a:cubicBezTo>
                  <a:cubicBezTo>
                    <a:pt x="347301" y="682901"/>
                    <a:pt x="348033" y="690169"/>
                    <a:pt x="356189" y="688496"/>
                  </a:cubicBezTo>
                  <a:cubicBezTo>
                    <a:pt x="371457" y="616498"/>
                    <a:pt x="440997" y="575610"/>
                    <a:pt x="486016" y="522854"/>
                  </a:cubicBezTo>
                  <a:cubicBezTo>
                    <a:pt x="444553" y="470620"/>
                    <a:pt x="379823" y="433078"/>
                    <a:pt x="357444" y="366832"/>
                  </a:cubicBezTo>
                  <a:cubicBezTo>
                    <a:pt x="342177" y="321709"/>
                    <a:pt x="343693" y="276325"/>
                    <a:pt x="361993" y="232457"/>
                  </a:cubicBezTo>
                  <a:cubicBezTo>
                    <a:pt x="385940" y="174942"/>
                    <a:pt x="443089" y="139022"/>
                    <a:pt x="483767" y="94108"/>
                  </a:cubicBezTo>
                  <a:lnTo>
                    <a:pt x="415691" y="25718"/>
                  </a:lnTo>
                  <a:cubicBezTo>
                    <a:pt x="415377" y="23836"/>
                    <a:pt x="433102" y="2346"/>
                    <a:pt x="436083" y="830"/>
                  </a:cubicBezTo>
                  <a:cubicBezTo>
                    <a:pt x="438749" y="-530"/>
                    <a:pt x="439847" y="-268"/>
                    <a:pt x="441834" y="1980"/>
                  </a:cubicBezTo>
                  <a:lnTo>
                    <a:pt x="510486" y="68070"/>
                  </a:lnTo>
                  <a:lnTo>
                    <a:pt x="582013" y="882"/>
                  </a:lnTo>
                  <a:lnTo>
                    <a:pt x="604757" y="23783"/>
                  </a:lnTo>
                  <a:lnTo>
                    <a:pt x="534276" y="92487"/>
                  </a:lnTo>
                  <a:lnTo>
                    <a:pt x="572079" y="129454"/>
                  </a:lnTo>
                  <a:cubicBezTo>
                    <a:pt x="615633" y="104513"/>
                    <a:pt x="658350" y="77638"/>
                    <a:pt x="704310" y="57142"/>
                  </a:cubicBezTo>
                  <a:cubicBezTo>
                    <a:pt x="774321" y="25927"/>
                    <a:pt x="884174" y="-9104"/>
                    <a:pt x="956015" y="30528"/>
                  </a:cubicBezTo>
                  <a:cubicBezTo>
                    <a:pt x="1048404" y="81612"/>
                    <a:pt x="1020588" y="212693"/>
                    <a:pt x="987962" y="292900"/>
                  </a:cubicBezTo>
                  <a:cubicBezTo>
                    <a:pt x="988589" y="299854"/>
                    <a:pt x="997373" y="302311"/>
                    <a:pt x="1000772" y="306180"/>
                  </a:cubicBezTo>
                  <a:close/>
                  <a:moveTo>
                    <a:pt x="597856" y="200301"/>
                  </a:moveTo>
                  <a:lnTo>
                    <a:pt x="564340" y="166577"/>
                  </a:lnTo>
                  <a:cubicBezTo>
                    <a:pt x="543949" y="169452"/>
                    <a:pt x="471323" y="160302"/>
                    <a:pt x="457520" y="168250"/>
                  </a:cubicBezTo>
                  <a:cubicBezTo>
                    <a:pt x="449677" y="172746"/>
                    <a:pt x="433259" y="193608"/>
                    <a:pt x="424580" y="200301"/>
                  </a:cubicBezTo>
                  <a:lnTo>
                    <a:pt x="597856" y="200301"/>
                  </a:lnTo>
                  <a:close/>
                  <a:moveTo>
                    <a:pt x="638900" y="284691"/>
                  </a:moveTo>
                  <a:cubicBezTo>
                    <a:pt x="636704" y="276639"/>
                    <a:pt x="634979" y="252064"/>
                    <a:pt x="626404" y="250443"/>
                  </a:cubicBezTo>
                  <a:lnTo>
                    <a:pt x="390123" y="251803"/>
                  </a:lnTo>
                  <a:lnTo>
                    <a:pt x="381235" y="284638"/>
                  </a:lnTo>
                  <a:lnTo>
                    <a:pt x="638900" y="284638"/>
                  </a:lnTo>
                  <a:close/>
                  <a:moveTo>
                    <a:pt x="636599" y="337134"/>
                  </a:moveTo>
                  <a:lnTo>
                    <a:pt x="383483" y="337134"/>
                  </a:lnTo>
                  <a:lnTo>
                    <a:pt x="394620" y="369917"/>
                  </a:lnTo>
                  <a:lnTo>
                    <a:pt x="621750" y="371329"/>
                  </a:lnTo>
                  <a:cubicBezTo>
                    <a:pt x="629279" y="371433"/>
                    <a:pt x="637959" y="338441"/>
                    <a:pt x="636547" y="337134"/>
                  </a:cubicBezTo>
                  <a:close/>
                  <a:moveTo>
                    <a:pt x="588758" y="421523"/>
                  </a:moveTo>
                  <a:lnTo>
                    <a:pt x="433677" y="421523"/>
                  </a:lnTo>
                  <a:lnTo>
                    <a:pt x="467193" y="455248"/>
                  </a:lnTo>
                  <a:cubicBezTo>
                    <a:pt x="493231" y="454097"/>
                    <a:pt x="523453" y="458385"/>
                    <a:pt x="548968" y="455875"/>
                  </a:cubicBezTo>
                  <a:cubicBezTo>
                    <a:pt x="563085" y="454463"/>
                    <a:pt x="578301" y="431510"/>
                    <a:pt x="588758" y="421523"/>
                  </a:cubicBezTo>
                  <a:close/>
                  <a:moveTo>
                    <a:pt x="588758" y="626798"/>
                  </a:moveTo>
                  <a:lnTo>
                    <a:pt x="555242" y="593074"/>
                  </a:lnTo>
                  <a:cubicBezTo>
                    <a:pt x="529204" y="594224"/>
                    <a:pt x="498983" y="589937"/>
                    <a:pt x="473467" y="592446"/>
                  </a:cubicBezTo>
                  <a:cubicBezTo>
                    <a:pt x="459350" y="593858"/>
                    <a:pt x="444135" y="616812"/>
                    <a:pt x="433677" y="626798"/>
                  </a:cubicBezTo>
                  <a:lnTo>
                    <a:pt x="588758" y="626798"/>
                  </a:lnTo>
                  <a:close/>
                  <a:moveTo>
                    <a:pt x="383535" y="711188"/>
                  </a:moveTo>
                  <a:lnTo>
                    <a:pt x="638900" y="711188"/>
                  </a:lnTo>
                  <a:lnTo>
                    <a:pt x="625985" y="676888"/>
                  </a:lnTo>
                  <a:lnTo>
                    <a:pt x="398280" y="676784"/>
                  </a:lnTo>
                  <a:lnTo>
                    <a:pt x="394724" y="678352"/>
                  </a:lnTo>
                  <a:lnTo>
                    <a:pt x="383587" y="711136"/>
                  </a:lnTo>
                  <a:close/>
                  <a:moveTo>
                    <a:pt x="638900" y="763631"/>
                  </a:moveTo>
                  <a:lnTo>
                    <a:pt x="381235" y="763631"/>
                  </a:lnTo>
                  <a:lnTo>
                    <a:pt x="390123" y="796466"/>
                  </a:lnTo>
                  <a:lnTo>
                    <a:pt x="626404" y="797826"/>
                  </a:lnTo>
                  <a:cubicBezTo>
                    <a:pt x="634979" y="796205"/>
                    <a:pt x="636704" y="771631"/>
                    <a:pt x="638900" y="763578"/>
                  </a:cubicBezTo>
                  <a:close/>
                  <a:moveTo>
                    <a:pt x="595555" y="848020"/>
                  </a:moveTo>
                  <a:lnTo>
                    <a:pt x="424527" y="848020"/>
                  </a:lnTo>
                  <a:lnTo>
                    <a:pt x="458043" y="881745"/>
                  </a:lnTo>
                  <a:cubicBezTo>
                    <a:pt x="489885" y="880176"/>
                    <a:pt x="526799" y="885457"/>
                    <a:pt x="558066" y="882372"/>
                  </a:cubicBezTo>
                  <a:cubicBezTo>
                    <a:pt x="562040" y="881954"/>
                    <a:pt x="563347" y="882268"/>
                    <a:pt x="567164" y="880072"/>
                  </a:cubicBezTo>
                  <a:cubicBezTo>
                    <a:pt x="569673" y="878660"/>
                    <a:pt x="589594" y="858216"/>
                    <a:pt x="592156" y="854870"/>
                  </a:cubicBezTo>
                  <a:cubicBezTo>
                    <a:pt x="593934" y="852569"/>
                    <a:pt x="596548" y="851994"/>
                    <a:pt x="595555" y="848020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1" name="Freeform: Shape 1050">
              <a:extLst>
                <a:ext uri="{FF2B5EF4-FFF2-40B4-BE49-F238E27FC236}">
                  <a16:creationId xmlns:a16="http://schemas.microsoft.com/office/drawing/2014/main" id="{10F2E073-3C4A-335A-C27D-1CB933CE8D85}"/>
                </a:ext>
              </a:extLst>
            </p:cNvPr>
            <p:cNvSpPr/>
            <p:nvPr/>
          </p:nvSpPr>
          <p:spPr>
            <a:xfrm>
              <a:off x="-4101893" y="2101560"/>
              <a:ext cx="399181" cy="477334"/>
            </a:xfrm>
            <a:custGeom>
              <a:avLst/>
              <a:gdLst>
                <a:gd name="connsiteX0" fmla="*/ 385629 w 399181"/>
                <a:gd name="connsiteY0" fmla="*/ 119280 h 477334"/>
                <a:gd name="connsiteX1" fmla="*/ 378937 w 399181"/>
                <a:gd name="connsiteY1" fmla="*/ 118391 h 477334"/>
                <a:gd name="connsiteX2" fmla="*/ 302286 w 399181"/>
                <a:gd name="connsiteY2" fmla="*/ 78706 h 477334"/>
                <a:gd name="connsiteX3" fmla="*/ 40803 w 399181"/>
                <a:gd name="connsiteY3" fmla="*/ 203408 h 477334"/>
                <a:gd name="connsiteX4" fmla="*/ 76828 w 399181"/>
                <a:gd name="connsiteY4" fmla="*/ 306464 h 477334"/>
                <a:gd name="connsiteX5" fmla="*/ 96854 w 399181"/>
                <a:gd name="connsiteY5" fmla="*/ 309288 h 477334"/>
                <a:gd name="connsiteX6" fmla="*/ 152643 w 399181"/>
                <a:gd name="connsiteY6" fmla="*/ 367482 h 477334"/>
                <a:gd name="connsiteX7" fmla="*/ 139519 w 399181"/>
                <a:gd name="connsiteY7" fmla="*/ 419193 h 477334"/>
                <a:gd name="connsiteX8" fmla="*/ 166760 w 399181"/>
                <a:gd name="connsiteY8" fmla="*/ 460394 h 477334"/>
                <a:gd name="connsiteX9" fmla="*/ 138683 w 399181"/>
                <a:gd name="connsiteY9" fmla="*/ 477335 h 477334"/>
                <a:gd name="connsiteX10" fmla="*/ 112121 w 399181"/>
                <a:gd name="connsiteY10" fmla="*/ 439741 h 477334"/>
                <a:gd name="connsiteX11" fmla="*/ 16595 w 399181"/>
                <a:gd name="connsiteY11" fmla="*/ 382593 h 477334"/>
                <a:gd name="connsiteX12" fmla="*/ 45927 w 399181"/>
                <a:gd name="connsiteY12" fmla="*/ 316764 h 477334"/>
                <a:gd name="connsiteX13" fmla="*/ 47182 w 399181"/>
                <a:gd name="connsiteY13" fmla="*/ 28250 h 477334"/>
                <a:gd name="connsiteX14" fmla="*/ 309762 w 399181"/>
                <a:gd name="connsiteY14" fmla="*/ 43779 h 477334"/>
                <a:gd name="connsiteX15" fmla="*/ 394727 w 399181"/>
                <a:gd name="connsiteY15" fmla="*/ 88797 h 477334"/>
                <a:gd name="connsiteX16" fmla="*/ 399119 w 399181"/>
                <a:gd name="connsiteY16" fmla="*/ 95072 h 477334"/>
                <a:gd name="connsiteX17" fmla="*/ 385577 w 399181"/>
                <a:gd name="connsiteY17" fmla="*/ 119280 h 477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99181" h="477334">
                  <a:moveTo>
                    <a:pt x="385629" y="119280"/>
                  </a:moveTo>
                  <a:cubicBezTo>
                    <a:pt x="383277" y="120117"/>
                    <a:pt x="381133" y="119071"/>
                    <a:pt x="378937" y="118391"/>
                  </a:cubicBezTo>
                  <a:cubicBezTo>
                    <a:pt x="358859" y="112065"/>
                    <a:pt x="324507" y="88641"/>
                    <a:pt x="302286" y="78706"/>
                  </a:cubicBezTo>
                  <a:cubicBezTo>
                    <a:pt x="168956" y="19048"/>
                    <a:pt x="-3274" y="-5527"/>
                    <a:pt x="40803" y="203408"/>
                  </a:cubicBezTo>
                  <a:cubicBezTo>
                    <a:pt x="48385" y="239277"/>
                    <a:pt x="63077" y="272740"/>
                    <a:pt x="76828" y="306464"/>
                  </a:cubicBezTo>
                  <a:cubicBezTo>
                    <a:pt x="80227" y="310595"/>
                    <a:pt x="90736" y="307980"/>
                    <a:pt x="96854" y="309288"/>
                  </a:cubicBezTo>
                  <a:cubicBezTo>
                    <a:pt x="125193" y="315144"/>
                    <a:pt x="149087" y="338149"/>
                    <a:pt x="152643" y="367482"/>
                  </a:cubicBezTo>
                  <a:cubicBezTo>
                    <a:pt x="155153" y="388030"/>
                    <a:pt x="145637" y="400788"/>
                    <a:pt x="139519" y="419193"/>
                  </a:cubicBezTo>
                  <a:lnTo>
                    <a:pt x="166760" y="460394"/>
                  </a:lnTo>
                  <a:lnTo>
                    <a:pt x="138683" y="477335"/>
                  </a:lnTo>
                  <a:lnTo>
                    <a:pt x="112121" y="439741"/>
                  </a:lnTo>
                  <a:cubicBezTo>
                    <a:pt x="69926" y="453702"/>
                    <a:pt x="21196" y="428761"/>
                    <a:pt x="16595" y="382593"/>
                  </a:cubicBezTo>
                  <a:cubicBezTo>
                    <a:pt x="13823" y="354515"/>
                    <a:pt x="29039" y="336476"/>
                    <a:pt x="45927" y="316764"/>
                  </a:cubicBezTo>
                  <a:cubicBezTo>
                    <a:pt x="8647" y="235303"/>
                    <a:pt x="-36005" y="95542"/>
                    <a:pt x="47182" y="28250"/>
                  </a:cubicBezTo>
                  <a:cubicBezTo>
                    <a:pt x="116252" y="-27644"/>
                    <a:pt x="237242" y="11205"/>
                    <a:pt x="309762" y="43779"/>
                  </a:cubicBezTo>
                  <a:cubicBezTo>
                    <a:pt x="332664" y="54079"/>
                    <a:pt x="375800" y="74157"/>
                    <a:pt x="394727" y="88797"/>
                  </a:cubicBezTo>
                  <a:cubicBezTo>
                    <a:pt x="396766" y="90366"/>
                    <a:pt x="399642" y="91882"/>
                    <a:pt x="399119" y="95072"/>
                  </a:cubicBezTo>
                  <a:lnTo>
                    <a:pt x="385577" y="119280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71" name="Group 1070">
            <a:extLst>
              <a:ext uri="{FF2B5EF4-FFF2-40B4-BE49-F238E27FC236}">
                <a16:creationId xmlns:a16="http://schemas.microsoft.com/office/drawing/2014/main" id="{D64D60F6-D4FC-3563-9174-97BFDCF37133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280541" y="2416376"/>
            <a:ext cx="395217" cy="395091"/>
            <a:chOff x="-3149120" y="2888321"/>
            <a:chExt cx="1243163" cy="1242770"/>
          </a:xfrm>
          <a:solidFill>
            <a:schemeClr val="bg1"/>
          </a:solidFill>
        </p:grpSpPr>
        <p:sp>
          <p:nvSpPr>
            <p:cNvPr id="1037" name="Freeform: Shape 1036">
              <a:extLst>
                <a:ext uri="{FF2B5EF4-FFF2-40B4-BE49-F238E27FC236}">
                  <a16:creationId xmlns:a16="http://schemas.microsoft.com/office/drawing/2014/main" id="{E014A6E2-97E2-6C44-0AB9-D888BE09C733}"/>
                </a:ext>
              </a:extLst>
            </p:cNvPr>
            <p:cNvSpPr/>
            <p:nvPr/>
          </p:nvSpPr>
          <p:spPr>
            <a:xfrm>
              <a:off x="-2538578" y="3215440"/>
              <a:ext cx="632621" cy="915651"/>
            </a:xfrm>
            <a:custGeom>
              <a:avLst/>
              <a:gdLst>
                <a:gd name="connsiteX0" fmla="*/ 454370 w 632621"/>
                <a:gd name="connsiteY0" fmla="*/ 9762 h 915651"/>
                <a:gd name="connsiteX1" fmla="*/ 479572 w 632621"/>
                <a:gd name="connsiteY1" fmla="*/ 72348 h 915651"/>
                <a:gd name="connsiteX2" fmla="*/ 491912 w 632621"/>
                <a:gd name="connsiteY2" fmla="*/ 335765 h 915651"/>
                <a:gd name="connsiteX3" fmla="*/ 606052 w 632621"/>
                <a:gd name="connsiteY3" fmla="*/ 726603 h 915651"/>
                <a:gd name="connsiteX4" fmla="*/ 51977 w 632621"/>
                <a:gd name="connsiteY4" fmla="*/ 773661 h 915651"/>
                <a:gd name="connsiteX5" fmla="*/ 232887 w 632621"/>
                <a:gd name="connsiteY5" fmla="*/ 294093 h 915651"/>
                <a:gd name="connsiteX6" fmla="*/ 240886 w 632621"/>
                <a:gd name="connsiteY6" fmla="*/ 235951 h 915651"/>
                <a:gd name="connsiteX7" fmla="*/ 258141 w 632621"/>
                <a:gd name="connsiteY7" fmla="*/ 155117 h 915651"/>
                <a:gd name="connsiteX8" fmla="*/ 304728 w 632621"/>
                <a:gd name="connsiteY8" fmla="*/ 256447 h 915651"/>
                <a:gd name="connsiteX9" fmla="*/ 304518 w 632621"/>
                <a:gd name="connsiteY9" fmla="*/ 283898 h 915651"/>
                <a:gd name="connsiteX10" fmla="*/ 430005 w 632621"/>
                <a:gd name="connsiteY10" fmla="*/ 305387 h 915651"/>
                <a:gd name="connsiteX11" fmla="*/ 414685 w 632621"/>
                <a:gd name="connsiteY11" fmla="*/ 84688 h 915651"/>
                <a:gd name="connsiteX12" fmla="*/ 398006 w 632621"/>
                <a:gd name="connsiteY12" fmla="*/ 30624 h 915651"/>
                <a:gd name="connsiteX13" fmla="*/ 454318 w 632621"/>
                <a:gd name="connsiteY13" fmla="*/ 9657 h 915651"/>
                <a:gd name="connsiteX14" fmla="*/ 382163 w 632621"/>
                <a:gd name="connsiteY14" fmla="*/ 426377 h 915651"/>
                <a:gd name="connsiteX15" fmla="*/ 249932 w 632621"/>
                <a:gd name="connsiteY15" fmla="*/ 426377 h 915651"/>
                <a:gd name="connsiteX16" fmla="*/ 249932 w 632621"/>
                <a:gd name="connsiteY16" fmla="*/ 533563 h 915651"/>
                <a:gd name="connsiteX17" fmla="*/ 142745 w 632621"/>
                <a:gd name="connsiteY17" fmla="*/ 533563 h 915651"/>
                <a:gd name="connsiteX18" fmla="*/ 142745 w 632621"/>
                <a:gd name="connsiteY18" fmla="*/ 665847 h 915651"/>
                <a:gd name="connsiteX19" fmla="*/ 249932 w 632621"/>
                <a:gd name="connsiteY19" fmla="*/ 665847 h 915651"/>
                <a:gd name="connsiteX20" fmla="*/ 249932 w 632621"/>
                <a:gd name="connsiteY20" fmla="*/ 771883 h 915651"/>
                <a:gd name="connsiteX21" fmla="*/ 253330 w 632621"/>
                <a:gd name="connsiteY21" fmla="*/ 775282 h 915651"/>
                <a:gd name="connsiteX22" fmla="*/ 378765 w 632621"/>
                <a:gd name="connsiteY22" fmla="*/ 775282 h 915651"/>
                <a:gd name="connsiteX23" fmla="*/ 382163 w 632621"/>
                <a:gd name="connsiteY23" fmla="*/ 771883 h 915651"/>
                <a:gd name="connsiteX24" fmla="*/ 382163 w 632621"/>
                <a:gd name="connsiteY24" fmla="*/ 665847 h 915651"/>
                <a:gd name="connsiteX25" fmla="*/ 488199 w 632621"/>
                <a:gd name="connsiteY25" fmla="*/ 665847 h 915651"/>
                <a:gd name="connsiteX26" fmla="*/ 491598 w 632621"/>
                <a:gd name="connsiteY26" fmla="*/ 662448 h 915651"/>
                <a:gd name="connsiteX27" fmla="*/ 491598 w 632621"/>
                <a:gd name="connsiteY27" fmla="*/ 537014 h 915651"/>
                <a:gd name="connsiteX28" fmla="*/ 488199 w 632621"/>
                <a:gd name="connsiteY28" fmla="*/ 533616 h 915651"/>
                <a:gd name="connsiteX29" fmla="*/ 382163 w 632621"/>
                <a:gd name="connsiteY29" fmla="*/ 533616 h 915651"/>
                <a:gd name="connsiteX30" fmla="*/ 382163 w 632621"/>
                <a:gd name="connsiteY30" fmla="*/ 426429 h 91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632621" h="915651">
                  <a:moveTo>
                    <a:pt x="454370" y="9762"/>
                  </a:moveTo>
                  <a:cubicBezTo>
                    <a:pt x="462318" y="17709"/>
                    <a:pt x="475808" y="59434"/>
                    <a:pt x="479572" y="72348"/>
                  </a:cubicBezTo>
                  <a:cubicBezTo>
                    <a:pt x="504356" y="157470"/>
                    <a:pt x="506813" y="248552"/>
                    <a:pt x="491912" y="335765"/>
                  </a:cubicBezTo>
                  <a:cubicBezTo>
                    <a:pt x="617712" y="424076"/>
                    <a:pt x="668220" y="583131"/>
                    <a:pt x="606052" y="726603"/>
                  </a:cubicBezTo>
                  <a:cubicBezTo>
                    <a:pt x="506656" y="956087"/>
                    <a:pt x="189542" y="982491"/>
                    <a:pt x="51977" y="773661"/>
                  </a:cubicBezTo>
                  <a:cubicBezTo>
                    <a:pt x="-66765" y="593379"/>
                    <a:pt x="28187" y="351608"/>
                    <a:pt x="232887" y="294093"/>
                  </a:cubicBezTo>
                  <a:cubicBezTo>
                    <a:pt x="234821" y="291061"/>
                    <a:pt x="240729" y="242801"/>
                    <a:pt x="240886" y="235951"/>
                  </a:cubicBezTo>
                  <a:cubicBezTo>
                    <a:pt x="241514" y="209495"/>
                    <a:pt x="225410" y="166986"/>
                    <a:pt x="258141" y="155117"/>
                  </a:cubicBezTo>
                  <a:cubicBezTo>
                    <a:pt x="313198" y="135144"/>
                    <a:pt x="305721" y="225389"/>
                    <a:pt x="304728" y="256447"/>
                  </a:cubicBezTo>
                  <a:cubicBezTo>
                    <a:pt x="304518" y="262879"/>
                    <a:pt x="298819" y="279767"/>
                    <a:pt x="304518" y="283898"/>
                  </a:cubicBezTo>
                  <a:cubicBezTo>
                    <a:pt x="347027" y="283584"/>
                    <a:pt x="390843" y="288237"/>
                    <a:pt x="430005" y="305387"/>
                  </a:cubicBezTo>
                  <a:cubicBezTo>
                    <a:pt x="443286" y="231403"/>
                    <a:pt x="435495" y="156372"/>
                    <a:pt x="414685" y="84688"/>
                  </a:cubicBezTo>
                  <a:cubicBezTo>
                    <a:pt x="410398" y="69995"/>
                    <a:pt x="397326" y="44009"/>
                    <a:pt x="398006" y="30624"/>
                  </a:cubicBezTo>
                  <a:cubicBezTo>
                    <a:pt x="399470" y="2651"/>
                    <a:pt x="434397" y="-10316"/>
                    <a:pt x="454318" y="9657"/>
                  </a:cubicBezTo>
                  <a:close/>
                  <a:moveTo>
                    <a:pt x="382163" y="426377"/>
                  </a:moveTo>
                  <a:lnTo>
                    <a:pt x="249932" y="426377"/>
                  </a:lnTo>
                  <a:lnTo>
                    <a:pt x="249932" y="533563"/>
                  </a:lnTo>
                  <a:lnTo>
                    <a:pt x="142745" y="533563"/>
                  </a:lnTo>
                  <a:lnTo>
                    <a:pt x="142745" y="665847"/>
                  </a:lnTo>
                  <a:lnTo>
                    <a:pt x="249932" y="665847"/>
                  </a:lnTo>
                  <a:lnTo>
                    <a:pt x="249932" y="771883"/>
                  </a:lnTo>
                  <a:lnTo>
                    <a:pt x="253330" y="775282"/>
                  </a:lnTo>
                  <a:lnTo>
                    <a:pt x="378765" y="775282"/>
                  </a:lnTo>
                  <a:lnTo>
                    <a:pt x="382163" y="771883"/>
                  </a:lnTo>
                  <a:lnTo>
                    <a:pt x="382163" y="665847"/>
                  </a:lnTo>
                  <a:lnTo>
                    <a:pt x="488199" y="665847"/>
                  </a:lnTo>
                  <a:lnTo>
                    <a:pt x="491598" y="662448"/>
                  </a:lnTo>
                  <a:lnTo>
                    <a:pt x="491598" y="537014"/>
                  </a:lnTo>
                  <a:lnTo>
                    <a:pt x="488199" y="533616"/>
                  </a:lnTo>
                  <a:lnTo>
                    <a:pt x="382163" y="533616"/>
                  </a:lnTo>
                  <a:lnTo>
                    <a:pt x="382163" y="426429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1" name="Freeform: Shape 1040">
              <a:extLst>
                <a:ext uri="{FF2B5EF4-FFF2-40B4-BE49-F238E27FC236}">
                  <a16:creationId xmlns:a16="http://schemas.microsoft.com/office/drawing/2014/main" id="{B981CE5F-3A51-ED1D-6AB8-51129DC126E1}"/>
                </a:ext>
              </a:extLst>
            </p:cNvPr>
            <p:cNvSpPr/>
            <p:nvPr/>
          </p:nvSpPr>
          <p:spPr>
            <a:xfrm>
              <a:off x="-3149120" y="2888321"/>
              <a:ext cx="785271" cy="1112044"/>
            </a:xfrm>
            <a:custGeom>
              <a:avLst/>
              <a:gdLst>
                <a:gd name="connsiteX0" fmla="*/ 775300 w 785271"/>
                <a:gd name="connsiteY0" fmla="*/ 47269 h 1112044"/>
                <a:gd name="connsiteX1" fmla="*/ 775039 w 785271"/>
                <a:gd name="connsiteY1" fmla="*/ 94431 h 1112044"/>
                <a:gd name="connsiteX2" fmla="*/ 707119 w 785271"/>
                <a:gd name="connsiteY2" fmla="*/ 89150 h 1112044"/>
                <a:gd name="connsiteX3" fmla="*/ 158534 w 785271"/>
                <a:gd name="connsiteY3" fmla="*/ 269223 h 1112044"/>
                <a:gd name="connsiteX4" fmla="*/ 545817 w 785271"/>
                <a:gd name="connsiteY4" fmla="*/ 1048755 h 1112044"/>
                <a:gd name="connsiteX5" fmla="*/ 541843 w 785271"/>
                <a:gd name="connsiteY5" fmla="*/ 1110976 h 1112044"/>
                <a:gd name="connsiteX6" fmla="*/ 432199 w 785271"/>
                <a:gd name="connsiteY6" fmla="*/ 1098532 h 1112044"/>
                <a:gd name="connsiteX7" fmla="*/ 5702 w 785271"/>
                <a:gd name="connsiteY7" fmla="*/ 637944 h 1112044"/>
                <a:gd name="connsiteX8" fmla="*/ 637840 w 785271"/>
                <a:gd name="connsiteY8" fmla="*/ 5701 h 1112044"/>
                <a:gd name="connsiteX9" fmla="*/ 775300 w 785271"/>
                <a:gd name="connsiteY9" fmla="*/ 47217 h 1112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85271" h="1112044">
                  <a:moveTo>
                    <a:pt x="775300" y="47269"/>
                  </a:moveTo>
                  <a:cubicBezTo>
                    <a:pt x="789052" y="60079"/>
                    <a:pt x="788215" y="81725"/>
                    <a:pt x="775039" y="94431"/>
                  </a:cubicBezTo>
                  <a:cubicBezTo>
                    <a:pt x="754438" y="114352"/>
                    <a:pt x="729132" y="95633"/>
                    <a:pt x="707119" y="89150"/>
                  </a:cubicBezTo>
                  <a:cubicBezTo>
                    <a:pt x="499439" y="28184"/>
                    <a:pt x="286112" y="93124"/>
                    <a:pt x="158534" y="269223"/>
                  </a:cubicBezTo>
                  <a:cubicBezTo>
                    <a:pt x="-75080" y="591671"/>
                    <a:pt x="154247" y="1037096"/>
                    <a:pt x="545817" y="1048755"/>
                  </a:cubicBezTo>
                  <a:cubicBezTo>
                    <a:pt x="575934" y="1058585"/>
                    <a:pt x="572274" y="1105433"/>
                    <a:pt x="541843" y="1110976"/>
                  </a:cubicBezTo>
                  <a:cubicBezTo>
                    <a:pt x="516694" y="1115525"/>
                    <a:pt x="458708" y="1104440"/>
                    <a:pt x="432199" y="1098532"/>
                  </a:cubicBezTo>
                  <a:cubicBezTo>
                    <a:pt x="210664" y="1049435"/>
                    <a:pt x="37492" y="863192"/>
                    <a:pt x="5702" y="637944"/>
                  </a:cubicBezTo>
                  <a:cubicBezTo>
                    <a:pt x="-46531" y="267707"/>
                    <a:pt x="267655" y="-46532"/>
                    <a:pt x="637840" y="5701"/>
                  </a:cubicBezTo>
                  <a:cubicBezTo>
                    <a:pt x="664349" y="9466"/>
                    <a:pt x="757784" y="30851"/>
                    <a:pt x="775300" y="47217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3" name="Freeform: Shape 1042">
              <a:extLst>
                <a:ext uri="{FF2B5EF4-FFF2-40B4-BE49-F238E27FC236}">
                  <a16:creationId xmlns:a16="http://schemas.microsoft.com/office/drawing/2014/main" id="{B9B3EF9F-7C9C-E4BE-AD94-A55D6EC9A94B}"/>
                </a:ext>
              </a:extLst>
            </p:cNvPr>
            <p:cNvSpPr/>
            <p:nvPr/>
          </p:nvSpPr>
          <p:spPr>
            <a:xfrm>
              <a:off x="-2626285" y="2902662"/>
              <a:ext cx="574408" cy="575088"/>
            </a:xfrm>
            <a:custGeom>
              <a:avLst/>
              <a:gdLst>
                <a:gd name="connsiteX0" fmla="*/ 564875 w 574408"/>
                <a:gd name="connsiteY0" fmla="*/ 101318 h 575088"/>
                <a:gd name="connsiteX1" fmla="*/ 529791 w 574408"/>
                <a:gd name="connsiteY1" fmla="*/ 155800 h 575088"/>
                <a:gd name="connsiteX2" fmla="*/ 496118 w 574408"/>
                <a:gd name="connsiteY2" fmla="*/ 127827 h 575088"/>
                <a:gd name="connsiteX3" fmla="*/ 475518 w 574408"/>
                <a:gd name="connsiteY3" fmla="*/ 152977 h 575088"/>
                <a:gd name="connsiteX4" fmla="*/ 495386 w 574408"/>
                <a:gd name="connsiteY4" fmla="*/ 178858 h 575088"/>
                <a:gd name="connsiteX5" fmla="*/ 481322 w 574408"/>
                <a:gd name="connsiteY5" fmla="*/ 263718 h 575088"/>
                <a:gd name="connsiteX6" fmla="*/ 252047 w 574408"/>
                <a:gd name="connsiteY6" fmla="*/ 492784 h 575088"/>
                <a:gd name="connsiteX7" fmla="*/ 126665 w 574408"/>
                <a:gd name="connsiteY7" fmla="*/ 495502 h 575088"/>
                <a:gd name="connsiteX8" fmla="*/ 51112 w 574408"/>
                <a:gd name="connsiteY8" fmla="*/ 570062 h 575088"/>
                <a:gd name="connsiteX9" fmla="*/ 656 w 574408"/>
                <a:gd name="connsiteY9" fmla="*/ 535554 h 575088"/>
                <a:gd name="connsiteX10" fmla="*/ 79556 w 574408"/>
                <a:gd name="connsiteY10" fmla="*/ 448393 h 575088"/>
                <a:gd name="connsiteX11" fmla="*/ 86719 w 574408"/>
                <a:gd name="connsiteY11" fmla="*/ 318305 h 575088"/>
                <a:gd name="connsiteX12" fmla="*/ 313745 w 574408"/>
                <a:gd name="connsiteY12" fmla="*/ 91488 h 575088"/>
                <a:gd name="connsiteX13" fmla="*/ 425428 w 574408"/>
                <a:gd name="connsiteY13" fmla="*/ 102782 h 575088"/>
                <a:gd name="connsiteX14" fmla="*/ 449322 w 574408"/>
                <a:gd name="connsiteY14" fmla="*/ 78887 h 575088"/>
                <a:gd name="connsiteX15" fmla="*/ 423284 w 574408"/>
                <a:gd name="connsiteY15" fmla="*/ 14053 h 575088"/>
                <a:gd name="connsiteX16" fmla="*/ 483570 w 574408"/>
                <a:gd name="connsiteY16" fmla="*/ 19543 h 575088"/>
                <a:gd name="connsiteX17" fmla="*/ 564822 w 574408"/>
                <a:gd name="connsiteY17" fmla="*/ 101318 h 575088"/>
                <a:gd name="connsiteX18" fmla="*/ 359809 w 574408"/>
                <a:gd name="connsiteY18" fmla="*/ 139748 h 575088"/>
                <a:gd name="connsiteX19" fmla="*/ 305588 w 574408"/>
                <a:gd name="connsiteY19" fmla="*/ 192819 h 575088"/>
                <a:gd name="connsiteX20" fmla="*/ 303340 w 574408"/>
                <a:gd name="connsiteY20" fmla="*/ 197472 h 575088"/>
                <a:gd name="connsiteX21" fmla="*/ 377534 w 574408"/>
                <a:gd name="connsiteY21" fmla="*/ 271666 h 575088"/>
                <a:gd name="connsiteX22" fmla="*/ 435205 w 574408"/>
                <a:gd name="connsiteY22" fmla="*/ 215093 h 575088"/>
                <a:gd name="connsiteX23" fmla="*/ 435780 w 574408"/>
                <a:gd name="connsiteY23" fmla="*/ 208975 h 575088"/>
                <a:gd name="connsiteX24" fmla="*/ 370841 w 574408"/>
                <a:gd name="connsiteY24" fmla="*/ 141421 h 575088"/>
                <a:gd name="connsiteX25" fmla="*/ 359809 w 574408"/>
                <a:gd name="connsiteY25" fmla="*/ 139644 h 575088"/>
                <a:gd name="connsiteX26" fmla="*/ 330476 w 574408"/>
                <a:gd name="connsiteY26" fmla="*/ 323795 h 575088"/>
                <a:gd name="connsiteX27" fmla="*/ 328646 w 574408"/>
                <a:gd name="connsiteY27" fmla="*/ 316005 h 575088"/>
                <a:gd name="connsiteX28" fmla="*/ 260204 w 574408"/>
                <a:gd name="connsiteY28" fmla="*/ 247614 h 575088"/>
                <a:gd name="connsiteX29" fmla="*/ 254766 w 574408"/>
                <a:gd name="connsiteY29" fmla="*/ 244425 h 575088"/>
                <a:gd name="connsiteX30" fmla="*/ 130169 w 574408"/>
                <a:gd name="connsiteY30" fmla="*/ 368552 h 575088"/>
                <a:gd name="connsiteX31" fmla="*/ 126352 w 574408"/>
                <a:gd name="connsiteY31" fmla="*/ 399819 h 575088"/>
                <a:gd name="connsiteX32" fmla="*/ 170429 w 574408"/>
                <a:gd name="connsiteY32" fmla="*/ 446981 h 575088"/>
                <a:gd name="connsiteX33" fmla="*/ 232597 w 574408"/>
                <a:gd name="connsiteY33" fmla="*/ 420838 h 575088"/>
                <a:gd name="connsiteX34" fmla="*/ 322842 w 574408"/>
                <a:gd name="connsiteY34" fmla="*/ 328605 h 575088"/>
                <a:gd name="connsiteX35" fmla="*/ 330581 w 574408"/>
                <a:gd name="connsiteY35" fmla="*/ 323900 h 57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574408" h="575088">
                  <a:moveTo>
                    <a:pt x="564875" y="101318"/>
                  </a:moveTo>
                  <a:cubicBezTo>
                    <a:pt x="588456" y="128402"/>
                    <a:pt x="565084" y="167460"/>
                    <a:pt x="529791" y="155800"/>
                  </a:cubicBezTo>
                  <a:cubicBezTo>
                    <a:pt x="518601" y="152088"/>
                    <a:pt x="502184" y="127827"/>
                    <a:pt x="496118" y="127827"/>
                  </a:cubicBezTo>
                  <a:cubicBezTo>
                    <a:pt x="489478" y="131853"/>
                    <a:pt x="471962" y="145291"/>
                    <a:pt x="475518" y="152977"/>
                  </a:cubicBezTo>
                  <a:cubicBezTo>
                    <a:pt x="478027" y="158362"/>
                    <a:pt x="491099" y="169447"/>
                    <a:pt x="495386" y="178858"/>
                  </a:cubicBezTo>
                  <a:cubicBezTo>
                    <a:pt x="509242" y="209132"/>
                    <a:pt x="501870" y="239092"/>
                    <a:pt x="481322" y="263718"/>
                  </a:cubicBezTo>
                  <a:cubicBezTo>
                    <a:pt x="415180" y="343036"/>
                    <a:pt x="320908" y="414145"/>
                    <a:pt x="252047" y="492784"/>
                  </a:cubicBezTo>
                  <a:cubicBezTo>
                    <a:pt x="216545" y="523266"/>
                    <a:pt x="163422" y="524939"/>
                    <a:pt x="126665" y="495502"/>
                  </a:cubicBezTo>
                  <a:lnTo>
                    <a:pt x="51112" y="570062"/>
                  </a:lnTo>
                  <a:cubicBezTo>
                    <a:pt x="27008" y="585539"/>
                    <a:pt x="-4991" y="562795"/>
                    <a:pt x="656" y="535554"/>
                  </a:cubicBezTo>
                  <a:cubicBezTo>
                    <a:pt x="5153" y="513959"/>
                    <a:pt x="79503" y="454301"/>
                    <a:pt x="79556" y="448393"/>
                  </a:cubicBezTo>
                  <a:cubicBezTo>
                    <a:pt x="47975" y="406564"/>
                    <a:pt x="53569" y="357206"/>
                    <a:pt x="86719" y="318305"/>
                  </a:cubicBezTo>
                  <a:cubicBezTo>
                    <a:pt x="153749" y="239719"/>
                    <a:pt x="244413" y="169394"/>
                    <a:pt x="313745" y="91488"/>
                  </a:cubicBezTo>
                  <a:cubicBezTo>
                    <a:pt x="350136" y="63045"/>
                    <a:pt x="395886" y="67698"/>
                    <a:pt x="425428" y="102782"/>
                  </a:cubicBezTo>
                  <a:lnTo>
                    <a:pt x="449322" y="78887"/>
                  </a:lnTo>
                  <a:cubicBezTo>
                    <a:pt x="431702" y="60849"/>
                    <a:pt x="403729" y="42026"/>
                    <a:pt x="423284" y="14053"/>
                  </a:cubicBezTo>
                  <a:cubicBezTo>
                    <a:pt x="441741" y="-12352"/>
                    <a:pt x="465688" y="3700"/>
                    <a:pt x="483570" y="19543"/>
                  </a:cubicBezTo>
                  <a:cubicBezTo>
                    <a:pt x="511752" y="44483"/>
                    <a:pt x="536065" y="76639"/>
                    <a:pt x="564822" y="101318"/>
                  </a:cubicBezTo>
                  <a:close/>
                  <a:moveTo>
                    <a:pt x="359809" y="139748"/>
                  </a:moveTo>
                  <a:cubicBezTo>
                    <a:pt x="356149" y="140846"/>
                    <a:pt x="308934" y="187956"/>
                    <a:pt x="305588" y="192819"/>
                  </a:cubicBezTo>
                  <a:cubicBezTo>
                    <a:pt x="304595" y="194283"/>
                    <a:pt x="303235" y="195485"/>
                    <a:pt x="303340" y="197472"/>
                  </a:cubicBezTo>
                  <a:lnTo>
                    <a:pt x="377534" y="271666"/>
                  </a:lnTo>
                  <a:cubicBezTo>
                    <a:pt x="397664" y="254673"/>
                    <a:pt x="418369" y="235589"/>
                    <a:pt x="435205" y="215093"/>
                  </a:cubicBezTo>
                  <a:lnTo>
                    <a:pt x="435780" y="208975"/>
                  </a:lnTo>
                  <a:lnTo>
                    <a:pt x="370841" y="141421"/>
                  </a:lnTo>
                  <a:cubicBezTo>
                    <a:pt x="367599" y="138703"/>
                    <a:pt x="363678" y="138493"/>
                    <a:pt x="359809" y="139644"/>
                  </a:cubicBezTo>
                  <a:close/>
                  <a:moveTo>
                    <a:pt x="330476" y="323795"/>
                  </a:moveTo>
                  <a:cubicBezTo>
                    <a:pt x="332097" y="321024"/>
                    <a:pt x="330163" y="318305"/>
                    <a:pt x="328646" y="316005"/>
                  </a:cubicBezTo>
                  <a:cubicBezTo>
                    <a:pt x="322529" y="306802"/>
                    <a:pt x="270243" y="255353"/>
                    <a:pt x="260204" y="247614"/>
                  </a:cubicBezTo>
                  <a:cubicBezTo>
                    <a:pt x="258478" y="246307"/>
                    <a:pt x="257537" y="243902"/>
                    <a:pt x="254766" y="244425"/>
                  </a:cubicBezTo>
                  <a:lnTo>
                    <a:pt x="130169" y="368552"/>
                  </a:lnTo>
                  <a:cubicBezTo>
                    <a:pt x="123424" y="378382"/>
                    <a:pt x="122064" y="388839"/>
                    <a:pt x="126352" y="399819"/>
                  </a:cubicBezTo>
                  <a:cubicBezTo>
                    <a:pt x="129123" y="406982"/>
                    <a:pt x="163579" y="443164"/>
                    <a:pt x="170429" y="446981"/>
                  </a:cubicBezTo>
                  <a:cubicBezTo>
                    <a:pt x="196519" y="461464"/>
                    <a:pt x="215342" y="437517"/>
                    <a:pt x="232597" y="420838"/>
                  </a:cubicBezTo>
                  <a:cubicBezTo>
                    <a:pt x="263393" y="391087"/>
                    <a:pt x="291994" y="358461"/>
                    <a:pt x="322842" y="328605"/>
                  </a:cubicBezTo>
                  <a:cubicBezTo>
                    <a:pt x="325195" y="326357"/>
                    <a:pt x="330372" y="324266"/>
                    <a:pt x="330581" y="323900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857A9835-10DD-96FF-D61C-F47A073AF679}"/>
                </a:ext>
              </a:extLst>
            </p:cNvPr>
            <p:cNvSpPr/>
            <p:nvPr/>
          </p:nvSpPr>
          <p:spPr>
            <a:xfrm>
              <a:off x="-2952470" y="3084821"/>
              <a:ext cx="435766" cy="716837"/>
            </a:xfrm>
            <a:custGeom>
              <a:avLst/>
              <a:gdLst>
                <a:gd name="connsiteX0" fmla="*/ 328148 w 435766"/>
                <a:gd name="connsiteY0" fmla="*/ 1195 h 716837"/>
                <a:gd name="connsiteX1" fmla="*/ 419126 w 435766"/>
                <a:gd name="connsiteY1" fmla="*/ 6894 h 716837"/>
                <a:gd name="connsiteX2" fmla="*/ 422838 w 435766"/>
                <a:gd name="connsiteY2" fmla="*/ 61690 h 716837"/>
                <a:gd name="connsiteX3" fmla="*/ 359363 w 435766"/>
                <a:gd name="connsiteY3" fmla="*/ 64827 h 716837"/>
                <a:gd name="connsiteX4" fmla="*/ 66665 w 435766"/>
                <a:gd name="connsiteY4" fmla="*/ 328088 h 716837"/>
                <a:gd name="connsiteX5" fmla="*/ 272672 w 435766"/>
                <a:gd name="connsiteY5" fmla="*/ 641438 h 716837"/>
                <a:gd name="connsiteX6" fmla="*/ 343311 w 435766"/>
                <a:gd name="connsiteY6" fmla="*/ 666587 h 716837"/>
                <a:gd name="connsiteX7" fmla="*/ 313769 w 435766"/>
                <a:gd name="connsiteY7" fmla="*/ 716834 h 716837"/>
                <a:gd name="connsiteX8" fmla="*/ 75502 w 435766"/>
                <a:gd name="connsiteY8" fmla="*/ 580890 h 716837"/>
                <a:gd name="connsiteX9" fmla="*/ 328096 w 435766"/>
                <a:gd name="connsiteY9" fmla="*/ 1195 h 71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5766" h="716837">
                  <a:moveTo>
                    <a:pt x="328148" y="1195"/>
                  </a:moveTo>
                  <a:cubicBezTo>
                    <a:pt x="348905" y="-321"/>
                    <a:pt x="401871" y="-1942"/>
                    <a:pt x="419126" y="6894"/>
                  </a:cubicBezTo>
                  <a:cubicBezTo>
                    <a:pt x="439569" y="17352"/>
                    <a:pt x="441608" y="48253"/>
                    <a:pt x="422838" y="61690"/>
                  </a:cubicBezTo>
                  <a:cubicBezTo>
                    <a:pt x="404067" y="75128"/>
                    <a:pt x="380225" y="64827"/>
                    <a:pt x="359363" y="64827"/>
                  </a:cubicBezTo>
                  <a:cubicBezTo>
                    <a:pt x="211236" y="64723"/>
                    <a:pt x="81358" y="180484"/>
                    <a:pt x="66665" y="328088"/>
                  </a:cubicBezTo>
                  <a:cubicBezTo>
                    <a:pt x="52810" y="466750"/>
                    <a:pt x="138454" y="601334"/>
                    <a:pt x="272672" y="641438"/>
                  </a:cubicBezTo>
                  <a:cubicBezTo>
                    <a:pt x="293900" y="647764"/>
                    <a:pt x="331389" y="648287"/>
                    <a:pt x="343311" y="666587"/>
                  </a:cubicBezTo>
                  <a:cubicBezTo>
                    <a:pt x="358526" y="690011"/>
                    <a:pt x="340906" y="717200"/>
                    <a:pt x="313769" y="716834"/>
                  </a:cubicBezTo>
                  <a:cubicBezTo>
                    <a:pt x="230634" y="715736"/>
                    <a:pt x="125487" y="644575"/>
                    <a:pt x="75502" y="580890"/>
                  </a:cubicBezTo>
                  <a:cubicBezTo>
                    <a:pt x="-99081" y="358361"/>
                    <a:pt x="47320" y="21691"/>
                    <a:pt x="328096" y="1195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2" name="Freeform: Shape 1051">
              <a:extLst>
                <a:ext uri="{FF2B5EF4-FFF2-40B4-BE49-F238E27FC236}">
                  <a16:creationId xmlns:a16="http://schemas.microsoft.com/office/drawing/2014/main" id="{6D3133F3-2D28-17E1-3C5B-34FE917E9A94}"/>
                </a:ext>
              </a:extLst>
            </p:cNvPr>
            <p:cNvSpPr/>
            <p:nvPr/>
          </p:nvSpPr>
          <p:spPr>
            <a:xfrm>
              <a:off x="-2756786" y="3288343"/>
              <a:ext cx="320093" cy="320039"/>
            </a:xfrm>
            <a:custGeom>
              <a:avLst/>
              <a:gdLst>
                <a:gd name="connsiteX0" fmla="*/ 114111 w 320093"/>
                <a:gd name="connsiteY0" fmla="*/ 491 h 320039"/>
                <a:gd name="connsiteX1" fmla="*/ 150032 w 320093"/>
                <a:gd name="connsiteY1" fmla="*/ 45562 h 320039"/>
                <a:gd name="connsiteX2" fmla="*/ 104804 w 320093"/>
                <a:gd name="connsiteY2" fmla="*/ 77874 h 320039"/>
                <a:gd name="connsiteX3" fmla="*/ 243310 w 320093"/>
                <a:gd name="connsiteY3" fmla="*/ 214132 h 320039"/>
                <a:gd name="connsiteX4" fmla="*/ 299308 w 320093"/>
                <a:gd name="connsiteY4" fmla="*/ 169898 h 320039"/>
                <a:gd name="connsiteX5" fmla="*/ 257688 w 320093"/>
                <a:gd name="connsiteY5" fmla="*/ 290103 h 320039"/>
                <a:gd name="connsiteX6" fmla="*/ 6402 w 320093"/>
                <a:gd name="connsiteY6" fmla="*/ 111756 h 320039"/>
                <a:gd name="connsiteX7" fmla="*/ 114111 w 320093"/>
                <a:gd name="connsiteY7" fmla="*/ 491 h 320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0093" h="320039">
                  <a:moveTo>
                    <a:pt x="114111" y="491"/>
                  </a:moveTo>
                  <a:cubicBezTo>
                    <a:pt x="140045" y="-3796"/>
                    <a:pt x="160070" y="20726"/>
                    <a:pt x="150032" y="45562"/>
                  </a:cubicBezTo>
                  <a:cubicBezTo>
                    <a:pt x="142607" y="63862"/>
                    <a:pt x="120438" y="66058"/>
                    <a:pt x="104804" y="77874"/>
                  </a:cubicBezTo>
                  <a:cubicBezTo>
                    <a:pt x="-12578" y="167127"/>
                    <a:pt x="152541" y="334285"/>
                    <a:pt x="243310" y="214132"/>
                  </a:cubicBezTo>
                  <a:cubicBezTo>
                    <a:pt x="258630" y="193845"/>
                    <a:pt x="262133" y="155519"/>
                    <a:pt x="299308" y="169898"/>
                  </a:cubicBezTo>
                  <a:cubicBezTo>
                    <a:pt x="354522" y="191283"/>
                    <a:pt x="285348" y="270862"/>
                    <a:pt x="257688" y="290103"/>
                  </a:cubicBezTo>
                  <a:cubicBezTo>
                    <a:pt x="131522" y="377630"/>
                    <a:pt x="-34800" y="259621"/>
                    <a:pt x="6402" y="111756"/>
                  </a:cubicBezTo>
                  <a:cubicBezTo>
                    <a:pt x="18689" y="67574"/>
                    <a:pt x="66688" y="8334"/>
                    <a:pt x="114111" y="491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69" name="Group 1068">
            <a:extLst>
              <a:ext uri="{FF2B5EF4-FFF2-40B4-BE49-F238E27FC236}">
                <a16:creationId xmlns:a16="http://schemas.microsoft.com/office/drawing/2014/main" id="{2800D8E2-1B06-36B7-948E-66B479AD5AC0}"/>
              </a:ext>
            </a:extLst>
          </p:cNvPr>
          <p:cNvGrpSpPr/>
          <p:nvPr>
            <p:custDataLst>
              <p:tags r:id="rId15"/>
            </p:custDataLst>
          </p:nvPr>
        </p:nvGrpSpPr>
        <p:grpSpPr>
          <a:xfrm>
            <a:off x="300448" y="1809567"/>
            <a:ext cx="355402" cy="392320"/>
            <a:chOff x="-3028046" y="1521954"/>
            <a:chExt cx="1098155" cy="1212229"/>
          </a:xfrm>
          <a:solidFill>
            <a:schemeClr val="bg1"/>
          </a:solidFill>
        </p:grpSpPr>
        <p:sp>
          <p:nvSpPr>
            <p:cNvPr id="1034" name="Freeform: Shape 1033">
              <a:extLst>
                <a:ext uri="{FF2B5EF4-FFF2-40B4-BE49-F238E27FC236}">
                  <a16:creationId xmlns:a16="http://schemas.microsoft.com/office/drawing/2014/main" id="{C9DAEC47-9DBB-D44C-E47C-2C05ACA5D5CD}"/>
                </a:ext>
              </a:extLst>
            </p:cNvPr>
            <p:cNvSpPr/>
            <p:nvPr/>
          </p:nvSpPr>
          <p:spPr>
            <a:xfrm>
              <a:off x="-3028046" y="1521954"/>
              <a:ext cx="1098155" cy="1212229"/>
            </a:xfrm>
            <a:custGeom>
              <a:avLst/>
              <a:gdLst>
                <a:gd name="connsiteX0" fmla="*/ 404194 w 1098155"/>
                <a:gd name="connsiteY0" fmla="*/ 1126638 h 1212229"/>
                <a:gd name="connsiteX1" fmla="*/ 348405 w 1098155"/>
                <a:gd name="connsiteY1" fmla="*/ 1084391 h 1212229"/>
                <a:gd name="connsiteX2" fmla="*/ 200070 w 1098155"/>
                <a:gd name="connsiteY2" fmla="*/ 1089044 h 1212229"/>
                <a:gd name="connsiteX3" fmla="*/ 111811 w 1098155"/>
                <a:gd name="connsiteY3" fmla="*/ 894488 h 1212229"/>
                <a:gd name="connsiteX4" fmla="*/ 703 w 1098155"/>
                <a:gd name="connsiteY4" fmla="*/ 846280 h 1212229"/>
                <a:gd name="connsiteX5" fmla="*/ 102818 w 1098155"/>
                <a:gd name="connsiteY5" fmla="*/ 638286 h 1212229"/>
                <a:gd name="connsiteX6" fmla="*/ 110033 w 1098155"/>
                <a:gd name="connsiteY6" fmla="*/ 545060 h 1212229"/>
                <a:gd name="connsiteX7" fmla="*/ 522256 w 1098155"/>
                <a:gd name="connsiteY7" fmla="*/ 6410 h 1212229"/>
                <a:gd name="connsiteX8" fmla="*/ 1053326 w 1098155"/>
                <a:gd name="connsiteY8" fmla="*/ 710912 h 1212229"/>
                <a:gd name="connsiteX9" fmla="*/ 869331 w 1098155"/>
                <a:gd name="connsiteY9" fmla="*/ 1046902 h 1212229"/>
                <a:gd name="connsiteX10" fmla="*/ 869331 w 1098155"/>
                <a:gd name="connsiteY10" fmla="*/ 1208831 h 1212229"/>
                <a:gd name="connsiteX11" fmla="*/ 865932 w 1098155"/>
                <a:gd name="connsiteY11" fmla="*/ 1212230 h 1212229"/>
                <a:gd name="connsiteX12" fmla="*/ 407593 w 1098155"/>
                <a:gd name="connsiteY12" fmla="*/ 1212230 h 1212229"/>
                <a:gd name="connsiteX13" fmla="*/ 404194 w 1098155"/>
                <a:gd name="connsiteY13" fmla="*/ 1208831 h 1212229"/>
                <a:gd name="connsiteX14" fmla="*/ 404194 w 1098155"/>
                <a:gd name="connsiteY14" fmla="*/ 1126742 h 1212229"/>
                <a:gd name="connsiteX15" fmla="*/ 319805 w 1098155"/>
                <a:gd name="connsiteY15" fmla="*/ 196156 h 1212229"/>
                <a:gd name="connsiteX16" fmla="*/ 319805 w 1098155"/>
                <a:gd name="connsiteY16" fmla="*/ 271395 h 1212229"/>
                <a:gd name="connsiteX17" fmla="*/ 323203 w 1098155"/>
                <a:gd name="connsiteY17" fmla="*/ 274794 h 1212229"/>
                <a:gd name="connsiteX18" fmla="*/ 519328 w 1098155"/>
                <a:gd name="connsiteY18" fmla="*/ 274794 h 1212229"/>
                <a:gd name="connsiteX19" fmla="*/ 525027 w 1098155"/>
                <a:gd name="connsiteY19" fmla="*/ 272493 h 1212229"/>
                <a:gd name="connsiteX20" fmla="*/ 525027 w 1098155"/>
                <a:gd name="connsiteY20" fmla="*/ 209750 h 1212229"/>
                <a:gd name="connsiteX21" fmla="*/ 513577 w 1098155"/>
                <a:gd name="connsiteY21" fmla="*/ 143556 h 1212229"/>
                <a:gd name="connsiteX22" fmla="*/ 568791 w 1098155"/>
                <a:gd name="connsiteY22" fmla="*/ 189672 h 1212229"/>
                <a:gd name="connsiteX23" fmla="*/ 548243 w 1098155"/>
                <a:gd name="connsiteY23" fmla="*/ 210168 h 1212229"/>
                <a:gd name="connsiteX24" fmla="*/ 547876 w 1098155"/>
                <a:gd name="connsiteY24" fmla="*/ 282741 h 1212229"/>
                <a:gd name="connsiteX25" fmla="*/ 542125 w 1098155"/>
                <a:gd name="connsiteY25" fmla="*/ 295238 h 1212229"/>
                <a:gd name="connsiteX26" fmla="*/ 323203 w 1098155"/>
                <a:gd name="connsiteY26" fmla="*/ 295238 h 1212229"/>
                <a:gd name="connsiteX27" fmla="*/ 319805 w 1098155"/>
                <a:gd name="connsiteY27" fmla="*/ 298636 h 1212229"/>
                <a:gd name="connsiteX28" fmla="*/ 319805 w 1098155"/>
                <a:gd name="connsiteY28" fmla="*/ 458265 h 1212229"/>
                <a:gd name="connsiteX29" fmla="*/ 344327 w 1098155"/>
                <a:gd name="connsiteY29" fmla="*/ 488434 h 1212229"/>
                <a:gd name="connsiteX30" fmla="*/ 271911 w 1098155"/>
                <a:gd name="connsiteY30" fmla="*/ 490160 h 1212229"/>
                <a:gd name="connsiteX31" fmla="*/ 297008 w 1098155"/>
                <a:gd name="connsiteY31" fmla="*/ 458213 h 1212229"/>
                <a:gd name="connsiteX32" fmla="*/ 297008 w 1098155"/>
                <a:gd name="connsiteY32" fmla="*/ 224442 h 1212229"/>
                <a:gd name="connsiteX33" fmla="*/ 276512 w 1098155"/>
                <a:gd name="connsiteY33" fmla="*/ 243893 h 1212229"/>
                <a:gd name="connsiteX34" fmla="*/ 230866 w 1098155"/>
                <a:gd name="connsiteY34" fmla="*/ 670338 h 1212229"/>
                <a:gd name="connsiteX35" fmla="*/ 309191 w 1098155"/>
                <a:gd name="connsiteY35" fmla="*/ 671540 h 1212229"/>
                <a:gd name="connsiteX36" fmla="*/ 380404 w 1098155"/>
                <a:gd name="connsiteY36" fmla="*/ 694389 h 1212229"/>
                <a:gd name="connsiteX37" fmla="*/ 318288 w 1098155"/>
                <a:gd name="connsiteY37" fmla="*/ 709447 h 1212229"/>
                <a:gd name="connsiteX38" fmla="*/ 307256 w 1098155"/>
                <a:gd name="connsiteY38" fmla="*/ 694232 h 1212229"/>
                <a:gd name="connsiteX39" fmla="*/ 244565 w 1098155"/>
                <a:gd name="connsiteY39" fmla="*/ 694232 h 1212229"/>
                <a:gd name="connsiteX40" fmla="*/ 263231 w 1098155"/>
                <a:gd name="connsiteY40" fmla="*/ 729159 h 1212229"/>
                <a:gd name="connsiteX41" fmla="*/ 608371 w 1098155"/>
                <a:gd name="connsiteY41" fmla="*/ 908709 h 1212229"/>
                <a:gd name="connsiteX42" fmla="*/ 623116 w 1098155"/>
                <a:gd name="connsiteY42" fmla="*/ 906304 h 1212229"/>
                <a:gd name="connsiteX43" fmla="*/ 623116 w 1098155"/>
                <a:gd name="connsiteY43" fmla="*/ 745525 h 1212229"/>
                <a:gd name="connsiteX44" fmla="*/ 619717 w 1098155"/>
                <a:gd name="connsiteY44" fmla="*/ 742126 h 1212229"/>
                <a:gd name="connsiteX45" fmla="*/ 541027 w 1098155"/>
                <a:gd name="connsiteY45" fmla="*/ 742126 h 1212229"/>
                <a:gd name="connsiteX46" fmla="*/ 489264 w 1098155"/>
                <a:gd name="connsiteY46" fmla="*/ 765394 h 1212229"/>
                <a:gd name="connsiteX47" fmla="*/ 504009 w 1098155"/>
                <a:gd name="connsiteY47" fmla="*/ 694860 h 1212229"/>
                <a:gd name="connsiteX48" fmla="*/ 542596 w 1098155"/>
                <a:gd name="connsiteY48" fmla="*/ 718911 h 1212229"/>
                <a:gd name="connsiteX49" fmla="*/ 630959 w 1098155"/>
                <a:gd name="connsiteY49" fmla="*/ 719486 h 1212229"/>
                <a:gd name="connsiteX50" fmla="*/ 645913 w 1098155"/>
                <a:gd name="connsiteY50" fmla="*/ 731878 h 1212229"/>
                <a:gd name="connsiteX51" fmla="*/ 645913 w 1098155"/>
                <a:gd name="connsiteY51" fmla="*/ 904056 h 1212229"/>
                <a:gd name="connsiteX52" fmla="*/ 717074 w 1098155"/>
                <a:gd name="connsiteY52" fmla="*/ 891978 h 1212229"/>
                <a:gd name="connsiteX53" fmla="*/ 761674 w 1098155"/>
                <a:gd name="connsiteY53" fmla="*/ 876135 h 1212229"/>
                <a:gd name="connsiteX54" fmla="*/ 764602 w 1098155"/>
                <a:gd name="connsiteY54" fmla="*/ 864214 h 1212229"/>
                <a:gd name="connsiteX55" fmla="*/ 765648 w 1098155"/>
                <a:gd name="connsiteY55" fmla="*/ 726179 h 1212229"/>
                <a:gd name="connsiteX56" fmla="*/ 900807 w 1098155"/>
                <a:gd name="connsiteY56" fmla="*/ 627620 h 1212229"/>
                <a:gd name="connsiteX57" fmla="*/ 901382 w 1098155"/>
                <a:gd name="connsiteY57" fmla="*/ 531570 h 1212229"/>
                <a:gd name="connsiteX58" fmla="*/ 902951 w 1098155"/>
                <a:gd name="connsiteY58" fmla="*/ 459886 h 1212229"/>
                <a:gd name="connsiteX59" fmla="*/ 924022 w 1098155"/>
                <a:gd name="connsiteY59" fmla="*/ 531570 h 1212229"/>
                <a:gd name="connsiteX60" fmla="*/ 923656 w 1098155"/>
                <a:gd name="connsiteY60" fmla="*/ 635620 h 1212229"/>
                <a:gd name="connsiteX61" fmla="*/ 785046 w 1098155"/>
                <a:gd name="connsiteY61" fmla="*/ 740976 h 1212229"/>
                <a:gd name="connsiteX62" fmla="*/ 785046 w 1098155"/>
                <a:gd name="connsiteY62" fmla="*/ 863012 h 1212229"/>
                <a:gd name="connsiteX63" fmla="*/ 815372 w 1098155"/>
                <a:gd name="connsiteY63" fmla="*/ 848894 h 1212229"/>
                <a:gd name="connsiteX64" fmla="*/ 1010503 w 1098155"/>
                <a:gd name="connsiteY64" fmla="*/ 437978 h 1212229"/>
                <a:gd name="connsiteX65" fmla="*/ 994399 w 1098155"/>
                <a:gd name="connsiteY65" fmla="*/ 366347 h 1212229"/>
                <a:gd name="connsiteX66" fmla="*/ 908755 w 1098155"/>
                <a:gd name="connsiteY66" fmla="*/ 366451 h 1212229"/>
                <a:gd name="connsiteX67" fmla="*/ 904676 w 1098155"/>
                <a:gd name="connsiteY67" fmla="*/ 374869 h 1212229"/>
                <a:gd name="connsiteX68" fmla="*/ 848417 w 1098155"/>
                <a:gd name="connsiteY68" fmla="*/ 327080 h 1212229"/>
                <a:gd name="connsiteX69" fmla="*/ 908859 w 1098155"/>
                <a:gd name="connsiteY69" fmla="*/ 340047 h 1212229"/>
                <a:gd name="connsiteX70" fmla="*/ 913879 w 1098155"/>
                <a:gd name="connsiteY70" fmla="*/ 343027 h 1212229"/>
                <a:gd name="connsiteX71" fmla="*/ 980020 w 1098155"/>
                <a:gd name="connsiteY71" fmla="*/ 343027 h 1212229"/>
                <a:gd name="connsiteX72" fmla="*/ 983105 w 1098155"/>
                <a:gd name="connsiteY72" fmla="*/ 337746 h 1212229"/>
                <a:gd name="connsiteX73" fmla="*/ 759949 w 1098155"/>
                <a:gd name="connsiteY73" fmla="*/ 114955 h 1212229"/>
                <a:gd name="connsiteX74" fmla="*/ 759949 w 1098155"/>
                <a:gd name="connsiteY74" fmla="*/ 223292 h 1212229"/>
                <a:gd name="connsiteX75" fmla="*/ 775164 w 1098155"/>
                <a:gd name="connsiteY75" fmla="*/ 234324 h 1212229"/>
                <a:gd name="connsiteX76" fmla="*/ 765752 w 1098155"/>
                <a:gd name="connsiteY76" fmla="*/ 292937 h 1212229"/>
                <a:gd name="connsiteX77" fmla="*/ 734904 w 1098155"/>
                <a:gd name="connsiteY77" fmla="*/ 225593 h 1212229"/>
                <a:gd name="connsiteX78" fmla="*/ 737152 w 1098155"/>
                <a:gd name="connsiteY78" fmla="*/ 220991 h 1212229"/>
                <a:gd name="connsiteX79" fmla="*/ 736838 w 1098155"/>
                <a:gd name="connsiteY79" fmla="*/ 106119 h 1212229"/>
                <a:gd name="connsiteX80" fmla="*/ 319857 w 1098155"/>
                <a:gd name="connsiteY80" fmla="*/ 195894 h 1212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1098155" h="1212229">
                  <a:moveTo>
                    <a:pt x="404194" y="1126638"/>
                  </a:moveTo>
                  <a:cubicBezTo>
                    <a:pt x="399959" y="1104102"/>
                    <a:pt x="370888" y="1084338"/>
                    <a:pt x="348405" y="1084391"/>
                  </a:cubicBezTo>
                  <a:cubicBezTo>
                    <a:pt x="302341" y="1084495"/>
                    <a:pt x="245193" y="1094168"/>
                    <a:pt x="200070" y="1089044"/>
                  </a:cubicBezTo>
                  <a:cubicBezTo>
                    <a:pt x="107994" y="1078587"/>
                    <a:pt x="203050" y="926382"/>
                    <a:pt x="111811" y="894488"/>
                  </a:cubicBezTo>
                  <a:cubicBezTo>
                    <a:pt x="76936" y="882305"/>
                    <a:pt x="-8604" y="904213"/>
                    <a:pt x="703" y="846280"/>
                  </a:cubicBezTo>
                  <a:cubicBezTo>
                    <a:pt x="29879" y="775955"/>
                    <a:pt x="73433" y="707827"/>
                    <a:pt x="102818" y="638286"/>
                  </a:cubicBezTo>
                  <a:cubicBezTo>
                    <a:pt x="121954" y="593059"/>
                    <a:pt x="113223" y="589608"/>
                    <a:pt x="110033" y="545060"/>
                  </a:cubicBezTo>
                  <a:cubicBezTo>
                    <a:pt x="91210" y="284153"/>
                    <a:pt x="259153" y="47245"/>
                    <a:pt x="522256" y="6410"/>
                  </a:cubicBezTo>
                  <a:cubicBezTo>
                    <a:pt x="921774" y="-55602"/>
                    <a:pt x="1213791" y="343759"/>
                    <a:pt x="1053326" y="710912"/>
                  </a:cubicBezTo>
                  <a:cubicBezTo>
                    <a:pt x="1013118" y="802935"/>
                    <a:pt x="869331" y="959009"/>
                    <a:pt x="869331" y="1046902"/>
                  </a:cubicBezTo>
                  <a:lnTo>
                    <a:pt x="869331" y="1208831"/>
                  </a:lnTo>
                  <a:lnTo>
                    <a:pt x="865932" y="1212230"/>
                  </a:lnTo>
                  <a:lnTo>
                    <a:pt x="407593" y="1212230"/>
                  </a:lnTo>
                  <a:lnTo>
                    <a:pt x="404194" y="1208831"/>
                  </a:lnTo>
                  <a:cubicBezTo>
                    <a:pt x="401005" y="1184675"/>
                    <a:pt x="408482" y="1149434"/>
                    <a:pt x="404194" y="1126742"/>
                  </a:cubicBezTo>
                  <a:close/>
                  <a:moveTo>
                    <a:pt x="319805" y="196156"/>
                  </a:moveTo>
                  <a:lnTo>
                    <a:pt x="319805" y="271395"/>
                  </a:lnTo>
                  <a:lnTo>
                    <a:pt x="323203" y="274794"/>
                  </a:lnTo>
                  <a:lnTo>
                    <a:pt x="519328" y="274794"/>
                  </a:lnTo>
                  <a:cubicBezTo>
                    <a:pt x="520060" y="274794"/>
                    <a:pt x="522779" y="271761"/>
                    <a:pt x="525027" y="272493"/>
                  </a:cubicBezTo>
                  <a:lnTo>
                    <a:pt x="525027" y="209750"/>
                  </a:lnTo>
                  <a:cubicBezTo>
                    <a:pt x="498414" y="197149"/>
                    <a:pt x="488845" y="163790"/>
                    <a:pt x="513577" y="143556"/>
                  </a:cubicBezTo>
                  <a:cubicBezTo>
                    <a:pt x="543955" y="118720"/>
                    <a:pt x="587143" y="154065"/>
                    <a:pt x="568791" y="189672"/>
                  </a:cubicBezTo>
                  <a:cubicBezTo>
                    <a:pt x="564347" y="198299"/>
                    <a:pt x="549550" y="205776"/>
                    <a:pt x="548243" y="210168"/>
                  </a:cubicBezTo>
                  <a:cubicBezTo>
                    <a:pt x="543641" y="225227"/>
                    <a:pt x="550073" y="263866"/>
                    <a:pt x="547876" y="282741"/>
                  </a:cubicBezTo>
                  <a:cubicBezTo>
                    <a:pt x="547301" y="287865"/>
                    <a:pt x="546203" y="291734"/>
                    <a:pt x="542125" y="295238"/>
                  </a:cubicBezTo>
                  <a:lnTo>
                    <a:pt x="323203" y="295238"/>
                  </a:lnTo>
                  <a:lnTo>
                    <a:pt x="319805" y="298636"/>
                  </a:lnTo>
                  <a:lnTo>
                    <a:pt x="319805" y="458265"/>
                  </a:lnTo>
                  <a:cubicBezTo>
                    <a:pt x="319805" y="460252"/>
                    <a:pt x="341556" y="471494"/>
                    <a:pt x="344327" y="488434"/>
                  </a:cubicBezTo>
                  <a:cubicBezTo>
                    <a:pt x="353372" y="543805"/>
                    <a:pt x="266002" y="548929"/>
                    <a:pt x="271911" y="490160"/>
                  </a:cubicBezTo>
                  <a:cubicBezTo>
                    <a:pt x="273584" y="473428"/>
                    <a:pt x="284146" y="466631"/>
                    <a:pt x="297008" y="458213"/>
                  </a:cubicBezTo>
                  <a:lnTo>
                    <a:pt x="297008" y="224442"/>
                  </a:lnTo>
                  <a:cubicBezTo>
                    <a:pt x="289427" y="226325"/>
                    <a:pt x="281741" y="237409"/>
                    <a:pt x="276512" y="243893"/>
                  </a:cubicBezTo>
                  <a:cubicBezTo>
                    <a:pt x="183652" y="359079"/>
                    <a:pt x="164568" y="538054"/>
                    <a:pt x="230866" y="670338"/>
                  </a:cubicBezTo>
                  <a:lnTo>
                    <a:pt x="309191" y="671540"/>
                  </a:lnTo>
                  <a:cubicBezTo>
                    <a:pt x="328171" y="627672"/>
                    <a:pt x="391803" y="646025"/>
                    <a:pt x="380404" y="694389"/>
                  </a:cubicBezTo>
                  <a:cubicBezTo>
                    <a:pt x="373973" y="721682"/>
                    <a:pt x="336745" y="728009"/>
                    <a:pt x="318288" y="709447"/>
                  </a:cubicBezTo>
                  <a:cubicBezTo>
                    <a:pt x="315831" y="706990"/>
                    <a:pt x="309975" y="694232"/>
                    <a:pt x="307256" y="694232"/>
                  </a:cubicBezTo>
                  <a:lnTo>
                    <a:pt x="244565" y="694232"/>
                  </a:lnTo>
                  <a:cubicBezTo>
                    <a:pt x="246552" y="706310"/>
                    <a:pt x="256173" y="718911"/>
                    <a:pt x="263231" y="729159"/>
                  </a:cubicBezTo>
                  <a:cubicBezTo>
                    <a:pt x="336955" y="836659"/>
                    <a:pt x="475879" y="914513"/>
                    <a:pt x="608371" y="908709"/>
                  </a:cubicBezTo>
                  <a:cubicBezTo>
                    <a:pt x="613600" y="908500"/>
                    <a:pt x="618149" y="907821"/>
                    <a:pt x="623116" y="906304"/>
                  </a:cubicBezTo>
                  <a:lnTo>
                    <a:pt x="623116" y="745525"/>
                  </a:lnTo>
                  <a:lnTo>
                    <a:pt x="619717" y="742126"/>
                  </a:lnTo>
                  <a:lnTo>
                    <a:pt x="541027" y="742126"/>
                  </a:lnTo>
                  <a:cubicBezTo>
                    <a:pt x="533289" y="763668"/>
                    <a:pt x="511067" y="776687"/>
                    <a:pt x="489264" y="765394"/>
                  </a:cubicBezTo>
                  <a:cubicBezTo>
                    <a:pt x="455278" y="747825"/>
                    <a:pt x="466624" y="696219"/>
                    <a:pt x="504009" y="694860"/>
                  </a:cubicBezTo>
                  <a:cubicBezTo>
                    <a:pt x="524505" y="694075"/>
                    <a:pt x="530413" y="705840"/>
                    <a:pt x="542596" y="718911"/>
                  </a:cubicBezTo>
                  <a:cubicBezTo>
                    <a:pt x="569889" y="722624"/>
                    <a:pt x="604659" y="715356"/>
                    <a:pt x="630959" y="719486"/>
                  </a:cubicBezTo>
                  <a:cubicBezTo>
                    <a:pt x="636083" y="720271"/>
                    <a:pt x="645913" y="727120"/>
                    <a:pt x="645913" y="731878"/>
                  </a:cubicBezTo>
                  <a:lnTo>
                    <a:pt x="645913" y="904056"/>
                  </a:lnTo>
                  <a:cubicBezTo>
                    <a:pt x="669441" y="903899"/>
                    <a:pt x="694382" y="898357"/>
                    <a:pt x="717074" y="891978"/>
                  </a:cubicBezTo>
                  <a:cubicBezTo>
                    <a:pt x="723087" y="890305"/>
                    <a:pt x="759583" y="878227"/>
                    <a:pt x="761674" y="876135"/>
                  </a:cubicBezTo>
                  <a:cubicBezTo>
                    <a:pt x="764184" y="873678"/>
                    <a:pt x="764288" y="867717"/>
                    <a:pt x="764602" y="864214"/>
                  </a:cubicBezTo>
                  <a:cubicBezTo>
                    <a:pt x="768419" y="819876"/>
                    <a:pt x="760628" y="770936"/>
                    <a:pt x="765648" y="726179"/>
                  </a:cubicBezTo>
                  <a:lnTo>
                    <a:pt x="900807" y="627620"/>
                  </a:lnTo>
                  <a:lnTo>
                    <a:pt x="901382" y="531570"/>
                  </a:lnTo>
                  <a:cubicBezTo>
                    <a:pt x="867501" y="520277"/>
                    <a:pt x="868285" y="467259"/>
                    <a:pt x="902951" y="459886"/>
                  </a:cubicBezTo>
                  <a:cubicBezTo>
                    <a:pt x="950427" y="449795"/>
                    <a:pt x="968361" y="513375"/>
                    <a:pt x="924022" y="531570"/>
                  </a:cubicBezTo>
                  <a:lnTo>
                    <a:pt x="923656" y="635620"/>
                  </a:lnTo>
                  <a:lnTo>
                    <a:pt x="785046" y="740976"/>
                  </a:lnTo>
                  <a:lnTo>
                    <a:pt x="785046" y="863012"/>
                  </a:lnTo>
                  <a:cubicBezTo>
                    <a:pt x="794771" y="861234"/>
                    <a:pt x="806535" y="854123"/>
                    <a:pt x="815372" y="848894"/>
                  </a:cubicBezTo>
                  <a:cubicBezTo>
                    <a:pt x="955864" y="765812"/>
                    <a:pt x="1032829" y="599699"/>
                    <a:pt x="1010503" y="437978"/>
                  </a:cubicBezTo>
                  <a:cubicBezTo>
                    <a:pt x="1007157" y="413613"/>
                    <a:pt x="1000203" y="390084"/>
                    <a:pt x="994399" y="366347"/>
                  </a:cubicBezTo>
                  <a:cubicBezTo>
                    <a:pt x="991471" y="362111"/>
                    <a:pt x="913460" y="361798"/>
                    <a:pt x="908755" y="366451"/>
                  </a:cubicBezTo>
                  <a:cubicBezTo>
                    <a:pt x="907029" y="368124"/>
                    <a:pt x="906768" y="372569"/>
                    <a:pt x="904676" y="374869"/>
                  </a:cubicBezTo>
                  <a:cubicBezTo>
                    <a:pt x="865985" y="417691"/>
                    <a:pt x="814588" y="360543"/>
                    <a:pt x="848417" y="327080"/>
                  </a:cubicBezTo>
                  <a:cubicBezTo>
                    <a:pt x="868442" y="307211"/>
                    <a:pt x="899134" y="315054"/>
                    <a:pt x="908859" y="340047"/>
                  </a:cubicBezTo>
                  <a:lnTo>
                    <a:pt x="913879" y="343027"/>
                  </a:lnTo>
                  <a:lnTo>
                    <a:pt x="980020" y="343027"/>
                  </a:lnTo>
                  <a:lnTo>
                    <a:pt x="983105" y="337746"/>
                  </a:lnTo>
                  <a:cubicBezTo>
                    <a:pt x="941381" y="237984"/>
                    <a:pt x="860495" y="155477"/>
                    <a:pt x="759949" y="114955"/>
                  </a:cubicBezTo>
                  <a:lnTo>
                    <a:pt x="759949" y="223292"/>
                  </a:lnTo>
                  <a:cubicBezTo>
                    <a:pt x="759949" y="226011"/>
                    <a:pt x="772706" y="231867"/>
                    <a:pt x="775164" y="234324"/>
                  </a:cubicBezTo>
                  <a:cubicBezTo>
                    <a:pt x="791425" y="250690"/>
                    <a:pt x="786719" y="282480"/>
                    <a:pt x="765752" y="292937"/>
                  </a:cubicBezTo>
                  <a:cubicBezTo>
                    <a:pt x="719009" y="316257"/>
                    <a:pt x="687480" y="245357"/>
                    <a:pt x="734904" y="225593"/>
                  </a:cubicBezTo>
                  <a:lnTo>
                    <a:pt x="737152" y="220991"/>
                  </a:lnTo>
                  <a:lnTo>
                    <a:pt x="736838" y="106119"/>
                  </a:lnTo>
                  <a:cubicBezTo>
                    <a:pt x="593470" y="54722"/>
                    <a:pt x="429553" y="92106"/>
                    <a:pt x="319857" y="195894"/>
                  </a:cubicBez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09849DA3-DCB4-967E-0F54-58B867F9A716}"/>
                </a:ext>
              </a:extLst>
            </p:cNvPr>
            <p:cNvSpPr/>
            <p:nvPr/>
          </p:nvSpPr>
          <p:spPr>
            <a:xfrm>
              <a:off x="-2629812" y="1891126"/>
              <a:ext cx="267286" cy="252277"/>
            </a:xfrm>
            <a:custGeom>
              <a:avLst/>
              <a:gdLst>
                <a:gd name="connsiteX0" fmla="*/ 189537 w 267286"/>
                <a:gd name="connsiteY0" fmla="*/ 252278 h 252277"/>
                <a:gd name="connsiteX1" fmla="*/ 167890 w 267286"/>
                <a:gd name="connsiteY1" fmla="*/ 194083 h 252277"/>
                <a:gd name="connsiteX2" fmla="*/ 96363 w 267286"/>
                <a:gd name="connsiteY2" fmla="*/ 195025 h 252277"/>
                <a:gd name="connsiteX3" fmla="*/ 78952 w 267286"/>
                <a:gd name="connsiteY3" fmla="*/ 252278 h 252277"/>
                <a:gd name="connsiteX4" fmla="*/ 2562 w 267286"/>
                <a:gd name="connsiteY4" fmla="*/ 252278 h 252277"/>
                <a:gd name="connsiteX5" fmla="*/ 0 w 267286"/>
                <a:gd name="connsiteY5" fmla="*/ 247572 h 252277"/>
                <a:gd name="connsiteX6" fmla="*/ 70900 w 267286"/>
                <a:gd name="connsiteY6" fmla="*/ 3658 h 252277"/>
                <a:gd name="connsiteX7" fmla="*/ 77645 w 267286"/>
                <a:gd name="connsiteY7" fmla="*/ 1305 h 252277"/>
                <a:gd name="connsiteX8" fmla="*/ 189641 w 267286"/>
                <a:gd name="connsiteY8" fmla="*/ 1305 h 252277"/>
                <a:gd name="connsiteX9" fmla="*/ 196439 w 267286"/>
                <a:gd name="connsiteY9" fmla="*/ 3658 h 252277"/>
                <a:gd name="connsiteX10" fmla="*/ 267286 w 267286"/>
                <a:gd name="connsiteY10" fmla="*/ 247572 h 252277"/>
                <a:gd name="connsiteX11" fmla="*/ 264776 w 267286"/>
                <a:gd name="connsiteY11" fmla="*/ 252278 h 252277"/>
                <a:gd name="connsiteX12" fmla="*/ 189537 w 267286"/>
                <a:gd name="connsiteY12" fmla="*/ 252278 h 252277"/>
                <a:gd name="connsiteX13" fmla="*/ 154191 w 267286"/>
                <a:gd name="connsiteY13" fmla="*/ 142843 h 252277"/>
                <a:gd name="connsiteX14" fmla="*/ 153616 w 267286"/>
                <a:gd name="connsiteY14" fmla="*/ 133118 h 252277"/>
                <a:gd name="connsiteX15" fmla="*/ 137042 w 267286"/>
                <a:gd name="connsiteY15" fmla="*/ 76701 h 252277"/>
                <a:gd name="connsiteX16" fmla="*/ 131395 w 267286"/>
                <a:gd name="connsiteY16" fmla="*/ 69852 h 252277"/>
                <a:gd name="connsiteX17" fmla="*/ 111735 w 267286"/>
                <a:gd name="connsiteY17" fmla="*/ 138137 h 252277"/>
                <a:gd name="connsiteX18" fmla="*/ 114245 w 267286"/>
                <a:gd name="connsiteY18" fmla="*/ 142843 h 252277"/>
                <a:gd name="connsiteX19" fmla="*/ 154139 w 267286"/>
                <a:gd name="connsiteY19" fmla="*/ 142843 h 25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67286" h="252277">
                  <a:moveTo>
                    <a:pt x="189537" y="252278"/>
                  </a:moveTo>
                  <a:lnTo>
                    <a:pt x="167890" y="194083"/>
                  </a:lnTo>
                  <a:lnTo>
                    <a:pt x="96363" y="195025"/>
                  </a:lnTo>
                  <a:lnTo>
                    <a:pt x="78952" y="252278"/>
                  </a:lnTo>
                  <a:lnTo>
                    <a:pt x="2562" y="252278"/>
                  </a:lnTo>
                  <a:lnTo>
                    <a:pt x="0" y="247572"/>
                  </a:lnTo>
                  <a:lnTo>
                    <a:pt x="70900" y="3658"/>
                  </a:lnTo>
                  <a:cubicBezTo>
                    <a:pt x="72573" y="1148"/>
                    <a:pt x="75135" y="1618"/>
                    <a:pt x="77645" y="1305"/>
                  </a:cubicBezTo>
                  <a:cubicBezTo>
                    <a:pt x="111840" y="-2930"/>
                    <a:pt x="154453" y="4808"/>
                    <a:pt x="189641" y="1305"/>
                  </a:cubicBezTo>
                  <a:lnTo>
                    <a:pt x="196439" y="3658"/>
                  </a:lnTo>
                  <a:lnTo>
                    <a:pt x="267286" y="247572"/>
                  </a:lnTo>
                  <a:lnTo>
                    <a:pt x="264776" y="252278"/>
                  </a:lnTo>
                  <a:lnTo>
                    <a:pt x="189537" y="252278"/>
                  </a:lnTo>
                  <a:close/>
                  <a:moveTo>
                    <a:pt x="154191" y="142843"/>
                  </a:moveTo>
                  <a:cubicBezTo>
                    <a:pt x="154401" y="139601"/>
                    <a:pt x="154191" y="136360"/>
                    <a:pt x="153616" y="133118"/>
                  </a:cubicBezTo>
                  <a:cubicBezTo>
                    <a:pt x="151629" y="121719"/>
                    <a:pt x="141538" y="87315"/>
                    <a:pt x="137042" y="76701"/>
                  </a:cubicBezTo>
                  <a:cubicBezTo>
                    <a:pt x="136205" y="74767"/>
                    <a:pt x="133068" y="68545"/>
                    <a:pt x="131395" y="69852"/>
                  </a:cubicBezTo>
                  <a:lnTo>
                    <a:pt x="111735" y="138137"/>
                  </a:lnTo>
                  <a:lnTo>
                    <a:pt x="114245" y="142843"/>
                  </a:lnTo>
                  <a:lnTo>
                    <a:pt x="154139" y="142843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3B885857-2A7C-CB1E-7422-187DBA03F089}"/>
                </a:ext>
              </a:extLst>
            </p:cNvPr>
            <p:cNvSpPr/>
            <p:nvPr/>
          </p:nvSpPr>
          <p:spPr>
            <a:xfrm>
              <a:off x="-2318292" y="1892536"/>
              <a:ext cx="77540" cy="250868"/>
            </a:xfrm>
            <a:custGeom>
              <a:avLst/>
              <a:gdLst>
                <a:gd name="connsiteX0" fmla="*/ 0 w 77540"/>
                <a:gd name="connsiteY0" fmla="*/ 250868 h 250868"/>
                <a:gd name="connsiteX1" fmla="*/ 0 w 77540"/>
                <a:gd name="connsiteY1" fmla="*/ 0 h 250868"/>
                <a:gd name="connsiteX2" fmla="*/ 74089 w 77540"/>
                <a:gd name="connsiteY2" fmla="*/ 0 h 250868"/>
                <a:gd name="connsiteX3" fmla="*/ 77540 w 77540"/>
                <a:gd name="connsiteY3" fmla="*/ 3451 h 250868"/>
                <a:gd name="connsiteX4" fmla="*/ 77540 w 77540"/>
                <a:gd name="connsiteY4" fmla="*/ 247470 h 250868"/>
                <a:gd name="connsiteX5" fmla="*/ 74089 w 77540"/>
                <a:gd name="connsiteY5" fmla="*/ 250868 h 250868"/>
                <a:gd name="connsiteX6" fmla="*/ 0 w 77540"/>
                <a:gd name="connsiteY6" fmla="*/ 250868 h 2508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7540" h="250868">
                  <a:moveTo>
                    <a:pt x="0" y="250868"/>
                  </a:moveTo>
                  <a:lnTo>
                    <a:pt x="0" y="0"/>
                  </a:lnTo>
                  <a:lnTo>
                    <a:pt x="74089" y="0"/>
                  </a:lnTo>
                  <a:lnTo>
                    <a:pt x="77540" y="3451"/>
                  </a:lnTo>
                  <a:lnTo>
                    <a:pt x="77540" y="247470"/>
                  </a:lnTo>
                  <a:lnTo>
                    <a:pt x="74089" y="250868"/>
                  </a:lnTo>
                  <a:lnTo>
                    <a:pt x="0" y="250868"/>
                  </a:lnTo>
                  <a:close/>
                </a:path>
              </a:pathLst>
            </a:custGeom>
            <a:grpFill/>
            <a:ln w="521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Freeform 7">
            <a:extLst>
              <a:ext uri="{FF2B5EF4-FFF2-40B4-BE49-F238E27FC236}">
                <a16:creationId xmlns:a16="http://schemas.microsoft.com/office/drawing/2014/main" id="{592B81DA-375A-C029-3D58-F574E4449E63}"/>
              </a:ext>
            </a:extLst>
          </p:cNvPr>
          <p:cNvSpPr>
            <a:spLocks noChangeAspect="1" noEditPoints="1"/>
          </p:cNvSpPr>
          <p:nvPr>
            <p:custDataLst>
              <p:tags r:id="rId16"/>
            </p:custDataLst>
          </p:nvPr>
        </p:nvSpPr>
        <p:spPr bwMode="auto">
          <a:xfrm>
            <a:off x="8078242" y="4900666"/>
            <a:ext cx="400505" cy="381664"/>
          </a:xfrm>
          <a:custGeom>
            <a:avLst/>
            <a:gdLst>
              <a:gd name="T0" fmla="*/ 69 w 594"/>
              <a:gd name="T1" fmla="*/ 345 h 566"/>
              <a:gd name="T2" fmla="*/ 52 w 594"/>
              <a:gd name="T3" fmla="*/ 345 h 566"/>
              <a:gd name="T4" fmla="*/ 7 w 594"/>
              <a:gd name="T5" fmla="*/ 320 h 566"/>
              <a:gd name="T6" fmla="*/ 21 w 594"/>
              <a:gd name="T7" fmla="*/ 270 h 566"/>
              <a:gd name="T8" fmla="*/ 159 w 594"/>
              <a:gd name="T9" fmla="*/ 129 h 566"/>
              <a:gd name="T10" fmla="*/ 264 w 594"/>
              <a:gd name="T11" fmla="*/ 21 h 566"/>
              <a:gd name="T12" fmla="*/ 330 w 594"/>
              <a:gd name="T13" fmla="*/ 22 h 566"/>
              <a:gd name="T14" fmla="*/ 574 w 594"/>
              <a:gd name="T15" fmla="*/ 272 h 566"/>
              <a:gd name="T16" fmla="*/ 586 w 594"/>
              <a:gd name="T17" fmla="*/ 320 h 566"/>
              <a:gd name="T18" fmla="*/ 543 w 594"/>
              <a:gd name="T19" fmla="*/ 345 h 566"/>
              <a:gd name="T20" fmla="*/ 525 w 594"/>
              <a:gd name="T21" fmla="*/ 345 h 566"/>
              <a:gd name="T22" fmla="*/ 525 w 594"/>
              <a:gd name="T23" fmla="*/ 360 h 566"/>
              <a:gd name="T24" fmla="*/ 525 w 594"/>
              <a:gd name="T25" fmla="*/ 512 h 566"/>
              <a:gd name="T26" fmla="*/ 471 w 594"/>
              <a:gd name="T27" fmla="*/ 566 h 566"/>
              <a:gd name="T28" fmla="*/ 122 w 594"/>
              <a:gd name="T29" fmla="*/ 566 h 566"/>
              <a:gd name="T30" fmla="*/ 69 w 594"/>
              <a:gd name="T31" fmla="*/ 511 h 566"/>
              <a:gd name="T32" fmla="*/ 69 w 594"/>
              <a:gd name="T33" fmla="*/ 366 h 566"/>
              <a:gd name="T34" fmla="*/ 69 w 594"/>
              <a:gd name="T35" fmla="*/ 345 h 566"/>
              <a:gd name="T36" fmla="*/ 254 w 594"/>
              <a:gd name="T37" fmla="*/ 317 h 566"/>
              <a:gd name="T38" fmla="*/ 204 w 594"/>
              <a:gd name="T39" fmla="*/ 317 h 566"/>
              <a:gd name="T40" fmla="*/ 177 w 594"/>
              <a:gd name="T41" fmla="*/ 344 h 566"/>
              <a:gd name="T42" fmla="*/ 177 w 594"/>
              <a:gd name="T43" fmla="*/ 370 h 566"/>
              <a:gd name="T44" fmla="*/ 210 w 594"/>
              <a:gd name="T45" fmla="*/ 403 h 566"/>
              <a:gd name="T46" fmla="*/ 252 w 594"/>
              <a:gd name="T47" fmla="*/ 403 h 566"/>
              <a:gd name="T48" fmla="*/ 254 w 594"/>
              <a:gd name="T49" fmla="*/ 408 h 566"/>
              <a:gd name="T50" fmla="*/ 254 w 594"/>
              <a:gd name="T51" fmla="*/ 453 h 566"/>
              <a:gd name="T52" fmla="*/ 281 w 594"/>
              <a:gd name="T53" fmla="*/ 480 h 566"/>
              <a:gd name="T54" fmla="*/ 309 w 594"/>
              <a:gd name="T55" fmla="*/ 480 h 566"/>
              <a:gd name="T56" fmla="*/ 340 w 594"/>
              <a:gd name="T57" fmla="*/ 449 h 566"/>
              <a:gd name="T58" fmla="*/ 340 w 594"/>
              <a:gd name="T59" fmla="*/ 403 h 566"/>
              <a:gd name="T60" fmla="*/ 390 w 594"/>
              <a:gd name="T61" fmla="*/ 403 h 566"/>
              <a:gd name="T62" fmla="*/ 417 w 594"/>
              <a:gd name="T63" fmla="*/ 376 h 566"/>
              <a:gd name="T64" fmla="*/ 417 w 594"/>
              <a:gd name="T65" fmla="*/ 348 h 566"/>
              <a:gd name="T66" fmla="*/ 387 w 594"/>
              <a:gd name="T67" fmla="*/ 317 h 566"/>
              <a:gd name="T68" fmla="*/ 340 w 594"/>
              <a:gd name="T69" fmla="*/ 317 h 566"/>
              <a:gd name="T70" fmla="*/ 340 w 594"/>
              <a:gd name="T71" fmla="*/ 267 h 566"/>
              <a:gd name="T72" fmla="*/ 313 w 594"/>
              <a:gd name="T73" fmla="*/ 240 h 566"/>
              <a:gd name="T74" fmla="*/ 282 w 594"/>
              <a:gd name="T75" fmla="*/ 240 h 566"/>
              <a:gd name="T76" fmla="*/ 254 w 594"/>
              <a:gd name="T77" fmla="*/ 269 h 566"/>
              <a:gd name="T78" fmla="*/ 254 w 594"/>
              <a:gd name="T79" fmla="*/ 317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94" h="566">
                <a:moveTo>
                  <a:pt x="69" y="345"/>
                </a:moveTo>
                <a:cubicBezTo>
                  <a:pt x="62" y="345"/>
                  <a:pt x="57" y="345"/>
                  <a:pt x="52" y="345"/>
                </a:cubicBezTo>
                <a:cubicBezTo>
                  <a:pt x="32" y="346"/>
                  <a:pt x="15" y="340"/>
                  <a:pt x="7" y="320"/>
                </a:cubicBezTo>
                <a:cubicBezTo>
                  <a:pt x="0" y="301"/>
                  <a:pt x="6" y="285"/>
                  <a:pt x="21" y="270"/>
                </a:cubicBezTo>
                <a:cubicBezTo>
                  <a:pt x="67" y="223"/>
                  <a:pt x="113" y="176"/>
                  <a:pt x="159" y="129"/>
                </a:cubicBezTo>
                <a:cubicBezTo>
                  <a:pt x="194" y="93"/>
                  <a:pt x="229" y="57"/>
                  <a:pt x="264" y="21"/>
                </a:cubicBezTo>
                <a:cubicBezTo>
                  <a:pt x="285" y="0"/>
                  <a:pt x="309" y="0"/>
                  <a:pt x="330" y="22"/>
                </a:cubicBezTo>
                <a:cubicBezTo>
                  <a:pt x="412" y="105"/>
                  <a:pt x="493" y="189"/>
                  <a:pt x="574" y="272"/>
                </a:cubicBezTo>
                <a:cubicBezTo>
                  <a:pt x="588" y="286"/>
                  <a:pt x="594" y="301"/>
                  <a:pt x="586" y="320"/>
                </a:cubicBezTo>
                <a:cubicBezTo>
                  <a:pt x="580" y="337"/>
                  <a:pt x="565" y="345"/>
                  <a:pt x="543" y="345"/>
                </a:cubicBezTo>
                <a:cubicBezTo>
                  <a:pt x="538" y="345"/>
                  <a:pt x="532" y="345"/>
                  <a:pt x="525" y="345"/>
                </a:cubicBezTo>
                <a:cubicBezTo>
                  <a:pt x="525" y="351"/>
                  <a:pt x="525" y="356"/>
                  <a:pt x="525" y="360"/>
                </a:cubicBezTo>
                <a:cubicBezTo>
                  <a:pt x="525" y="411"/>
                  <a:pt x="525" y="461"/>
                  <a:pt x="525" y="512"/>
                </a:cubicBezTo>
                <a:cubicBezTo>
                  <a:pt x="525" y="544"/>
                  <a:pt x="504" y="566"/>
                  <a:pt x="471" y="566"/>
                </a:cubicBezTo>
                <a:cubicBezTo>
                  <a:pt x="355" y="566"/>
                  <a:pt x="238" y="566"/>
                  <a:pt x="122" y="566"/>
                </a:cubicBezTo>
                <a:cubicBezTo>
                  <a:pt x="89" y="566"/>
                  <a:pt x="69" y="545"/>
                  <a:pt x="69" y="511"/>
                </a:cubicBezTo>
                <a:cubicBezTo>
                  <a:pt x="68" y="463"/>
                  <a:pt x="69" y="414"/>
                  <a:pt x="69" y="366"/>
                </a:cubicBezTo>
                <a:cubicBezTo>
                  <a:pt x="69" y="359"/>
                  <a:pt x="69" y="353"/>
                  <a:pt x="69" y="345"/>
                </a:cubicBezTo>
                <a:close/>
                <a:moveTo>
                  <a:pt x="254" y="317"/>
                </a:moveTo>
                <a:cubicBezTo>
                  <a:pt x="236" y="317"/>
                  <a:pt x="220" y="317"/>
                  <a:pt x="204" y="317"/>
                </a:cubicBezTo>
                <a:cubicBezTo>
                  <a:pt x="186" y="318"/>
                  <a:pt x="177" y="327"/>
                  <a:pt x="177" y="344"/>
                </a:cubicBezTo>
                <a:cubicBezTo>
                  <a:pt x="177" y="353"/>
                  <a:pt x="177" y="362"/>
                  <a:pt x="177" y="370"/>
                </a:cubicBezTo>
                <a:cubicBezTo>
                  <a:pt x="177" y="395"/>
                  <a:pt x="185" y="403"/>
                  <a:pt x="210" y="403"/>
                </a:cubicBezTo>
                <a:cubicBezTo>
                  <a:pt x="224" y="403"/>
                  <a:pt x="239" y="403"/>
                  <a:pt x="252" y="403"/>
                </a:cubicBezTo>
                <a:cubicBezTo>
                  <a:pt x="253" y="406"/>
                  <a:pt x="254" y="407"/>
                  <a:pt x="254" y="408"/>
                </a:cubicBezTo>
                <a:cubicBezTo>
                  <a:pt x="254" y="423"/>
                  <a:pt x="254" y="438"/>
                  <a:pt x="254" y="453"/>
                </a:cubicBezTo>
                <a:cubicBezTo>
                  <a:pt x="254" y="470"/>
                  <a:pt x="263" y="479"/>
                  <a:pt x="281" y="480"/>
                </a:cubicBezTo>
                <a:cubicBezTo>
                  <a:pt x="290" y="480"/>
                  <a:pt x="300" y="480"/>
                  <a:pt x="309" y="480"/>
                </a:cubicBezTo>
                <a:cubicBezTo>
                  <a:pt x="331" y="480"/>
                  <a:pt x="340" y="471"/>
                  <a:pt x="340" y="449"/>
                </a:cubicBezTo>
                <a:cubicBezTo>
                  <a:pt x="340" y="434"/>
                  <a:pt x="340" y="419"/>
                  <a:pt x="340" y="403"/>
                </a:cubicBezTo>
                <a:cubicBezTo>
                  <a:pt x="358" y="403"/>
                  <a:pt x="374" y="403"/>
                  <a:pt x="390" y="403"/>
                </a:cubicBezTo>
                <a:cubicBezTo>
                  <a:pt x="407" y="402"/>
                  <a:pt x="416" y="393"/>
                  <a:pt x="417" y="376"/>
                </a:cubicBezTo>
                <a:cubicBezTo>
                  <a:pt x="417" y="367"/>
                  <a:pt x="417" y="357"/>
                  <a:pt x="417" y="348"/>
                </a:cubicBezTo>
                <a:cubicBezTo>
                  <a:pt x="417" y="326"/>
                  <a:pt x="408" y="317"/>
                  <a:pt x="387" y="317"/>
                </a:cubicBezTo>
                <a:cubicBezTo>
                  <a:pt x="371" y="317"/>
                  <a:pt x="356" y="317"/>
                  <a:pt x="340" y="317"/>
                </a:cubicBezTo>
                <a:cubicBezTo>
                  <a:pt x="340" y="299"/>
                  <a:pt x="340" y="283"/>
                  <a:pt x="340" y="267"/>
                </a:cubicBezTo>
                <a:cubicBezTo>
                  <a:pt x="339" y="250"/>
                  <a:pt x="330" y="241"/>
                  <a:pt x="313" y="240"/>
                </a:cubicBezTo>
                <a:cubicBezTo>
                  <a:pt x="303" y="240"/>
                  <a:pt x="293" y="240"/>
                  <a:pt x="282" y="240"/>
                </a:cubicBezTo>
                <a:cubicBezTo>
                  <a:pt x="263" y="241"/>
                  <a:pt x="254" y="250"/>
                  <a:pt x="254" y="269"/>
                </a:cubicBezTo>
                <a:cubicBezTo>
                  <a:pt x="254" y="285"/>
                  <a:pt x="254" y="300"/>
                  <a:pt x="254" y="31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1F6A56F-8EE5-C0F1-F9EE-F13631B5363F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8098808" y="5457899"/>
            <a:ext cx="359372" cy="414106"/>
            <a:chOff x="-842963" y="2740026"/>
            <a:chExt cx="2043113" cy="2354263"/>
          </a:xfrm>
          <a:solidFill>
            <a:schemeClr val="bg1"/>
          </a:solidFill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0B0B80B5-EE89-834B-5BD1-3EBD2AF8D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9425" y="4054476"/>
              <a:ext cx="457200" cy="581025"/>
            </a:xfrm>
            <a:custGeom>
              <a:avLst/>
              <a:gdLst>
                <a:gd name="T0" fmla="*/ 112 w 380"/>
                <a:gd name="T1" fmla="*/ 125 h 483"/>
                <a:gd name="T2" fmla="*/ 67 w 380"/>
                <a:gd name="T3" fmla="*/ 90 h 483"/>
                <a:gd name="T4" fmla="*/ 70 w 380"/>
                <a:gd name="T5" fmla="*/ 61 h 483"/>
                <a:gd name="T6" fmla="*/ 99 w 380"/>
                <a:gd name="T7" fmla="*/ 58 h 483"/>
                <a:gd name="T8" fmla="*/ 147 w 380"/>
                <a:gd name="T9" fmla="*/ 90 h 483"/>
                <a:gd name="T10" fmla="*/ 377 w 380"/>
                <a:gd name="T11" fmla="*/ 480 h 483"/>
                <a:gd name="T12" fmla="*/ 294 w 380"/>
                <a:gd name="T13" fmla="*/ 359 h 483"/>
                <a:gd name="T14" fmla="*/ 352 w 380"/>
                <a:gd name="T15" fmla="*/ 243 h 483"/>
                <a:gd name="T16" fmla="*/ 374 w 380"/>
                <a:gd name="T17" fmla="*/ 211 h 483"/>
                <a:gd name="T18" fmla="*/ 300 w 380"/>
                <a:gd name="T19" fmla="*/ 211 h 483"/>
                <a:gd name="T20" fmla="*/ 259 w 380"/>
                <a:gd name="T21" fmla="*/ 263 h 483"/>
                <a:gd name="T22" fmla="*/ 246 w 380"/>
                <a:gd name="T23" fmla="*/ 275 h 483"/>
                <a:gd name="T24" fmla="*/ 208 w 380"/>
                <a:gd name="T25" fmla="*/ 234 h 483"/>
                <a:gd name="T26" fmla="*/ 185 w 380"/>
                <a:gd name="T27" fmla="*/ 163 h 483"/>
                <a:gd name="T28" fmla="*/ 204 w 380"/>
                <a:gd name="T29" fmla="*/ 35 h 483"/>
                <a:gd name="T30" fmla="*/ 80 w 380"/>
                <a:gd name="T31" fmla="*/ 0 h 483"/>
                <a:gd name="T32" fmla="*/ 6 w 380"/>
                <a:gd name="T33" fmla="*/ 0 h 483"/>
                <a:gd name="T34" fmla="*/ 0 w 380"/>
                <a:gd name="T35" fmla="*/ 3 h 483"/>
                <a:gd name="T36" fmla="*/ 0 w 380"/>
                <a:gd name="T37" fmla="*/ 288 h 483"/>
                <a:gd name="T38" fmla="*/ 64 w 380"/>
                <a:gd name="T39" fmla="*/ 288 h 483"/>
                <a:gd name="T40" fmla="*/ 70 w 380"/>
                <a:gd name="T41" fmla="*/ 288 h 483"/>
                <a:gd name="T42" fmla="*/ 70 w 380"/>
                <a:gd name="T43" fmla="*/ 218 h 483"/>
                <a:gd name="T44" fmla="*/ 70 w 380"/>
                <a:gd name="T45" fmla="*/ 189 h 483"/>
                <a:gd name="T46" fmla="*/ 83 w 380"/>
                <a:gd name="T47" fmla="*/ 173 h 483"/>
                <a:gd name="T48" fmla="*/ 96 w 380"/>
                <a:gd name="T49" fmla="*/ 189 h 483"/>
                <a:gd name="T50" fmla="*/ 192 w 380"/>
                <a:gd name="T51" fmla="*/ 323 h 483"/>
                <a:gd name="T52" fmla="*/ 124 w 380"/>
                <a:gd name="T53" fmla="*/ 451 h 483"/>
                <a:gd name="T54" fmla="*/ 105 w 380"/>
                <a:gd name="T55" fmla="*/ 477 h 483"/>
                <a:gd name="T56" fmla="*/ 182 w 380"/>
                <a:gd name="T57" fmla="*/ 477 h 483"/>
                <a:gd name="T58" fmla="*/ 211 w 380"/>
                <a:gd name="T59" fmla="*/ 435 h 483"/>
                <a:gd name="T60" fmla="*/ 240 w 380"/>
                <a:gd name="T61" fmla="*/ 407 h 483"/>
                <a:gd name="T62" fmla="*/ 262 w 380"/>
                <a:gd name="T63" fmla="*/ 429 h 483"/>
                <a:gd name="T64" fmla="*/ 304 w 380"/>
                <a:gd name="T65" fmla="*/ 477 h 483"/>
                <a:gd name="T66" fmla="*/ 304 w 380"/>
                <a:gd name="T67" fmla="*/ 477 h 483"/>
                <a:gd name="T68" fmla="*/ 380 w 380"/>
                <a:gd name="T69" fmla="*/ 477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0" h="483">
                  <a:moveTo>
                    <a:pt x="134" y="122"/>
                  </a:moveTo>
                  <a:cubicBezTo>
                    <a:pt x="128" y="125"/>
                    <a:pt x="121" y="125"/>
                    <a:pt x="112" y="125"/>
                  </a:cubicBezTo>
                  <a:cubicBezTo>
                    <a:pt x="108" y="125"/>
                    <a:pt x="105" y="125"/>
                    <a:pt x="102" y="125"/>
                  </a:cubicBezTo>
                  <a:cubicBezTo>
                    <a:pt x="70" y="125"/>
                    <a:pt x="67" y="122"/>
                    <a:pt x="67" y="90"/>
                  </a:cubicBezTo>
                  <a:cubicBezTo>
                    <a:pt x="67" y="80"/>
                    <a:pt x="67" y="80"/>
                    <a:pt x="67" y="80"/>
                  </a:cubicBezTo>
                  <a:cubicBezTo>
                    <a:pt x="67" y="71"/>
                    <a:pt x="67" y="64"/>
                    <a:pt x="70" y="61"/>
                  </a:cubicBezTo>
                  <a:cubicBezTo>
                    <a:pt x="73" y="58"/>
                    <a:pt x="80" y="58"/>
                    <a:pt x="83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108" y="58"/>
                    <a:pt x="118" y="58"/>
                    <a:pt x="128" y="61"/>
                  </a:cubicBezTo>
                  <a:cubicBezTo>
                    <a:pt x="137" y="61"/>
                    <a:pt x="147" y="67"/>
                    <a:pt x="147" y="90"/>
                  </a:cubicBezTo>
                  <a:cubicBezTo>
                    <a:pt x="153" y="96"/>
                    <a:pt x="153" y="115"/>
                    <a:pt x="134" y="122"/>
                  </a:cubicBezTo>
                  <a:close/>
                  <a:moveTo>
                    <a:pt x="377" y="480"/>
                  </a:moveTo>
                  <a:cubicBezTo>
                    <a:pt x="358" y="455"/>
                    <a:pt x="358" y="455"/>
                    <a:pt x="358" y="455"/>
                  </a:cubicBezTo>
                  <a:cubicBezTo>
                    <a:pt x="336" y="423"/>
                    <a:pt x="316" y="391"/>
                    <a:pt x="294" y="359"/>
                  </a:cubicBezTo>
                  <a:cubicBezTo>
                    <a:pt x="288" y="349"/>
                    <a:pt x="288" y="339"/>
                    <a:pt x="294" y="330"/>
                  </a:cubicBezTo>
                  <a:cubicBezTo>
                    <a:pt x="313" y="301"/>
                    <a:pt x="332" y="272"/>
                    <a:pt x="352" y="243"/>
                  </a:cubicBezTo>
                  <a:cubicBezTo>
                    <a:pt x="371" y="215"/>
                    <a:pt x="371" y="215"/>
                    <a:pt x="371" y="215"/>
                  </a:cubicBezTo>
                  <a:cubicBezTo>
                    <a:pt x="374" y="211"/>
                    <a:pt x="374" y="211"/>
                    <a:pt x="374" y="211"/>
                  </a:cubicBezTo>
                  <a:cubicBezTo>
                    <a:pt x="329" y="211"/>
                    <a:pt x="329" y="211"/>
                    <a:pt x="329" y="211"/>
                  </a:cubicBezTo>
                  <a:cubicBezTo>
                    <a:pt x="320" y="211"/>
                    <a:pt x="310" y="211"/>
                    <a:pt x="300" y="211"/>
                  </a:cubicBezTo>
                  <a:cubicBezTo>
                    <a:pt x="294" y="211"/>
                    <a:pt x="291" y="215"/>
                    <a:pt x="288" y="218"/>
                  </a:cubicBezTo>
                  <a:cubicBezTo>
                    <a:pt x="278" y="234"/>
                    <a:pt x="268" y="247"/>
                    <a:pt x="259" y="263"/>
                  </a:cubicBezTo>
                  <a:cubicBezTo>
                    <a:pt x="262" y="263"/>
                    <a:pt x="262" y="263"/>
                    <a:pt x="262" y="263"/>
                  </a:cubicBezTo>
                  <a:cubicBezTo>
                    <a:pt x="259" y="269"/>
                    <a:pt x="252" y="275"/>
                    <a:pt x="246" y="275"/>
                  </a:cubicBezTo>
                  <a:cubicBezTo>
                    <a:pt x="240" y="275"/>
                    <a:pt x="233" y="269"/>
                    <a:pt x="230" y="266"/>
                  </a:cubicBezTo>
                  <a:cubicBezTo>
                    <a:pt x="224" y="256"/>
                    <a:pt x="217" y="247"/>
                    <a:pt x="208" y="234"/>
                  </a:cubicBezTo>
                  <a:cubicBezTo>
                    <a:pt x="198" y="221"/>
                    <a:pt x="188" y="205"/>
                    <a:pt x="179" y="192"/>
                  </a:cubicBezTo>
                  <a:cubicBezTo>
                    <a:pt x="172" y="183"/>
                    <a:pt x="172" y="173"/>
                    <a:pt x="185" y="163"/>
                  </a:cubicBezTo>
                  <a:cubicBezTo>
                    <a:pt x="204" y="151"/>
                    <a:pt x="217" y="128"/>
                    <a:pt x="220" y="103"/>
                  </a:cubicBezTo>
                  <a:cubicBezTo>
                    <a:pt x="224" y="77"/>
                    <a:pt x="217" y="51"/>
                    <a:pt x="204" y="35"/>
                  </a:cubicBezTo>
                  <a:cubicBezTo>
                    <a:pt x="188" y="13"/>
                    <a:pt x="163" y="0"/>
                    <a:pt x="124" y="0"/>
                  </a:cubicBezTo>
                  <a:cubicBezTo>
                    <a:pt x="108" y="0"/>
                    <a:pt x="96" y="0"/>
                    <a:pt x="80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0"/>
                    <a:pt x="0" y="0"/>
                  </a:cubicBezTo>
                  <a:cubicBezTo>
                    <a:pt x="0" y="0"/>
                    <a:pt x="0" y="0"/>
                    <a:pt x="0" y="3"/>
                  </a:cubicBezTo>
                  <a:cubicBezTo>
                    <a:pt x="0" y="96"/>
                    <a:pt x="0" y="189"/>
                    <a:pt x="0" y="285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88"/>
                    <a:pt x="0" y="288"/>
                    <a:pt x="3" y="288"/>
                  </a:cubicBezTo>
                  <a:cubicBezTo>
                    <a:pt x="22" y="288"/>
                    <a:pt x="44" y="288"/>
                    <a:pt x="64" y="288"/>
                  </a:cubicBezTo>
                  <a:cubicBezTo>
                    <a:pt x="64" y="288"/>
                    <a:pt x="64" y="288"/>
                    <a:pt x="64" y="288"/>
                  </a:cubicBezTo>
                  <a:cubicBezTo>
                    <a:pt x="67" y="288"/>
                    <a:pt x="70" y="288"/>
                    <a:pt x="70" y="288"/>
                  </a:cubicBezTo>
                  <a:cubicBezTo>
                    <a:pt x="70" y="288"/>
                    <a:pt x="70" y="288"/>
                    <a:pt x="70" y="282"/>
                  </a:cubicBezTo>
                  <a:cubicBezTo>
                    <a:pt x="70" y="259"/>
                    <a:pt x="70" y="240"/>
                    <a:pt x="70" y="218"/>
                  </a:cubicBezTo>
                  <a:cubicBezTo>
                    <a:pt x="70" y="199"/>
                    <a:pt x="70" y="199"/>
                    <a:pt x="70" y="199"/>
                  </a:cubicBezTo>
                  <a:cubicBezTo>
                    <a:pt x="70" y="195"/>
                    <a:pt x="70" y="192"/>
                    <a:pt x="70" y="189"/>
                  </a:cubicBezTo>
                  <a:cubicBezTo>
                    <a:pt x="70" y="179"/>
                    <a:pt x="70" y="179"/>
                    <a:pt x="70" y="179"/>
                  </a:cubicBezTo>
                  <a:cubicBezTo>
                    <a:pt x="83" y="173"/>
                    <a:pt x="83" y="173"/>
                    <a:pt x="83" y="173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92" y="183"/>
                    <a:pt x="96" y="186"/>
                    <a:pt x="96" y="189"/>
                  </a:cubicBezTo>
                  <a:cubicBezTo>
                    <a:pt x="131" y="237"/>
                    <a:pt x="131" y="237"/>
                    <a:pt x="131" y="237"/>
                  </a:cubicBezTo>
                  <a:cubicBezTo>
                    <a:pt x="150" y="266"/>
                    <a:pt x="172" y="295"/>
                    <a:pt x="192" y="323"/>
                  </a:cubicBezTo>
                  <a:cubicBezTo>
                    <a:pt x="198" y="333"/>
                    <a:pt x="198" y="343"/>
                    <a:pt x="192" y="352"/>
                  </a:cubicBezTo>
                  <a:cubicBezTo>
                    <a:pt x="169" y="384"/>
                    <a:pt x="147" y="419"/>
                    <a:pt x="124" y="451"/>
                  </a:cubicBezTo>
                  <a:cubicBezTo>
                    <a:pt x="108" y="474"/>
                    <a:pt x="108" y="474"/>
                    <a:pt x="108" y="474"/>
                  </a:cubicBezTo>
                  <a:cubicBezTo>
                    <a:pt x="105" y="477"/>
                    <a:pt x="105" y="477"/>
                    <a:pt x="105" y="477"/>
                  </a:cubicBezTo>
                  <a:cubicBezTo>
                    <a:pt x="112" y="477"/>
                    <a:pt x="112" y="477"/>
                    <a:pt x="112" y="477"/>
                  </a:cubicBezTo>
                  <a:cubicBezTo>
                    <a:pt x="134" y="477"/>
                    <a:pt x="160" y="477"/>
                    <a:pt x="182" y="477"/>
                  </a:cubicBezTo>
                  <a:cubicBezTo>
                    <a:pt x="182" y="477"/>
                    <a:pt x="185" y="474"/>
                    <a:pt x="188" y="471"/>
                  </a:cubicBezTo>
                  <a:cubicBezTo>
                    <a:pt x="198" y="458"/>
                    <a:pt x="204" y="448"/>
                    <a:pt x="211" y="435"/>
                  </a:cubicBezTo>
                  <a:cubicBezTo>
                    <a:pt x="224" y="419"/>
                    <a:pt x="224" y="419"/>
                    <a:pt x="224" y="419"/>
                  </a:cubicBezTo>
                  <a:cubicBezTo>
                    <a:pt x="230" y="413"/>
                    <a:pt x="233" y="407"/>
                    <a:pt x="240" y="407"/>
                  </a:cubicBezTo>
                  <a:cubicBezTo>
                    <a:pt x="246" y="407"/>
                    <a:pt x="249" y="413"/>
                    <a:pt x="256" y="419"/>
                  </a:cubicBezTo>
                  <a:cubicBezTo>
                    <a:pt x="262" y="429"/>
                    <a:pt x="262" y="429"/>
                    <a:pt x="262" y="429"/>
                  </a:cubicBezTo>
                  <a:cubicBezTo>
                    <a:pt x="272" y="442"/>
                    <a:pt x="281" y="458"/>
                    <a:pt x="291" y="471"/>
                  </a:cubicBezTo>
                  <a:cubicBezTo>
                    <a:pt x="294" y="477"/>
                    <a:pt x="297" y="477"/>
                    <a:pt x="304" y="477"/>
                  </a:cubicBezTo>
                  <a:cubicBezTo>
                    <a:pt x="304" y="483"/>
                    <a:pt x="304" y="483"/>
                    <a:pt x="304" y="483"/>
                  </a:cubicBezTo>
                  <a:cubicBezTo>
                    <a:pt x="304" y="477"/>
                    <a:pt x="304" y="477"/>
                    <a:pt x="304" y="477"/>
                  </a:cubicBezTo>
                  <a:cubicBezTo>
                    <a:pt x="377" y="477"/>
                    <a:pt x="377" y="477"/>
                    <a:pt x="377" y="477"/>
                  </a:cubicBezTo>
                  <a:cubicBezTo>
                    <a:pt x="380" y="477"/>
                    <a:pt x="380" y="477"/>
                    <a:pt x="380" y="477"/>
                  </a:cubicBezTo>
                  <a:cubicBezTo>
                    <a:pt x="380" y="483"/>
                    <a:pt x="377" y="480"/>
                    <a:pt x="377" y="4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514CF7A-4777-6FD8-20E5-B7AD87612C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1013" y="4616451"/>
              <a:ext cx="100013" cy="92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3361B57-0F1B-6FF1-139B-0D25AEDCC6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96863" y="4616451"/>
              <a:ext cx="568325" cy="92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85D51084-EB9A-4E90-1EC8-BA6943EB6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1013" y="4300538"/>
              <a:ext cx="755650" cy="936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5C3F78B4-8FF0-F59B-A5F1-FE7D183E4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481013" y="3989388"/>
              <a:ext cx="377825" cy="92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CF325D15-CEFC-736C-CA17-1649AD2B6B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9050" y="3989388"/>
              <a:ext cx="293688" cy="92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82BCC18A-F453-97DB-72AD-BC29E23471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842963" y="2740026"/>
              <a:ext cx="2043113" cy="2354263"/>
            </a:xfrm>
            <a:custGeom>
              <a:avLst/>
              <a:gdLst>
                <a:gd name="T0" fmla="*/ 1405 w 1696"/>
                <a:gd name="T1" fmla="*/ 1821 h 1955"/>
                <a:gd name="T2" fmla="*/ 291 w 1696"/>
                <a:gd name="T3" fmla="*/ 1821 h 1955"/>
                <a:gd name="T4" fmla="*/ 131 w 1696"/>
                <a:gd name="T5" fmla="*/ 1661 h 1955"/>
                <a:gd name="T6" fmla="*/ 131 w 1696"/>
                <a:gd name="T7" fmla="*/ 291 h 1955"/>
                <a:gd name="T8" fmla="*/ 291 w 1696"/>
                <a:gd name="T9" fmla="*/ 131 h 1955"/>
                <a:gd name="T10" fmla="*/ 1158 w 1696"/>
                <a:gd name="T11" fmla="*/ 131 h 1955"/>
                <a:gd name="T12" fmla="*/ 1158 w 1696"/>
                <a:gd name="T13" fmla="*/ 262 h 1955"/>
                <a:gd name="T14" fmla="*/ 1450 w 1696"/>
                <a:gd name="T15" fmla="*/ 554 h 1955"/>
                <a:gd name="T16" fmla="*/ 1565 w 1696"/>
                <a:gd name="T17" fmla="*/ 554 h 1955"/>
                <a:gd name="T18" fmla="*/ 1565 w 1696"/>
                <a:gd name="T19" fmla="*/ 1661 h 1955"/>
                <a:gd name="T20" fmla="*/ 1405 w 1696"/>
                <a:gd name="T21" fmla="*/ 1821 h 1955"/>
                <a:gd name="T22" fmla="*/ 1488 w 1696"/>
                <a:gd name="T23" fmla="*/ 422 h 1955"/>
                <a:gd name="T24" fmla="*/ 1450 w 1696"/>
                <a:gd name="T25" fmla="*/ 422 h 1955"/>
                <a:gd name="T26" fmla="*/ 1290 w 1696"/>
                <a:gd name="T27" fmla="*/ 262 h 1955"/>
                <a:gd name="T28" fmla="*/ 1290 w 1696"/>
                <a:gd name="T29" fmla="*/ 224 h 1955"/>
                <a:gd name="T30" fmla="*/ 1488 w 1696"/>
                <a:gd name="T31" fmla="*/ 422 h 1955"/>
                <a:gd name="T32" fmla="*/ 1674 w 1696"/>
                <a:gd name="T33" fmla="*/ 422 h 1955"/>
                <a:gd name="T34" fmla="*/ 1565 w 1696"/>
                <a:gd name="T35" fmla="*/ 314 h 1955"/>
                <a:gd name="T36" fmla="*/ 1382 w 1696"/>
                <a:gd name="T37" fmla="*/ 131 h 1955"/>
                <a:gd name="T38" fmla="*/ 1290 w 1696"/>
                <a:gd name="T39" fmla="*/ 38 h 1955"/>
                <a:gd name="T40" fmla="*/ 1251 w 1696"/>
                <a:gd name="T41" fmla="*/ 0 h 1955"/>
                <a:gd name="T42" fmla="*/ 1158 w 1696"/>
                <a:gd name="T43" fmla="*/ 0 h 1955"/>
                <a:gd name="T44" fmla="*/ 291 w 1696"/>
                <a:gd name="T45" fmla="*/ 0 h 1955"/>
                <a:gd name="T46" fmla="*/ 0 w 1696"/>
                <a:gd name="T47" fmla="*/ 291 h 1955"/>
                <a:gd name="T48" fmla="*/ 0 w 1696"/>
                <a:gd name="T49" fmla="*/ 1664 h 1955"/>
                <a:gd name="T50" fmla="*/ 291 w 1696"/>
                <a:gd name="T51" fmla="*/ 1955 h 1955"/>
                <a:gd name="T52" fmla="*/ 1405 w 1696"/>
                <a:gd name="T53" fmla="*/ 1955 h 1955"/>
                <a:gd name="T54" fmla="*/ 1696 w 1696"/>
                <a:gd name="T55" fmla="*/ 1664 h 1955"/>
                <a:gd name="T56" fmla="*/ 1696 w 1696"/>
                <a:gd name="T57" fmla="*/ 554 h 1955"/>
                <a:gd name="T58" fmla="*/ 1696 w 1696"/>
                <a:gd name="T59" fmla="*/ 509 h 1955"/>
                <a:gd name="T60" fmla="*/ 1696 w 1696"/>
                <a:gd name="T61" fmla="*/ 445 h 1955"/>
                <a:gd name="T62" fmla="*/ 1674 w 1696"/>
                <a:gd name="T63" fmla="*/ 422 h 1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96" h="1955">
                  <a:moveTo>
                    <a:pt x="1405" y="1821"/>
                  </a:moveTo>
                  <a:cubicBezTo>
                    <a:pt x="291" y="1821"/>
                    <a:pt x="291" y="1821"/>
                    <a:pt x="291" y="1821"/>
                  </a:cubicBezTo>
                  <a:cubicBezTo>
                    <a:pt x="205" y="1821"/>
                    <a:pt x="131" y="1750"/>
                    <a:pt x="131" y="1661"/>
                  </a:cubicBezTo>
                  <a:cubicBezTo>
                    <a:pt x="131" y="291"/>
                    <a:pt x="131" y="291"/>
                    <a:pt x="131" y="291"/>
                  </a:cubicBezTo>
                  <a:cubicBezTo>
                    <a:pt x="131" y="205"/>
                    <a:pt x="202" y="131"/>
                    <a:pt x="291" y="131"/>
                  </a:cubicBezTo>
                  <a:cubicBezTo>
                    <a:pt x="1158" y="131"/>
                    <a:pt x="1158" y="131"/>
                    <a:pt x="1158" y="131"/>
                  </a:cubicBezTo>
                  <a:cubicBezTo>
                    <a:pt x="1158" y="262"/>
                    <a:pt x="1158" y="262"/>
                    <a:pt x="1158" y="262"/>
                  </a:cubicBezTo>
                  <a:cubicBezTo>
                    <a:pt x="1158" y="422"/>
                    <a:pt x="1290" y="554"/>
                    <a:pt x="1450" y="554"/>
                  </a:cubicBezTo>
                  <a:cubicBezTo>
                    <a:pt x="1565" y="554"/>
                    <a:pt x="1565" y="554"/>
                    <a:pt x="1565" y="554"/>
                  </a:cubicBezTo>
                  <a:cubicBezTo>
                    <a:pt x="1565" y="1661"/>
                    <a:pt x="1565" y="1661"/>
                    <a:pt x="1565" y="1661"/>
                  </a:cubicBezTo>
                  <a:cubicBezTo>
                    <a:pt x="1565" y="1750"/>
                    <a:pt x="1491" y="1821"/>
                    <a:pt x="1405" y="1821"/>
                  </a:cubicBezTo>
                  <a:close/>
                  <a:moveTo>
                    <a:pt x="1488" y="422"/>
                  </a:moveTo>
                  <a:cubicBezTo>
                    <a:pt x="1450" y="422"/>
                    <a:pt x="1450" y="422"/>
                    <a:pt x="1450" y="422"/>
                  </a:cubicBezTo>
                  <a:cubicBezTo>
                    <a:pt x="1363" y="422"/>
                    <a:pt x="1290" y="352"/>
                    <a:pt x="1290" y="262"/>
                  </a:cubicBezTo>
                  <a:cubicBezTo>
                    <a:pt x="1290" y="224"/>
                    <a:pt x="1290" y="224"/>
                    <a:pt x="1290" y="224"/>
                  </a:cubicBezTo>
                  <a:lnTo>
                    <a:pt x="1488" y="422"/>
                  </a:lnTo>
                  <a:close/>
                  <a:moveTo>
                    <a:pt x="1674" y="422"/>
                  </a:moveTo>
                  <a:cubicBezTo>
                    <a:pt x="1565" y="314"/>
                    <a:pt x="1565" y="314"/>
                    <a:pt x="1565" y="314"/>
                  </a:cubicBezTo>
                  <a:cubicBezTo>
                    <a:pt x="1382" y="131"/>
                    <a:pt x="1382" y="131"/>
                    <a:pt x="1382" y="131"/>
                  </a:cubicBezTo>
                  <a:cubicBezTo>
                    <a:pt x="1290" y="38"/>
                    <a:pt x="1290" y="38"/>
                    <a:pt x="1290" y="38"/>
                  </a:cubicBezTo>
                  <a:cubicBezTo>
                    <a:pt x="1251" y="0"/>
                    <a:pt x="1251" y="0"/>
                    <a:pt x="1251" y="0"/>
                  </a:cubicBezTo>
                  <a:cubicBezTo>
                    <a:pt x="1158" y="0"/>
                    <a:pt x="1158" y="0"/>
                    <a:pt x="1158" y="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131" y="0"/>
                    <a:pt x="0" y="131"/>
                    <a:pt x="0" y="291"/>
                  </a:cubicBezTo>
                  <a:cubicBezTo>
                    <a:pt x="0" y="1664"/>
                    <a:pt x="0" y="1664"/>
                    <a:pt x="0" y="1664"/>
                  </a:cubicBezTo>
                  <a:cubicBezTo>
                    <a:pt x="0" y="1824"/>
                    <a:pt x="131" y="1955"/>
                    <a:pt x="291" y="1955"/>
                  </a:cubicBezTo>
                  <a:cubicBezTo>
                    <a:pt x="1405" y="1955"/>
                    <a:pt x="1405" y="1955"/>
                    <a:pt x="1405" y="1955"/>
                  </a:cubicBezTo>
                  <a:cubicBezTo>
                    <a:pt x="1565" y="1955"/>
                    <a:pt x="1696" y="1824"/>
                    <a:pt x="1696" y="1664"/>
                  </a:cubicBezTo>
                  <a:cubicBezTo>
                    <a:pt x="1696" y="554"/>
                    <a:pt x="1696" y="554"/>
                    <a:pt x="1696" y="554"/>
                  </a:cubicBezTo>
                  <a:cubicBezTo>
                    <a:pt x="1696" y="509"/>
                    <a:pt x="1696" y="509"/>
                    <a:pt x="1696" y="509"/>
                  </a:cubicBezTo>
                  <a:cubicBezTo>
                    <a:pt x="1696" y="445"/>
                    <a:pt x="1696" y="445"/>
                    <a:pt x="1696" y="445"/>
                  </a:cubicBezTo>
                  <a:lnTo>
                    <a:pt x="1674" y="4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9839953D-0266-9EA1-B4DE-6CE963F75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503238" y="3033713"/>
              <a:ext cx="514350" cy="627063"/>
            </a:xfrm>
            <a:custGeom>
              <a:avLst/>
              <a:gdLst>
                <a:gd name="T0" fmla="*/ 217 w 428"/>
                <a:gd name="T1" fmla="*/ 423 h 522"/>
                <a:gd name="T2" fmla="*/ 99 w 428"/>
                <a:gd name="T3" fmla="*/ 451 h 522"/>
                <a:gd name="T4" fmla="*/ 70 w 428"/>
                <a:gd name="T5" fmla="*/ 333 h 522"/>
                <a:gd name="T6" fmla="*/ 131 w 428"/>
                <a:gd name="T7" fmla="*/ 234 h 522"/>
                <a:gd name="T8" fmla="*/ 278 w 428"/>
                <a:gd name="T9" fmla="*/ 323 h 522"/>
                <a:gd name="T10" fmla="*/ 217 w 428"/>
                <a:gd name="T11" fmla="*/ 423 h 522"/>
                <a:gd name="T12" fmla="*/ 179 w 428"/>
                <a:gd name="T13" fmla="*/ 77 h 522"/>
                <a:gd name="T14" fmla="*/ 118 w 428"/>
                <a:gd name="T15" fmla="*/ 179 h 522"/>
                <a:gd name="T16" fmla="*/ 96 w 428"/>
                <a:gd name="T17" fmla="*/ 215 h 522"/>
                <a:gd name="T18" fmla="*/ 35 w 428"/>
                <a:gd name="T19" fmla="*/ 314 h 522"/>
                <a:gd name="T20" fmla="*/ 76 w 428"/>
                <a:gd name="T21" fmla="*/ 487 h 522"/>
                <a:gd name="T22" fmla="*/ 249 w 428"/>
                <a:gd name="T23" fmla="*/ 445 h 522"/>
                <a:gd name="T24" fmla="*/ 310 w 428"/>
                <a:gd name="T25" fmla="*/ 346 h 522"/>
                <a:gd name="T26" fmla="*/ 332 w 428"/>
                <a:gd name="T27" fmla="*/ 311 h 522"/>
                <a:gd name="T28" fmla="*/ 393 w 428"/>
                <a:gd name="T29" fmla="*/ 211 h 522"/>
                <a:gd name="T30" fmla="*/ 352 w 428"/>
                <a:gd name="T31" fmla="*/ 39 h 522"/>
                <a:gd name="T32" fmla="*/ 179 w 428"/>
                <a:gd name="T33" fmla="*/ 7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8" h="522">
                  <a:moveTo>
                    <a:pt x="217" y="423"/>
                  </a:moveTo>
                  <a:cubicBezTo>
                    <a:pt x="192" y="464"/>
                    <a:pt x="140" y="477"/>
                    <a:pt x="99" y="451"/>
                  </a:cubicBezTo>
                  <a:cubicBezTo>
                    <a:pt x="57" y="426"/>
                    <a:pt x="44" y="375"/>
                    <a:pt x="70" y="333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278" y="323"/>
                    <a:pt x="278" y="323"/>
                    <a:pt x="278" y="323"/>
                  </a:cubicBezTo>
                  <a:lnTo>
                    <a:pt x="217" y="423"/>
                  </a:lnTo>
                  <a:close/>
                  <a:moveTo>
                    <a:pt x="179" y="77"/>
                  </a:moveTo>
                  <a:cubicBezTo>
                    <a:pt x="118" y="179"/>
                    <a:pt x="118" y="179"/>
                    <a:pt x="118" y="179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35" y="314"/>
                    <a:pt x="35" y="314"/>
                    <a:pt x="35" y="314"/>
                  </a:cubicBezTo>
                  <a:cubicBezTo>
                    <a:pt x="0" y="375"/>
                    <a:pt x="19" y="451"/>
                    <a:pt x="76" y="487"/>
                  </a:cubicBezTo>
                  <a:cubicBezTo>
                    <a:pt x="137" y="522"/>
                    <a:pt x="214" y="503"/>
                    <a:pt x="249" y="445"/>
                  </a:cubicBezTo>
                  <a:cubicBezTo>
                    <a:pt x="310" y="346"/>
                    <a:pt x="310" y="346"/>
                    <a:pt x="310" y="346"/>
                  </a:cubicBezTo>
                  <a:cubicBezTo>
                    <a:pt x="332" y="311"/>
                    <a:pt x="332" y="311"/>
                    <a:pt x="332" y="311"/>
                  </a:cubicBezTo>
                  <a:cubicBezTo>
                    <a:pt x="393" y="211"/>
                    <a:pt x="393" y="211"/>
                    <a:pt x="393" y="211"/>
                  </a:cubicBezTo>
                  <a:cubicBezTo>
                    <a:pt x="428" y="151"/>
                    <a:pt x="409" y="74"/>
                    <a:pt x="352" y="39"/>
                  </a:cubicBezTo>
                  <a:cubicBezTo>
                    <a:pt x="294" y="0"/>
                    <a:pt x="217" y="19"/>
                    <a:pt x="179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4259C207-2E27-A750-4164-1BFB44D1ED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68263" y="3441701"/>
              <a:ext cx="342900" cy="339725"/>
            </a:xfrm>
            <a:custGeom>
              <a:avLst/>
              <a:gdLst>
                <a:gd name="T0" fmla="*/ 32 w 285"/>
                <a:gd name="T1" fmla="*/ 160 h 282"/>
                <a:gd name="T2" fmla="*/ 29 w 285"/>
                <a:gd name="T3" fmla="*/ 141 h 282"/>
                <a:gd name="T4" fmla="*/ 32 w 285"/>
                <a:gd name="T5" fmla="*/ 122 h 282"/>
                <a:gd name="T6" fmla="*/ 250 w 285"/>
                <a:gd name="T7" fmla="*/ 122 h 282"/>
                <a:gd name="T8" fmla="*/ 253 w 285"/>
                <a:gd name="T9" fmla="*/ 141 h 282"/>
                <a:gd name="T10" fmla="*/ 250 w 285"/>
                <a:gd name="T11" fmla="*/ 160 h 282"/>
                <a:gd name="T12" fmla="*/ 32 w 285"/>
                <a:gd name="T13" fmla="*/ 160 h 282"/>
                <a:gd name="T14" fmla="*/ 282 w 285"/>
                <a:gd name="T15" fmla="*/ 122 h 282"/>
                <a:gd name="T16" fmla="*/ 141 w 285"/>
                <a:gd name="T17" fmla="*/ 0 h 282"/>
                <a:gd name="T18" fmla="*/ 0 w 285"/>
                <a:gd name="T19" fmla="*/ 122 h 282"/>
                <a:gd name="T20" fmla="*/ 0 w 285"/>
                <a:gd name="T21" fmla="*/ 141 h 282"/>
                <a:gd name="T22" fmla="*/ 0 w 285"/>
                <a:gd name="T23" fmla="*/ 160 h 282"/>
                <a:gd name="T24" fmla="*/ 141 w 285"/>
                <a:gd name="T25" fmla="*/ 282 h 282"/>
                <a:gd name="T26" fmla="*/ 282 w 285"/>
                <a:gd name="T27" fmla="*/ 160 h 282"/>
                <a:gd name="T28" fmla="*/ 282 w 285"/>
                <a:gd name="T29" fmla="*/ 141 h 282"/>
                <a:gd name="T30" fmla="*/ 282 w 285"/>
                <a:gd name="T31" fmla="*/ 12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5" h="282">
                  <a:moveTo>
                    <a:pt x="32" y="160"/>
                  </a:moveTo>
                  <a:cubicBezTo>
                    <a:pt x="32" y="154"/>
                    <a:pt x="29" y="148"/>
                    <a:pt x="29" y="141"/>
                  </a:cubicBezTo>
                  <a:cubicBezTo>
                    <a:pt x="29" y="135"/>
                    <a:pt x="29" y="128"/>
                    <a:pt x="32" y="122"/>
                  </a:cubicBezTo>
                  <a:cubicBezTo>
                    <a:pt x="250" y="122"/>
                    <a:pt x="250" y="122"/>
                    <a:pt x="250" y="122"/>
                  </a:cubicBezTo>
                  <a:cubicBezTo>
                    <a:pt x="250" y="128"/>
                    <a:pt x="253" y="135"/>
                    <a:pt x="253" y="141"/>
                  </a:cubicBezTo>
                  <a:cubicBezTo>
                    <a:pt x="253" y="148"/>
                    <a:pt x="253" y="154"/>
                    <a:pt x="250" y="160"/>
                  </a:cubicBezTo>
                  <a:lnTo>
                    <a:pt x="32" y="160"/>
                  </a:lnTo>
                  <a:close/>
                  <a:moveTo>
                    <a:pt x="282" y="122"/>
                  </a:moveTo>
                  <a:cubicBezTo>
                    <a:pt x="272" y="52"/>
                    <a:pt x="211" y="0"/>
                    <a:pt x="141" y="0"/>
                  </a:cubicBezTo>
                  <a:cubicBezTo>
                    <a:pt x="67" y="0"/>
                    <a:pt x="10" y="55"/>
                    <a:pt x="0" y="122"/>
                  </a:cubicBezTo>
                  <a:cubicBezTo>
                    <a:pt x="0" y="128"/>
                    <a:pt x="0" y="135"/>
                    <a:pt x="0" y="141"/>
                  </a:cubicBezTo>
                  <a:cubicBezTo>
                    <a:pt x="0" y="148"/>
                    <a:pt x="0" y="154"/>
                    <a:pt x="0" y="160"/>
                  </a:cubicBezTo>
                  <a:cubicBezTo>
                    <a:pt x="10" y="231"/>
                    <a:pt x="71" y="282"/>
                    <a:pt x="141" y="282"/>
                  </a:cubicBezTo>
                  <a:cubicBezTo>
                    <a:pt x="215" y="282"/>
                    <a:pt x="272" y="228"/>
                    <a:pt x="282" y="160"/>
                  </a:cubicBezTo>
                  <a:cubicBezTo>
                    <a:pt x="282" y="154"/>
                    <a:pt x="282" y="148"/>
                    <a:pt x="282" y="141"/>
                  </a:cubicBezTo>
                  <a:cubicBezTo>
                    <a:pt x="285" y="135"/>
                    <a:pt x="282" y="128"/>
                    <a:pt x="282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A05E60FD-22D7-657F-0614-5EFF4AF3FBB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687954" y="2402620"/>
            <a:ext cx="29260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557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cision medicin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D054C67-B284-FAA1-605B-030DE94CC755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687954" y="3016865"/>
            <a:ext cx="29260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55700">
              <a:spcBef>
                <a:spcPts val="1800"/>
              </a:spcBef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omics </a:t>
            </a:r>
            <a:endParaRPr lang="en-US" sz="20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A977FB1-EF34-26CA-E7AE-FDD5FA71474F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687954" y="3631111"/>
            <a:ext cx="29260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55700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dictive analytics</a:t>
            </a:r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BAA6AC5-28D1-1299-5F42-1D4447EA4E20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8485497" y="3758394"/>
            <a:ext cx="3657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557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g data/analytic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477F8BE-C35C-45D6-7DF0-ED6B6D71D2D8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8485497" y="4338362"/>
            <a:ext cx="3657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557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erregional payment bund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EC89E24-7FD5-29B0-38A9-F31D0648DD16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8485497" y="4918330"/>
            <a:ext cx="3657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557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bulatory </a:t>
            </a:r>
            <a:r>
              <a:rPr lang="en-US" sz="2000">
                <a:solidFill>
                  <a:schemeClr val="bg1"/>
                </a:solidFill>
                <a:latin typeface="Calibri"/>
              </a:rPr>
              <a:t>surgery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42D5BDC-DB73-8B48-D2C7-F52B98B77AEF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8485497" y="5498299"/>
            <a:ext cx="36576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1557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tail pharmacy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4EA6C775-3755-719A-1AEE-75B26A549496}"/>
              </a:ext>
            </a:extLst>
          </p:cNvPr>
          <p:cNvGrpSpPr>
            <a:grpSpLocks noChangeAspect="1"/>
          </p:cNvGrpSpPr>
          <p:nvPr>
            <p:custDataLst>
              <p:tags r:id="rId25"/>
            </p:custDataLst>
          </p:nvPr>
        </p:nvGrpSpPr>
        <p:grpSpPr>
          <a:xfrm>
            <a:off x="8046508" y="3174566"/>
            <a:ext cx="417576" cy="411480"/>
            <a:chOff x="1716463" y="497680"/>
            <a:chExt cx="743058" cy="732213"/>
          </a:xfrm>
          <a:solidFill>
            <a:schemeClr val="bg1"/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776D29E3-41BE-6125-F405-91D58486FAED}"/>
                </a:ext>
              </a:extLst>
            </p:cNvPr>
            <p:cNvSpPr/>
            <p:nvPr/>
          </p:nvSpPr>
          <p:spPr>
            <a:xfrm>
              <a:off x="1716463" y="497680"/>
              <a:ext cx="577821" cy="591790"/>
            </a:xfrm>
            <a:custGeom>
              <a:avLst/>
              <a:gdLst>
                <a:gd name="connsiteX0" fmla="*/ 122776 w 577821"/>
                <a:gd name="connsiteY0" fmla="*/ 552871 h 591790"/>
                <a:gd name="connsiteX1" fmla="*/ 123147 w 577821"/>
                <a:gd name="connsiteY1" fmla="*/ 552098 h 591790"/>
                <a:gd name="connsiteX2" fmla="*/ 123630 w 577821"/>
                <a:gd name="connsiteY2" fmla="*/ 551469 h 591790"/>
                <a:gd name="connsiteX3" fmla="*/ 124275 w 577821"/>
                <a:gd name="connsiteY3" fmla="*/ 550647 h 591790"/>
                <a:gd name="connsiteX4" fmla="*/ 211284 w 577821"/>
                <a:gd name="connsiteY4" fmla="*/ 463638 h 591790"/>
                <a:gd name="connsiteX5" fmla="*/ 216184 w 577821"/>
                <a:gd name="connsiteY5" fmla="*/ 211320 h 591790"/>
                <a:gd name="connsiteX6" fmla="*/ 461516 w 577821"/>
                <a:gd name="connsiteY6" fmla="*/ 209347 h 591790"/>
                <a:gd name="connsiteX7" fmla="*/ 467091 w 577821"/>
                <a:gd name="connsiteY7" fmla="*/ 182906 h 591790"/>
                <a:gd name="connsiteX8" fmla="*/ 470555 w 577821"/>
                <a:gd name="connsiteY8" fmla="*/ 179474 h 591790"/>
                <a:gd name="connsiteX9" fmla="*/ 529463 w 577821"/>
                <a:gd name="connsiteY9" fmla="*/ 120549 h 591790"/>
                <a:gd name="connsiteX10" fmla="*/ 529463 w 577821"/>
                <a:gd name="connsiteY10" fmla="*/ 120549 h 591790"/>
                <a:gd name="connsiteX11" fmla="*/ 531268 w 577821"/>
                <a:gd name="connsiteY11" fmla="*/ 118728 h 591790"/>
                <a:gd name="connsiteX12" fmla="*/ 560448 w 577821"/>
                <a:gd name="connsiteY12" fmla="*/ 114491 h 591790"/>
                <a:gd name="connsiteX13" fmla="*/ 577802 w 577821"/>
                <a:gd name="connsiteY13" fmla="*/ 97105 h 591790"/>
                <a:gd name="connsiteX14" fmla="*/ 542708 w 577821"/>
                <a:gd name="connsiteY14" fmla="*/ 62028 h 591790"/>
                <a:gd name="connsiteX15" fmla="*/ 477338 w 577821"/>
                <a:gd name="connsiteY15" fmla="*/ 113830 h 591790"/>
                <a:gd name="connsiteX16" fmla="*/ 468879 w 577821"/>
                <a:gd name="connsiteY16" fmla="*/ 114475 h 591790"/>
                <a:gd name="connsiteX17" fmla="*/ 408086 w 577821"/>
                <a:gd name="connsiteY17" fmla="*/ 89323 h 591790"/>
                <a:gd name="connsiteX18" fmla="*/ 402543 w 577821"/>
                <a:gd name="connsiteY18" fmla="*/ 82877 h 591790"/>
                <a:gd name="connsiteX19" fmla="*/ 392875 w 577821"/>
                <a:gd name="connsiteY19" fmla="*/ -23 h 591790"/>
                <a:gd name="connsiteX20" fmla="*/ 286837 w 577821"/>
                <a:gd name="connsiteY20" fmla="*/ -23 h 591790"/>
                <a:gd name="connsiteX21" fmla="*/ 277169 w 577821"/>
                <a:gd name="connsiteY21" fmla="*/ 82877 h 591790"/>
                <a:gd name="connsiteX22" fmla="*/ 271626 w 577821"/>
                <a:gd name="connsiteY22" fmla="*/ 89323 h 591790"/>
                <a:gd name="connsiteX23" fmla="*/ 210833 w 577821"/>
                <a:gd name="connsiteY23" fmla="*/ 114475 h 591790"/>
                <a:gd name="connsiteX24" fmla="*/ 202373 w 577821"/>
                <a:gd name="connsiteY24" fmla="*/ 113830 h 591790"/>
                <a:gd name="connsiteX25" fmla="*/ 137068 w 577821"/>
                <a:gd name="connsiteY25" fmla="*/ 62028 h 591790"/>
                <a:gd name="connsiteX26" fmla="*/ 62047 w 577821"/>
                <a:gd name="connsiteY26" fmla="*/ 137065 h 591790"/>
                <a:gd name="connsiteX27" fmla="*/ 113834 w 577821"/>
                <a:gd name="connsiteY27" fmla="*/ 202434 h 591790"/>
                <a:gd name="connsiteX28" fmla="*/ 114478 w 577821"/>
                <a:gd name="connsiteY28" fmla="*/ 210910 h 591790"/>
                <a:gd name="connsiteX29" fmla="*/ 89326 w 577821"/>
                <a:gd name="connsiteY29" fmla="*/ 271687 h 591790"/>
                <a:gd name="connsiteX30" fmla="*/ 82881 w 577821"/>
                <a:gd name="connsiteY30" fmla="*/ 277230 h 591790"/>
                <a:gd name="connsiteX31" fmla="*/ -19 w 577821"/>
                <a:gd name="connsiteY31" fmla="*/ 286897 h 591790"/>
                <a:gd name="connsiteX32" fmla="*/ -19 w 577821"/>
                <a:gd name="connsiteY32" fmla="*/ 393016 h 591790"/>
                <a:gd name="connsiteX33" fmla="*/ 82881 w 577821"/>
                <a:gd name="connsiteY33" fmla="*/ 402684 h 591790"/>
                <a:gd name="connsiteX34" fmla="*/ 89326 w 577821"/>
                <a:gd name="connsiteY34" fmla="*/ 408211 h 591790"/>
                <a:gd name="connsiteX35" fmla="*/ 114478 w 577821"/>
                <a:gd name="connsiteY35" fmla="*/ 469004 h 591790"/>
                <a:gd name="connsiteX36" fmla="*/ 113834 w 577821"/>
                <a:gd name="connsiteY36" fmla="*/ 477479 h 591790"/>
                <a:gd name="connsiteX37" fmla="*/ 62047 w 577821"/>
                <a:gd name="connsiteY37" fmla="*/ 542704 h 591790"/>
                <a:gd name="connsiteX38" fmla="*/ 111094 w 577821"/>
                <a:gd name="connsiteY38" fmla="*/ 591767 h 591790"/>
                <a:gd name="connsiteX39" fmla="*/ 122373 w 577821"/>
                <a:gd name="connsiteY39" fmla="*/ 553838 h 591790"/>
                <a:gd name="connsiteX40" fmla="*/ 122567 w 577821"/>
                <a:gd name="connsiteY40" fmla="*/ 553403 h 591790"/>
                <a:gd name="connsiteX41" fmla="*/ 122776 w 577821"/>
                <a:gd name="connsiteY41" fmla="*/ 552871 h 5917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77821" h="591790">
                  <a:moveTo>
                    <a:pt x="122776" y="552871"/>
                  </a:moveTo>
                  <a:cubicBezTo>
                    <a:pt x="122883" y="552605"/>
                    <a:pt x="123007" y="552347"/>
                    <a:pt x="123147" y="552098"/>
                  </a:cubicBezTo>
                  <a:cubicBezTo>
                    <a:pt x="123286" y="551872"/>
                    <a:pt x="123448" y="551661"/>
                    <a:pt x="123630" y="551469"/>
                  </a:cubicBezTo>
                  <a:cubicBezTo>
                    <a:pt x="123823" y="551179"/>
                    <a:pt x="124039" y="550904"/>
                    <a:pt x="124275" y="550647"/>
                  </a:cubicBezTo>
                  <a:lnTo>
                    <a:pt x="211284" y="463638"/>
                  </a:lnTo>
                  <a:cubicBezTo>
                    <a:pt x="142961" y="392610"/>
                    <a:pt x="145155" y="279643"/>
                    <a:pt x="216184" y="211320"/>
                  </a:cubicBezTo>
                  <a:cubicBezTo>
                    <a:pt x="284470" y="145638"/>
                    <a:pt x="392182" y="144771"/>
                    <a:pt x="461516" y="209347"/>
                  </a:cubicBezTo>
                  <a:cubicBezTo>
                    <a:pt x="457969" y="200207"/>
                    <a:pt x="460156" y="189836"/>
                    <a:pt x="467091" y="182906"/>
                  </a:cubicBezTo>
                  <a:lnTo>
                    <a:pt x="470555" y="179474"/>
                  </a:lnTo>
                  <a:lnTo>
                    <a:pt x="529463" y="120549"/>
                  </a:lnTo>
                  <a:lnTo>
                    <a:pt x="529463" y="120549"/>
                  </a:lnTo>
                  <a:lnTo>
                    <a:pt x="531268" y="118728"/>
                  </a:lnTo>
                  <a:cubicBezTo>
                    <a:pt x="539007" y="111058"/>
                    <a:pt x="550847" y="109339"/>
                    <a:pt x="560448" y="114491"/>
                  </a:cubicBezTo>
                  <a:lnTo>
                    <a:pt x="577802" y="97105"/>
                  </a:lnTo>
                  <a:lnTo>
                    <a:pt x="542708" y="62028"/>
                  </a:lnTo>
                  <a:lnTo>
                    <a:pt x="477338" y="113830"/>
                  </a:lnTo>
                  <a:cubicBezTo>
                    <a:pt x="474920" y="115766"/>
                    <a:pt x="471564" y="116021"/>
                    <a:pt x="468879" y="114475"/>
                  </a:cubicBezTo>
                  <a:cubicBezTo>
                    <a:pt x="449773" y="103529"/>
                    <a:pt x="429342" y="95076"/>
                    <a:pt x="408086" y="89323"/>
                  </a:cubicBezTo>
                  <a:cubicBezTo>
                    <a:pt x="405093" y="88512"/>
                    <a:pt x="402897" y="85958"/>
                    <a:pt x="402543" y="82877"/>
                  </a:cubicBezTo>
                  <a:lnTo>
                    <a:pt x="392875" y="-23"/>
                  </a:lnTo>
                  <a:lnTo>
                    <a:pt x="286837" y="-23"/>
                  </a:lnTo>
                  <a:lnTo>
                    <a:pt x="277169" y="82877"/>
                  </a:lnTo>
                  <a:cubicBezTo>
                    <a:pt x="276824" y="85962"/>
                    <a:pt x="274625" y="88519"/>
                    <a:pt x="271626" y="89323"/>
                  </a:cubicBezTo>
                  <a:cubicBezTo>
                    <a:pt x="250372" y="95078"/>
                    <a:pt x="229941" y="103531"/>
                    <a:pt x="210833" y="114475"/>
                  </a:cubicBezTo>
                  <a:cubicBezTo>
                    <a:pt x="208148" y="116021"/>
                    <a:pt x="204792" y="115766"/>
                    <a:pt x="202373" y="113830"/>
                  </a:cubicBezTo>
                  <a:lnTo>
                    <a:pt x="137068" y="62028"/>
                  </a:lnTo>
                  <a:lnTo>
                    <a:pt x="62047" y="137065"/>
                  </a:lnTo>
                  <a:lnTo>
                    <a:pt x="113834" y="202434"/>
                  </a:lnTo>
                  <a:cubicBezTo>
                    <a:pt x="115767" y="204859"/>
                    <a:pt x="116023" y="208220"/>
                    <a:pt x="114478" y="210910"/>
                  </a:cubicBezTo>
                  <a:cubicBezTo>
                    <a:pt x="103534" y="230011"/>
                    <a:pt x="95081" y="250437"/>
                    <a:pt x="89326" y="271687"/>
                  </a:cubicBezTo>
                  <a:cubicBezTo>
                    <a:pt x="88523" y="274686"/>
                    <a:pt x="85965" y="276885"/>
                    <a:pt x="82881" y="277230"/>
                  </a:cubicBezTo>
                  <a:lnTo>
                    <a:pt x="-19" y="286897"/>
                  </a:lnTo>
                  <a:lnTo>
                    <a:pt x="-19" y="393016"/>
                  </a:lnTo>
                  <a:lnTo>
                    <a:pt x="82881" y="402684"/>
                  </a:lnTo>
                  <a:cubicBezTo>
                    <a:pt x="85957" y="403035"/>
                    <a:pt x="88509" y="405223"/>
                    <a:pt x="89326" y="408211"/>
                  </a:cubicBezTo>
                  <a:cubicBezTo>
                    <a:pt x="95077" y="429466"/>
                    <a:pt x="103530" y="449897"/>
                    <a:pt x="114478" y="469004"/>
                  </a:cubicBezTo>
                  <a:cubicBezTo>
                    <a:pt x="116023" y="471693"/>
                    <a:pt x="115767" y="475054"/>
                    <a:pt x="113834" y="477479"/>
                  </a:cubicBezTo>
                  <a:lnTo>
                    <a:pt x="62047" y="542704"/>
                  </a:lnTo>
                  <a:lnTo>
                    <a:pt x="111094" y="591767"/>
                  </a:lnTo>
                  <a:lnTo>
                    <a:pt x="122373" y="553838"/>
                  </a:lnTo>
                  <a:cubicBezTo>
                    <a:pt x="122373" y="553677"/>
                    <a:pt x="122518" y="553548"/>
                    <a:pt x="122567" y="553403"/>
                  </a:cubicBezTo>
                  <a:cubicBezTo>
                    <a:pt x="122615" y="553258"/>
                    <a:pt x="122712" y="553000"/>
                    <a:pt x="122776" y="552871"/>
                  </a:cubicBezTo>
                  <a:close/>
                </a:path>
              </a:pathLst>
            </a:custGeom>
            <a:grpFill/>
            <a:ln w="159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01B8306-92A3-1A60-49DC-DCD0A89BCAAE}"/>
                </a:ext>
              </a:extLst>
            </p:cNvPr>
            <p:cNvGrpSpPr/>
            <p:nvPr/>
          </p:nvGrpSpPr>
          <p:grpSpPr>
            <a:xfrm>
              <a:off x="1801636" y="574093"/>
              <a:ext cx="657885" cy="655800"/>
              <a:chOff x="1801636" y="574093"/>
              <a:chExt cx="657885" cy="655800"/>
            </a:xfrm>
            <a:grpFill/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59DDFA4-6A6E-1EED-490B-57FD95BC395D}"/>
                  </a:ext>
                </a:extLst>
              </p:cNvPr>
              <p:cNvSpPr/>
              <p:nvPr/>
            </p:nvSpPr>
            <p:spPr>
              <a:xfrm>
                <a:off x="2192551" y="625392"/>
                <a:ext cx="216730" cy="216738"/>
              </a:xfrm>
              <a:custGeom>
                <a:avLst/>
                <a:gdLst>
                  <a:gd name="connsiteX0" fmla="*/ 64059 w 216730"/>
                  <a:gd name="connsiteY0" fmla="*/ 3536 h 216738"/>
                  <a:gd name="connsiteX1" fmla="*/ 5166 w 216730"/>
                  <a:gd name="connsiteY1" fmla="*/ 62444 h 216738"/>
                  <a:gd name="connsiteX2" fmla="*/ 3555 w 216730"/>
                  <a:gd name="connsiteY2" fmla="*/ 64056 h 216738"/>
                  <a:gd name="connsiteX3" fmla="*/ 3555 w 216730"/>
                  <a:gd name="connsiteY3" fmla="*/ 81377 h 216738"/>
                  <a:gd name="connsiteX4" fmla="*/ 135809 w 216730"/>
                  <a:gd name="connsiteY4" fmla="*/ 213614 h 216738"/>
                  <a:gd name="connsiteX5" fmla="*/ 136067 w 216730"/>
                  <a:gd name="connsiteY5" fmla="*/ 213872 h 216738"/>
                  <a:gd name="connsiteX6" fmla="*/ 149739 w 216730"/>
                  <a:gd name="connsiteY6" fmla="*/ 213896 h 216738"/>
                  <a:gd name="connsiteX7" fmla="*/ 149763 w 216730"/>
                  <a:gd name="connsiteY7" fmla="*/ 213872 h 216738"/>
                  <a:gd name="connsiteX8" fmla="*/ 213876 w 216730"/>
                  <a:gd name="connsiteY8" fmla="*/ 149759 h 216738"/>
                  <a:gd name="connsiteX9" fmla="*/ 213884 w 216730"/>
                  <a:gd name="connsiteY9" fmla="*/ 136088 h 216738"/>
                  <a:gd name="connsiteX10" fmla="*/ 213876 w 216730"/>
                  <a:gd name="connsiteY10" fmla="*/ 136080 h 216738"/>
                  <a:gd name="connsiteX11" fmla="*/ 146717 w 216730"/>
                  <a:gd name="connsiteY11" fmla="*/ 68922 h 216738"/>
                  <a:gd name="connsiteX12" fmla="*/ 81364 w 216730"/>
                  <a:gd name="connsiteY12" fmla="*/ 3552 h 216738"/>
                  <a:gd name="connsiteX13" fmla="*/ 64059 w 216730"/>
                  <a:gd name="connsiteY13" fmla="*/ 3536 h 216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16730" h="216738">
                    <a:moveTo>
                      <a:pt x="64059" y="3536"/>
                    </a:moveTo>
                    <a:lnTo>
                      <a:pt x="5166" y="62444"/>
                    </a:lnTo>
                    <a:lnTo>
                      <a:pt x="3555" y="64056"/>
                    </a:lnTo>
                    <a:cubicBezTo>
                      <a:pt x="-1211" y="68846"/>
                      <a:pt x="-1211" y="76586"/>
                      <a:pt x="3555" y="81377"/>
                    </a:cubicBezTo>
                    <a:lnTo>
                      <a:pt x="135809" y="213614"/>
                    </a:lnTo>
                    <a:lnTo>
                      <a:pt x="136067" y="213872"/>
                    </a:lnTo>
                    <a:cubicBezTo>
                      <a:pt x="139836" y="217654"/>
                      <a:pt x="145957" y="217665"/>
                      <a:pt x="149739" y="213896"/>
                    </a:cubicBezTo>
                    <a:cubicBezTo>
                      <a:pt x="149747" y="213888"/>
                      <a:pt x="149755" y="213880"/>
                      <a:pt x="149763" y="213872"/>
                    </a:cubicBezTo>
                    <a:lnTo>
                      <a:pt x="213876" y="149759"/>
                    </a:lnTo>
                    <a:cubicBezTo>
                      <a:pt x="217652" y="145986"/>
                      <a:pt x="217657" y="139864"/>
                      <a:pt x="213884" y="136088"/>
                    </a:cubicBezTo>
                    <a:cubicBezTo>
                      <a:pt x="213880" y="136084"/>
                      <a:pt x="213879" y="136083"/>
                      <a:pt x="213876" y="136080"/>
                    </a:cubicBezTo>
                    <a:lnTo>
                      <a:pt x="146717" y="68922"/>
                    </a:lnTo>
                    <a:lnTo>
                      <a:pt x="81364" y="3552"/>
                    </a:lnTo>
                    <a:cubicBezTo>
                      <a:pt x="76580" y="-1208"/>
                      <a:pt x="68851" y="-1216"/>
                      <a:pt x="64059" y="3536"/>
                    </a:cubicBezTo>
                    <a:close/>
                  </a:path>
                </a:pathLst>
              </a:custGeom>
              <a:grpFill/>
              <a:ln w="15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E439BC5C-311F-C182-055B-5FA6C7CD0304}"/>
                  </a:ext>
                </a:extLst>
              </p:cNvPr>
              <p:cNvSpPr/>
              <p:nvPr/>
            </p:nvSpPr>
            <p:spPr>
              <a:xfrm>
                <a:off x="1856806" y="721310"/>
                <a:ext cx="455476" cy="455475"/>
              </a:xfrm>
              <a:custGeom>
                <a:avLst/>
                <a:gdLst>
                  <a:gd name="connsiteX0" fmla="*/ 0 w 455476"/>
                  <a:gd name="connsiteY0" fmla="*/ 332374 h 455475"/>
                  <a:gd name="connsiteX1" fmla="*/ 123086 w 455476"/>
                  <a:gd name="connsiteY1" fmla="*/ 455476 h 455475"/>
                  <a:gd name="connsiteX2" fmla="*/ 455477 w 455476"/>
                  <a:gd name="connsiteY2" fmla="*/ 123085 h 455475"/>
                  <a:gd name="connsiteX3" fmla="*/ 332391 w 455476"/>
                  <a:gd name="connsiteY3" fmla="*/ 0 h 455475"/>
                  <a:gd name="connsiteX4" fmla="*/ 87074 w 455476"/>
                  <a:gd name="connsiteY4" fmla="*/ 245317 h 455475"/>
                  <a:gd name="connsiteX5" fmla="*/ 0 w 455476"/>
                  <a:gd name="connsiteY5" fmla="*/ 332374 h 45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55476" h="455475">
                    <a:moveTo>
                      <a:pt x="0" y="332374"/>
                    </a:moveTo>
                    <a:lnTo>
                      <a:pt x="123086" y="455476"/>
                    </a:lnTo>
                    <a:lnTo>
                      <a:pt x="455477" y="123085"/>
                    </a:lnTo>
                    <a:lnTo>
                      <a:pt x="332391" y="0"/>
                    </a:lnTo>
                    <a:lnTo>
                      <a:pt x="87074" y="245317"/>
                    </a:lnTo>
                    <a:lnTo>
                      <a:pt x="0" y="332374"/>
                    </a:lnTo>
                    <a:close/>
                  </a:path>
                </a:pathLst>
              </a:custGeom>
              <a:grpFill/>
              <a:ln w="15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84FDBEE3-7FCB-D42D-8060-3CE5F6BC6577}"/>
                  </a:ext>
                </a:extLst>
              </p:cNvPr>
              <p:cNvSpPr/>
              <p:nvPr/>
            </p:nvSpPr>
            <p:spPr>
              <a:xfrm>
                <a:off x="2288452" y="574093"/>
                <a:ext cx="171069" cy="171096"/>
              </a:xfrm>
              <a:custGeom>
                <a:avLst/>
                <a:gdLst>
                  <a:gd name="connsiteX0" fmla="*/ 168553 w 171069"/>
                  <a:gd name="connsiteY0" fmla="*/ 125490 h 171096"/>
                  <a:gd name="connsiteX1" fmla="*/ 168553 w 171069"/>
                  <a:gd name="connsiteY1" fmla="*/ 113406 h 171096"/>
                  <a:gd name="connsiteX2" fmla="*/ 57616 w 171069"/>
                  <a:gd name="connsiteY2" fmla="*/ 2405 h 171096"/>
                  <a:gd name="connsiteX3" fmla="*/ 45531 w 171069"/>
                  <a:gd name="connsiteY3" fmla="*/ 2405 h 171096"/>
                  <a:gd name="connsiteX4" fmla="*/ -19 w 171069"/>
                  <a:gd name="connsiteY4" fmla="*/ 47988 h 171096"/>
                  <a:gd name="connsiteX5" fmla="*/ 123082 w 171069"/>
                  <a:gd name="connsiteY5" fmla="*/ 171073 h 171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1069" h="171096">
                    <a:moveTo>
                      <a:pt x="168553" y="125490"/>
                    </a:moveTo>
                    <a:cubicBezTo>
                      <a:pt x="171883" y="122150"/>
                      <a:pt x="171883" y="116746"/>
                      <a:pt x="168553" y="113406"/>
                    </a:cubicBezTo>
                    <a:lnTo>
                      <a:pt x="57616" y="2405"/>
                    </a:lnTo>
                    <a:cubicBezTo>
                      <a:pt x="54239" y="-832"/>
                      <a:pt x="48909" y="-832"/>
                      <a:pt x="45531" y="2405"/>
                    </a:cubicBezTo>
                    <a:lnTo>
                      <a:pt x="-19" y="47988"/>
                    </a:lnTo>
                    <a:lnTo>
                      <a:pt x="123082" y="171073"/>
                    </a:lnTo>
                    <a:close/>
                  </a:path>
                </a:pathLst>
              </a:custGeom>
              <a:grpFill/>
              <a:ln w="15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97957A3A-E678-A559-426E-FB1EDB80A3C5}"/>
                  </a:ext>
                </a:extLst>
              </p:cNvPr>
              <p:cNvSpPr/>
              <p:nvPr/>
            </p:nvSpPr>
            <p:spPr>
              <a:xfrm>
                <a:off x="1821213" y="1068040"/>
                <a:ext cx="144193" cy="143049"/>
              </a:xfrm>
              <a:custGeom>
                <a:avLst/>
                <a:gdLst>
                  <a:gd name="connsiteX0" fmla="*/ 17257 w 144193"/>
                  <a:gd name="connsiteY0" fmla="*/ 37929 h 143049"/>
                  <a:gd name="connsiteX1" fmla="*/ 0 w 144193"/>
                  <a:gd name="connsiteY1" fmla="*/ 95968 h 143049"/>
                  <a:gd name="connsiteX2" fmla="*/ 47082 w 144193"/>
                  <a:gd name="connsiteY2" fmla="*/ 143049 h 143049"/>
                  <a:gd name="connsiteX3" fmla="*/ 144193 w 144193"/>
                  <a:gd name="connsiteY3" fmla="*/ 115674 h 143049"/>
                  <a:gd name="connsiteX4" fmla="*/ 28520 w 144193"/>
                  <a:gd name="connsiteY4" fmla="*/ 0 h 143049"/>
                  <a:gd name="connsiteX5" fmla="*/ 17257 w 144193"/>
                  <a:gd name="connsiteY5" fmla="*/ 37929 h 143049"/>
                  <a:gd name="connsiteX6" fmla="*/ 17257 w 144193"/>
                  <a:gd name="connsiteY6" fmla="*/ 37929 h 14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4193" h="143049">
                    <a:moveTo>
                      <a:pt x="17257" y="37929"/>
                    </a:moveTo>
                    <a:lnTo>
                      <a:pt x="0" y="95968"/>
                    </a:lnTo>
                    <a:lnTo>
                      <a:pt x="47082" y="143049"/>
                    </a:lnTo>
                    <a:lnTo>
                      <a:pt x="144193" y="115674"/>
                    </a:lnTo>
                    <a:lnTo>
                      <a:pt x="28520" y="0"/>
                    </a:lnTo>
                    <a:lnTo>
                      <a:pt x="17257" y="37929"/>
                    </a:lnTo>
                    <a:lnTo>
                      <a:pt x="17257" y="37929"/>
                    </a:lnTo>
                    <a:close/>
                  </a:path>
                </a:pathLst>
              </a:custGeom>
              <a:grpFill/>
              <a:ln w="15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DAB626F2-95C0-9A97-17F2-756BAFAED305}"/>
                  </a:ext>
                </a:extLst>
              </p:cNvPr>
              <p:cNvSpPr/>
              <p:nvPr/>
            </p:nvSpPr>
            <p:spPr>
              <a:xfrm>
                <a:off x="1801636" y="1180508"/>
                <a:ext cx="49965" cy="49385"/>
              </a:xfrm>
              <a:custGeom>
                <a:avLst/>
                <a:gdLst>
                  <a:gd name="connsiteX0" fmla="*/ 0 w 49965"/>
                  <a:gd name="connsiteY0" fmla="*/ 49386 h 49385"/>
                  <a:gd name="connsiteX1" fmla="*/ 49966 w 49965"/>
                  <a:gd name="connsiteY1" fmla="*/ 35303 h 49385"/>
                  <a:gd name="connsiteX2" fmla="*/ 14663 w 49965"/>
                  <a:gd name="connsiteY2" fmla="*/ 0 h 49385"/>
                  <a:gd name="connsiteX3" fmla="*/ 0 w 49965"/>
                  <a:gd name="connsiteY3" fmla="*/ 49386 h 49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965" h="49385">
                    <a:moveTo>
                      <a:pt x="0" y="49386"/>
                    </a:moveTo>
                    <a:lnTo>
                      <a:pt x="49966" y="35303"/>
                    </a:lnTo>
                    <a:lnTo>
                      <a:pt x="14663" y="0"/>
                    </a:lnTo>
                    <a:lnTo>
                      <a:pt x="0" y="49386"/>
                    </a:lnTo>
                    <a:close/>
                  </a:path>
                </a:pathLst>
              </a:custGeom>
              <a:grpFill/>
              <a:ln w="159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92E649B-1E14-AE0C-9282-753400F3C8F4}"/>
              </a:ext>
            </a:extLst>
          </p:cNvPr>
          <p:cNvGrpSpPr>
            <a:grpSpLocks noChangeAspect="1"/>
          </p:cNvGrpSpPr>
          <p:nvPr>
            <p:custDataLst>
              <p:tags r:id="rId26"/>
            </p:custDataLst>
          </p:nvPr>
        </p:nvGrpSpPr>
        <p:grpSpPr>
          <a:xfrm>
            <a:off x="8072754" y="3742835"/>
            <a:ext cx="411480" cy="411480"/>
            <a:chOff x="2055813" y="4430713"/>
            <a:chExt cx="439738" cy="439738"/>
          </a:xfrm>
          <a:solidFill>
            <a:schemeClr val="bg1"/>
          </a:solidFill>
        </p:grpSpPr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3159C29A-78DA-199D-7194-65683C6C9F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5813" y="4430713"/>
              <a:ext cx="439738" cy="439738"/>
            </a:xfrm>
            <a:custGeom>
              <a:avLst/>
              <a:gdLst>
                <a:gd name="T0" fmla="*/ 1664 w 1920"/>
                <a:gd name="T1" fmla="*/ 1248 h 1920"/>
                <a:gd name="T2" fmla="*/ 1216 w 1920"/>
                <a:gd name="T3" fmla="*/ 1856 h 1920"/>
                <a:gd name="T4" fmla="*/ 1696 w 1920"/>
                <a:gd name="T5" fmla="*/ 1069 h 1920"/>
                <a:gd name="T6" fmla="*/ 1696 w 1920"/>
                <a:gd name="T7" fmla="*/ 1069 h 1920"/>
                <a:gd name="T8" fmla="*/ 1035 w 1920"/>
                <a:gd name="T9" fmla="*/ 1416 h 1920"/>
                <a:gd name="T10" fmla="*/ 964 w 1920"/>
                <a:gd name="T11" fmla="*/ 1263 h 1920"/>
                <a:gd name="T12" fmla="*/ 928 w 1920"/>
                <a:gd name="T13" fmla="*/ 800 h 1920"/>
                <a:gd name="T14" fmla="*/ 1152 w 1920"/>
                <a:gd name="T15" fmla="*/ 1856 h 1920"/>
                <a:gd name="T16" fmla="*/ 640 w 1920"/>
                <a:gd name="T17" fmla="*/ 1625 h 1920"/>
                <a:gd name="T18" fmla="*/ 864 w 1920"/>
                <a:gd name="T19" fmla="*/ 1653 h 1920"/>
                <a:gd name="T20" fmla="*/ 640 w 1920"/>
                <a:gd name="T21" fmla="*/ 1625 h 1920"/>
                <a:gd name="T22" fmla="*/ 576 w 1920"/>
                <a:gd name="T23" fmla="*/ 1568 h 1920"/>
                <a:gd name="T24" fmla="*/ 352 w 1920"/>
                <a:gd name="T25" fmla="*/ 1598 h 1920"/>
                <a:gd name="T26" fmla="*/ 288 w 1920"/>
                <a:gd name="T27" fmla="*/ 1247 h 1920"/>
                <a:gd name="T28" fmla="*/ 288 w 1920"/>
                <a:gd name="T29" fmla="*/ 1360 h 1920"/>
                <a:gd name="T30" fmla="*/ 181 w 1920"/>
                <a:gd name="T31" fmla="*/ 1752 h 1920"/>
                <a:gd name="T32" fmla="*/ 64 w 1920"/>
                <a:gd name="T33" fmla="*/ 1856 h 1920"/>
                <a:gd name="T34" fmla="*/ 576 w 1920"/>
                <a:gd name="T35" fmla="*/ 672 h 1920"/>
                <a:gd name="T36" fmla="*/ 454 w 1920"/>
                <a:gd name="T37" fmla="*/ 1006 h 1920"/>
                <a:gd name="T38" fmla="*/ 352 w 1920"/>
                <a:gd name="T39" fmla="*/ 672 h 1920"/>
                <a:gd name="T40" fmla="*/ 459 w 1920"/>
                <a:gd name="T41" fmla="*/ 1416 h 1920"/>
                <a:gd name="T42" fmla="*/ 503 w 1920"/>
                <a:gd name="T43" fmla="*/ 1047 h 1920"/>
                <a:gd name="T44" fmla="*/ 640 w 1920"/>
                <a:gd name="T45" fmla="*/ 956 h 1920"/>
                <a:gd name="T46" fmla="*/ 864 w 1920"/>
                <a:gd name="T47" fmla="*/ 1568 h 1920"/>
                <a:gd name="T48" fmla="*/ 640 w 1920"/>
                <a:gd name="T49" fmla="*/ 956 h 1920"/>
                <a:gd name="T50" fmla="*/ 864 w 1920"/>
                <a:gd name="T51" fmla="*/ 768 h 1920"/>
                <a:gd name="T52" fmla="*/ 776 w 1920"/>
                <a:gd name="T53" fmla="*/ 801 h 1920"/>
                <a:gd name="T54" fmla="*/ 640 w 1920"/>
                <a:gd name="T55" fmla="*/ 640 h 1920"/>
                <a:gd name="T56" fmla="*/ 1420 w 1920"/>
                <a:gd name="T57" fmla="*/ 461 h 1920"/>
                <a:gd name="T58" fmla="*/ 1107 w 1920"/>
                <a:gd name="T59" fmla="*/ 330 h 1920"/>
                <a:gd name="T60" fmla="*/ 1131 w 1920"/>
                <a:gd name="T61" fmla="*/ 271 h 1920"/>
                <a:gd name="T62" fmla="*/ 1855 w 1920"/>
                <a:gd name="T63" fmla="*/ 474 h 1920"/>
                <a:gd name="T64" fmla="*/ 1472 w 1920"/>
                <a:gd name="T65" fmla="*/ 64 h 1920"/>
                <a:gd name="T66" fmla="*/ 1258 w 1920"/>
                <a:gd name="T67" fmla="*/ 767 h 1920"/>
                <a:gd name="T68" fmla="*/ 1472 w 1920"/>
                <a:gd name="T69" fmla="*/ 832 h 1920"/>
                <a:gd name="T70" fmla="*/ 1472 w 1920"/>
                <a:gd name="T71" fmla="*/ 0 h 1920"/>
                <a:gd name="T72" fmla="*/ 928 w 1920"/>
                <a:gd name="T73" fmla="*/ 736 h 1920"/>
                <a:gd name="T74" fmla="*/ 608 w 1920"/>
                <a:gd name="T75" fmla="*/ 192 h 1920"/>
                <a:gd name="T76" fmla="*/ 320 w 1920"/>
                <a:gd name="T77" fmla="*/ 608 h 1920"/>
                <a:gd name="T78" fmla="*/ 32 w 1920"/>
                <a:gd name="T79" fmla="*/ 928 h 1920"/>
                <a:gd name="T80" fmla="*/ 32 w 1920"/>
                <a:gd name="T81" fmla="*/ 1920 h 1920"/>
                <a:gd name="T82" fmla="*/ 896 w 1920"/>
                <a:gd name="T83" fmla="*/ 1920 h 1920"/>
                <a:gd name="T84" fmla="*/ 1920 w 1920"/>
                <a:gd name="T85" fmla="*/ 1888 h 1920"/>
                <a:gd name="T86" fmla="*/ 1687 w 1920"/>
                <a:gd name="T87" fmla="*/ 969 h 1920"/>
                <a:gd name="T88" fmla="*/ 1216 w 1920"/>
                <a:gd name="T89" fmla="*/ 815 h 19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20" h="1920">
                  <a:moveTo>
                    <a:pt x="1632" y="1024"/>
                  </a:moveTo>
                  <a:cubicBezTo>
                    <a:pt x="1632" y="1216"/>
                    <a:pt x="1632" y="1216"/>
                    <a:pt x="1632" y="1216"/>
                  </a:cubicBezTo>
                  <a:cubicBezTo>
                    <a:pt x="1632" y="1234"/>
                    <a:pt x="1646" y="1248"/>
                    <a:pt x="1664" y="1248"/>
                  </a:cubicBezTo>
                  <a:cubicBezTo>
                    <a:pt x="1856" y="1248"/>
                    <a:pt x="1856" y="1248"/>
                    <a:pt x="1856" y="1248"/>
                  </a:cubicBezTo>
                  <a:cubicBezTo>
                    <a:pt x="1856" y="1856"/>
                    <a:pt x="1856" y="1856"/>
                    <a:pt x="1856" y="1856"/>
                  </a:cubicBezTo>
                  <a:cubicBezTo>
                    <a:pt x="1216" y="1856"/>
                    <a:pt x="1216" y="1856"/>
                    <a:pt x="1216" y="1856"/>
                  </a:cubicBezTo>
                  <a:cubicBezTo>
                    <a:pt x="1216" y="1024"/>
                    <a:pt x="1216" y="1024"/>
                    <a:pt x="1216" y="1024"/>
                  </a:cubicBezTo>
                  <a:lnTo>
                    <a:pt x="1632" y="1024"/>
                  </a:lnTo>
                  <a:close/>
                  <a:moveTo>
                    <a:pt x="1696" y="1069"/>
                  </a:moveTo>
                  <a:cubicBezTo>
                    <a:pt x="1811" y="1184"/>
                    <a:pt x="1811" y="1184"/>
                    <a:pt x="1811" y="1184"/>
                  </a:cubicBezTo>
                  <a:cubicBezTo>
                    <a:pt x="1696" y="1184"/>
                    <a:pt x="1696" y="1184"/>
                    <a:pt x="1696" y="1184"/>
                  </a:cubicBezTo>
                  <a:lnTo>
                    <a:pt x="1696" y="1069"/>
                  </a:lnTo>
                  <a:close/>
                  <a:moveTo>
                    <a:pt x="928" y="1597"/>
                  </a:moveTo>
                  <a:cubicBezTo>
                    <a:pt x="1077" y="1464"/>
                    <a:pt x="1077" y="1464"/>
                    <a:pt x="1077" y="1464"/>
                  </a:cubicBezTo>
                  <a:cubicBezTo>
                    <a:pt x="1035" y="1416"/>
                    <a:pt x="1035" y="1416"/>
                    <a:pt x="1035" y="1416"/>
                  </a:cubicBezTo>
                  <a:cubicBezTo>
                    <a:pt x="928" y="1511"/>
                    <a:pt x="928" y="1511"/>
                    <a:pt x="928" y="1511"/>
                  </a:cubicBezTo>
                  <a:cubicBezTo>
                    <a:pt x="928" y="1197"/>
                    <a:pt x="928" y="1197"/>
                    <a:pt x="928" y="1197"/>
                  </a:cubicBezTo>
                  <a:cubicBezTo>
                    <a:pt x="964" y="1263"/>
                    <a:pt x="964" y="1263"/>
                    <a:pt x="964" y="1263"/>
                  </a:cubicBezTo>
                  <a:cubicBezTo>
                    <a:pt x="1020" y="1233"/>
                    <a:pt x="1020" y="1233"/>
                    <a:pt x="1020" y="1233"/>
                  </a:cubicBezTo>
                  <a:cubicBezTo>
                    <a:pt x="928" y="1062"/>
                    <a:pt x="928" y="1062"/>
                    <a:pt x="928" y="1062"/>
                  </a:cubicBezTo>
                  <a:cubicBezTo>
                    <a:pt x="928" y="800"/>
                    <a:pt x="928" y="800"/>
                    <a:pt x="928" y="800"/>
                  </a:cubicBezTo>
                  <a:cubicBezTo>
                    <a:pt x="1152" y="800"/>
                    <a:pt x="1152" y="800"/>
                    <a:pt x="1152" y="800"/>
                  </a:cubicBezTo>
                  <a:cubicBezTo>
                    <a:pt x="1152" y="992"/>
                    <a:pt x="1152" y="992"/>
                    <a:pt x="1152" y="992"/>
                  </a:cubicBezTo>
                  <a:cubicBezTo>
                    <a:pt x="1152" y="1856"/>
                    <a:pt x="1152" y="1856"/>
                    <a:pt x="1152" y="1856"/>
                  </a:cubicBezTo>
                  <a:cubicBezTo>
                    <a:pt x="928" y="1856"/>
                    <a:pt x="928" y="1856"/>
                    <a:pt x="928" y="1856"/>
                  </a:cubicBezTo>
                  <a:lnTo>
                    <a:pt x="928" y="1597"/>
                  </a:lnTo>
                  <a:close/>
                  <a:moveTo>
                    <a:pt x="640" y="1625"/>
                  </a:moveTo>
                  <a:cubicBezTo>
                    <a:pt x="747" y="1720"/>
                    <a:pt x="747" y="1720"/>
                    <a:pt x="747" y="1720"/>
                  </a:cubicBezTo>
                  <a:cubicBezTo>
                    <a:pt x="759" y="1731"/>
                    <a:pt x="777" y="1731"/>
                    <a:pt x="789" y="1720"/>
                  </a:cubicBezTo>
                  <a:cubicBezTo>
                    <a:pt x="864" y="1653"/>
                    <a:pt x="864" y="1653"/>
                    <a:pt x="864" y="1653"/>
                  </a:cubicBezTo>
                  <a:cubicBezTo>
                    <a:pt x="864" y="1856"/>
                    <a:pt x="864" y="1856"/>
                    <a:pt x="864" y="1856"/>
                  </a:cubicBezTo>
                  <a:cubicBezTo>
                    <a:pt x="640" y="1856"/>
                    <a:pt x="640" y="1856"/>
                    <a:pt x="640" y="1856"/>
                  </a:cubicBezTo>
                  <a:lnTo>
                    <a:pt x="640" y="1625"/>
                  </a:lnTo>
                  <a:close/>
                  <a:moveTo>
                    <a:pt x="352" y="1598"/>
                  </a:moveTo>
                  <a:cubicBezTo>
                    <a:pt x="480" y="1483"/>
                    <a:pt x="480" y="1483"/>
                    <a:pt x="480" y="1483"/>
                  </a:cubicBezTo>
                  <a:cubicBezTo>
                    <a:pt x="576" y="1568"/>
                    <a:pt x="576" y="1568"/>
                    <a:pt x="576" y="1568"/>
                  </a:cubicBezTo>
                  <a:cubicBezTo>
                    <a:pt x="576" y="1856"/>
                    <a:pt x="576" y="1856"/>
                    <a:pt x="576" y="1856"/>
                  </a:cubicBezTo>
                  <a:cubicBezTo>
                    <a:pt x="352" y="1856"/>
                    <a:pt x="352" y="1856"/>
                    <a:pt x="352" y="1856"/>
                  </a:cubicBezTo>
                  <a:lnTo>
                    <a:pt x="352" y="1598"/>
                  </a:lnTo>
                  <a:close/>
                  <a:moveTo>
                    <a:pt x="64" y="992"/>
                  </a:moveTo>
                  <a:cubicBezTo>
                    <a:pt x="288" y="992"/>
                    <a:pt x="288" y="992"/>
                    <a:pt x="288" y="992"/>
                  </a:cubicBezTo>
                  <a:cubicBezTo>
                    <a:pt x="288" y="1247"/>
                    <a:pt x="288" y="1247"/>
                    <a:pt x="288" y="1247"/>
                  </a:cubicBezTo>
                  <a:cubicBezTo>
                    <a:pt x="102" y="1518"/>
                    <a:pt x="102" y="1518"/>
                    <a:pt x="102" y="1518"/>
                  </a:cubicBezTo>
                  <a:cubicBezTo>
                    <a:pt x="154" y="1554"/>
                    <a:pt x="154" y="1554"/>
                    <a:pt x="154" y="1554"/>
                  </a:cubicBezTo>
                  <a:cubicBezTo>
                    <a:pt x="288" y="1360"/>
                    <a:pt x="288" y="1360"/>
                    <a:pt x="288" y="1360"/>
                  </a:cubicBezTo>
                  <a:cubicBezTo>
                    <a:pt x="288" y="1570"/>
                    <a:pt x="288" y="1570"/>
                    <a:pt x="288" y="1570"/>
                  </a:cubicBezTo>
                  <a:cubicBezTo>
                    <a:pt x="139" y="1704"/>
                    <a:pt x="139" y="1704"/>
                    <a:pt x="139" y="1704"/>
                  </a:cubicBezTo>
                  <a:cubicBezTo>
                    <a:pt x="181" y="1752"/>
                    <a:pt x="181" y="1752"/>
                    <a:pt x="181" y="1752"/>
                  </a:cubicBezTo>
                  <a:cubicBezTo>
                    <a:pt x="288" y="1656"/>
                    <a:pt x="288" y="1656"/>
                    <a:pt x="288" y="1656"/>
                  </a:cubicBezTo>
                  <a:cubicBezTo>
                    <a:pt x="288" y="1856"/>
                    <a:pt x="288" y="1856"/>
                    <a:pt x="288" y="1856"/>
                  </a:cubicBezTo>
                  <a:cubicBezTo>
                    <a:pt x="64" y="1856"/>
                    <a:pt x="64" y="1856"/>
                    <a:pt x="64" y="1856"/>
                  </a:cubicBezTo>
                  <a:lnTo>
                    <a:pt x="64" y="992"/>
                  </a:lnTo>
                  <a:close/>
                  <a:moveTo>
                    <a:pt x="352" y="672"/>
                  </a:moveTo>
                  <a:cubicBezTo>
                    <a:pt x="576" y="672"/>
                    <a:pt x="576" y="672"/>
                    <a:pt x="576" y="672"/>
                  </a:cubicBezTo>
                  <a:cubicBezTo>
                    <a:pt x="576" y="922"/>
                    <a:pt x="576" y="922"/>
                    <a:pt x="576" y="922"/>
                  </a:cubicBezTo>
                  <a:cubicBezTo>
                    <a:pt x="462" y="997"/>
                    <a:pt x="462" y="997"/>
                    <a:pt x="462" y="997"/>
                  </a:cubicBezTo>
                  <a:cubicBezTo>
                    <a:pt x="459" y="1000"/>
                    <a:pt x="456" y="1003"/>
                    <a:pt x="454" y="1006"/>
                  </a:cubicBezTo>
                  <a:cubicBezTo>
                    <a:pt x="352" y="1154"/>
                    <a:pt x="352" y="1154"/>
                    <a:pt x="352" y="1154"/>
                  </a:cubicBezTo>
                  <a:cubicBezTo>
                    <a:pt x="352" y="960"/>
                    <a:pt x="352" y="960"/>
                    <a:pt x="352" y="960"/>
                  </a:cubicBezTo>
                  <a:lnTo>
                    <a:pt x="352" y="672"/>
                  </a:lnTo>
                  <a:close/>
                  <a:moveTo>
                    <a:pt x="576" y="1483"/>
                  </a:moveTo>
                  <a:cubicBezTo>
                    <a:pt x="501" y="1416"/>
                    <a:pt x="501" y="1416"/>
                    <a:pt x="501" y="1416"/>
                  </a:cubicBezTo>
                  <a:cubicBezTo>
                    <a:pt x="489" y="1405"/>
                    <a:pt x="471" y="1405"/>
                    <a:pt x="459" y="1416"/>
                  </a:cubicBezTo>
                  <a:cubicBezTo>
                    <a:pt x="352" y="1512"/>
                    <a:pt x="352" y="1512"/>
                    <a:pt x="352" y="1512"/>
                  </a:cubicBezTo>
                  <a:cubicBezTo>
                    <a:pt x="352" y="1267"/>
                    <a:pt x="352" y="1267"/>
                    <a:pt x="352" y="1267"/>
                  </a:cubicBezTo>
                  <a:cubicBezTo>
                    <a:pt x="503" y="1047"/>
                    <a:pt x="503" y="1047"/>
                    <a:pt x="503" y="1047"/>
                  </a:cubicBezTo>
                  <a:cubicBezTo>
                    <a:pt x="576" y="998"/>
                    <a:pt x="576" y="998"/>
                    <a:pt x="576" y="998"/>
                  </a:cubicBezTo>
                  <a:lnTo>
                    <a:pt x="576" y="1483"/>
                  </a:lnTo>
                  <a:close/>
                  <a:moveTo>
                    <a:pt x="640" y="956"/>
                  </a:moveTo>
                  <a:cubicBezTo>
                    <a:pt x="757" y="878"/>
                    <a:pt x="757" y="878"/>
                    <a:pt x="757" y="878"/>
                  </a:cubicBezTo>
                  <a:cubicBezTo>
                    <a:pt x="864" y="1078"/>
                    <a:pt x="864" y="1078"/>
                    <a:pt x="864" y="1078"/>
                  </a:cubicBezTo>
                  <a:cubicBezTo>
                    <a:pt x="864" y="1568"/>
                    <a:pt x="864" y="1568"/>
                    <a:pt x="864" y="1568"/>
                  </a:cubicBezTo>
                  <a:cubicBezTo>
                    <a:pt x="768" y="1653"/>
                    <a:pt x="768" y="1653"/>
                    <a:pt x="768" y="1653"/>
                  </a:cubicBezTo>
                  <a:cubicBezTo>
                    <a:pt x="640" y="1539"/>
                    <a:pt x="640" y="1539"/>
                    <a:pt x="640" y="1539"/>
                  </a:cubicBezTo>
                  <a:lnTo>
                    <a:pt x="640" y="956"/>
                  </a:lnTo>
                  <a:close/>
                  <a:moveTo>
                    <a:pt x="640" y="256"/>
                  </a:moveTo>
                  <a:cubicBezTo>
                    <a:pt x="864" y="256"/>
                    <a:pt x="864" y="256"/>
                    <a:pt x="864" y="256"/>
                  </a:cubicBezTo>
                  <a:cubicBezTo>
                    <a:pt x="864" y="768"/>
                    <a:pt x="864" y="768"/>
                    <a:pt x="864" y="768"/>
                  </a:cubicBezTo>
                  <a:cubicBezTo>
                    <a:pt x="864" y="943"/>
                    <a:pt x="864" y="943"/>
                    <a:pt x="864" y="943"/>
                  </a:cubicBezTo>
                  <a:cubicBezTo>
                    <a:pt x="796" y="817"/>
                    <a:pt x="796" y="817"/>
                    <a:pt x="796" y="817"/>
                  </a:cubicBezTo>
                  <a:cubicBezTo>
                    <a:pt x="792" y="809"/>
                    <a:pt x="785" y="803"/>
                    <a:pt x="776" y="801"/>
                  </a:cubicBezTo>
                  <a:cubicBezTo>
                    <a:pt x="767" y="799"/>
                    <a:pt x="758" y="800"/>
                    <a:pt x="750" y="805"/>
                  </a:cubicBezTo>
                  <a:cubicBezTo>
                    <a:pt x="640" y="879"/>
                    <a:pt x="640" y="879"/>
                    <a:pt x="640" y="879"/>
                  </a:cubicBezTo>
                  <a:cubicBezTo>
                    <a:pt x="640" y="640"/>
                    <a:pt x="640" y="640"/>
                    <a:pt x="640" y="640"/>
                  </a:cubicBezTo>
                  <a:lnTo>
                    <a:pt x="640" y="256"/>
                  </a:lnTo>
                  <a:close/>
                  <a:moveTo>
                    <a:pt x="1107" y="330"/>
                  </a:moveTo>
                  <a:cubicBezTo>
                    <a:pt x="1420" y="461"/>
                    <a:pt x="1420" y="461"/>
                    <a:pt x="1420" y="461"/>
                  </a:cubicBezTo>
                  <a:cubicBezTo>
                    <a:pt x="1208" y="726"/>
                    <a:pt x="1208" y="726"/>
                    <a:pt x="1208" y="726"/>
                  </a:cubicBezTo>
                  <a:cubicBezTo>
                    <a:pt x="1134" y="656"/>
                    <a:pt x="1088" y="558"/>
                    <a:pt x="1088" y="448"/>
                  </a:cubicBezTo>
                  <a:cubicBezTo>
                    <a:pt x="1088" y="407"/>
                    <a:pt x="1095" y="367"/>
                    <a:pt x="1107" y="330"/>
                  </a:cubicBezTo>
                  <a:close/>
                  <a:moveTo>
                    <a:pt x="1240" y="143"/>
                  </a:moveTo>
                  <a:cubicBezTo>
                    <a:pt x="1390" y="379"/>
                    <a:pt x="1390" y="379"/>
                    <a:pt x="1390" y="379"/>
                  </a:cubicBezTo>
                  <a:cubicBezTo>
                    <a:pt x="1131" y="271"/>
                    <a:pt x="1131" y="271"/>
                    <a:pt x="1131" y="271"/>
                  </a:cubicBezTo>
                  <a:cubicBezTo>
                    <a:pt x="1158" y="221"/>
                    <a:pt x="1195" y="177"/>
                    <a:pt x="1240" y="143"/>
                  </a:cubicBezTo>
                  <a:close/>
                  <a:moveTo>
                    <a:pt x="1856" y="448"/>
                  </a:moveTo>
                  <a:cubicBezTo>
                    <a:pt x="1856" y="457"/>
                    <a:pt x="1855" y="466"/>
                    <a:pt x="1855" y="474"/>
                  </a:cubicBezTo>
                  <a:cubicBezTo>
                    <a:pt x="1491" y="419"/>
                    <a:pt x="1491" y="419"/>
                    <a:pt x="1491" y="419"/>
                  </a:cubicBezTo>
                  <a:cubicBezTo>
                    <a:pt x="1294" y="108"/>
                    <a:pt x="1294" y="108"/>
                    <a:pt x="1294" y="108"/>
                  </a:cubicBezTo>
                  <a:cubicBezTo>
                    <a:pt x="1347" y="80"/>
                    <a:pt x="1408" y="64"/>
                    <a:pt x="1472" y="64"/>
                  </a:cubicBezTo>
                  <a:cubicBezTo>
                    <a:pt x="1684" y="64"/>
                    <a:pt x="1856" y="236"/>
                    <a:pt x="1856" y="448"/>
                  </a:cubicBezTo>
                  <a:close/>
                  <a:moveTo>
                    <a:pt x="1472" y="832"/>
                  </a:moveTo>
                  <a:cubicBezTo>
                    <a:pt x="1393" y="832"/>
                    <a:pt x="1319" y="808"/>
                    <a:pt x="1258" y="767"/>
                  </a:cubicBezTo>
                  <a:cubicBezTo>
                    <a:pt x="1485" y="482"/>
                    <a:pt x="1485" y="482"/>
                    <a:pt x="1485" y="482"/>
                  </a:cubicBezTo>
                  <a:cubicBezTo>
                    <a:pt x="1845" y="538"/>
                    <a:pt x="1845" y="538"/>
                    <a:pt x="1845" y="538"/>
                  </a:cubicBezTo>
                  <a:cubicBezTo>
                    <a:pt x="1804" y="706"/>
                    <a:pt x="1653" y="832"/>
                    <a:pt x="1472" y="832"/>
                  </a:cubicBezTo>
                  <a:close/>
                  <a:moveTo>
                    <a:pt x="1472" y="896"/>
                  </a:moveTo>
                  <a:cubicBezTo>
                    <a:pt x="1719" y="896"/>
                    <a:pt x="1920" y="695"/>
                    <a:pt x="1920" y="448"/>
                  </a:cubicBezTo>
                  <a:cubicBezTo>
                    <a:pt x="1920" y="201"/>
                    <a:pt x="1719" y="0"/>
                    <a:pt x="1472" y="0"/>
                  </a:cubicBezTo>
                  <a:cubicBezTo>
                    <a:pt x="1225" y="0"/>
                    <a:pt x="1024" y="201"/>
                    <a:pt x="1024" y="448"/>
                  </a:cubicBezTo>
                  <a:cubicBezTo>
                    <a:pt x="1024" y="558"/>
                    <a:pt x="1064" y="658"/>
                    <a:pt x="1129" y="736"/>
                  </a:cubicBezTo>
                  <a:cubicBezTo>
                    <a:pt x="928" y="736"/>
                    <a:pt x="928" y="736"/>
                    <a:pt x="928" y="736"/>
                  </a:cubicBezTo>
                  <a:cubicBezTo>
                    <a:pt x="928" y="224"/>
                    <a:pt x="928" y="224"/>
                    <a:pt x="928" y="224"/>
                  </a:cubicBezTo>
                  <a:cubicBezTo>
                    <a:pt x="928" y="206"/>
                    <a:pt x="914" y="192"/>
                    <a:pt x="896" y="192"/>
                  </a:cubicBezTo>
                  <a:cubicBezTo>
                    <a:pt x="608" y="192"/>
                    <a:pt x="608" y="192"/>
                    <a:pt x="608" y="192"/>
                  </a:cubicBezTo>
                  <a:cubicBezTo>
                    <a:pt x="590" y="192"/>
                    <a:pt x="576" y="206"/>
                    <a:pt x="576" y="224"/>
                  </a:cubicBezTo>
                  <a:cubicBezTo>
                    <a:pt x="576" y="608"/>
                    <a:pt x="576" y="608"/>
                    <a:pt x="576" y="608"/>
                  </a:cubicBezTo>
                  <a:cubicBezTo>
                    <a:pt x="320" y="608"/>
                    <a:pt x="320" y="608"/>
                    <a:pt x="320" y="608"/>
                  </a:cubicBezTo>
                  <a:cubicBezTo>
                    <a:pt x="302" y="608"/>
                    <a:pt x="288" y="622"/>
                    <a:pt x="288" y="640"/>
                  </a:cubicBezTo>
                  <a:cubicBezTo>
                    <a:pt x="288" y="928"/>
                    <a:pt x="288" y="928"/>
                    <a:pt x="288" y="928"/>
                  </a:cubicBezTo>
                  <a:cubicBezTo>
                    <a:pt x="32" y="928"/>
                    <a:pt x="32" y="928"/>
                    <a:pt x="32" y="928"/>
                  </a:cubicBezTo>
                  <a:cubicBezTo>
                    <a:pt x="14" y="928"/>
                    <a:pt x="0" y="942"/>
                    <a:pt x="0" y="960"/>
                  </a:cubicBezTo>
                  <a:cubicBezTo>
                    <a:pt x="0" y="1888"/>
                    <a:pt x="0" y="1888"/>
                    <a:pt x="0" y="1888"/>
                  </a:cubicBezTo>
                  <a:cubicBezTo>
                    <a:pt x="0" y="1906"/>
                    <a:pt x="14" y="1920"/>
                    <a:pt x="32" y="1920"/>
                  </a:cubicBezTo>
                  <a:cubicBezTo>
                    <a:pt x="320" y="1920"/>
                    <a:pt x="320" y="1920"/>
                    <a:pt x="320" y="1920"/>
                  </a:cubicBezTo>
                  <a:cubicBezTo>
                    <a:pt x="608" y="1920"/>
                    <a:pt x="608" y="1920"/>
                    <a:pt x="608" y="1920"/>
                  </a:cubicBezTo>
                  <a:cubicBezTo>
                    <a:pt x="896" y="1920"/>
                    <a:pt x="896" y="1920"/>
                    <a:pt x="896" y="1920"/>
                  </a:cubicBezTo>
                  <a:cubicBezTo>
                    <a:pt x="1184" y="1920"/>
                    <a:pt x="1184" y="1920"/>
                    <a:pt x="1184" y="1920"/>
                  </a:cubicBezTo>
                  <a:cubicBezTo>
                    <a:pt x="1888" y="1920"/>
                    <a:pt x="1888" y="1920"/>
                    <a:pt x="1888" y="1920"/>
                  </a:cubicBezTo>
                  <a:cubicBezTo>
                    <a:pt x="1906" y="1920"/>
                    <a:pt x="1920" y="1906"/>
                    <a:pt x="1920" y="1888"/>
                  </a:cubicBezTo>
                  <a:cubicBezTo>
                    <a:pt x="1920" y="1216"/>
                    <a:pt x="1920" y="1216"/>
                    <a:pt x="1920" y="1216"/>
                  </a:cubicBezTo>
                  <a:cubicBezTo>
                    <a:pt x="1920" y="1207"/>
                    <a:pt x="1916" y="1199"/>
                    <a:pt x="1911" y="1193"/>
                  </a:cubicBezTo>
                  <a:cubicBezTo>
                    <a:pt x="1687" y="969"/>
                    <a:pt x="1687" y="969"/>
                    <a:pt x="1687" y="969"/>
                  </a:cubicBezTo>
                  <a:cubicBezTo>
                    <a:pt x="1681" y="964"/>
                    <a:pt x="1673" y="960"/>
                    <a:pt x="1664" y="960"/>
                  </a:cubicBezTo>
                  <a:cubicBezTo>
                    <a:pt x="1216" y="960"/>
                    <a:pt x="1216" y="960"/>
                    <a:pt x="1216" y="960"/>
                  </a:cubicBezTo>
                  <a:cubicBezTo>
                    <a:pt x="1216" y="815"/>
                    <a:pt x="1216" y="815"/>
                    <a:pt x="1216" y="815"/>
                  </a:cubicBezTo>
                  <a:cubicBezTo>
                    <a:pt x="1289" y="866"/>
                    <a:pt x="1377" y="896"/>
                    <a:pt x="1472" y="8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7">
              <a:extLst>
                <a:ext uri="{FF2B5EF4-FFF2-40B4-BE49-F238E27FC236}">
                  <a16:creationId xmlns:a16="http://schemas.microsoft.com/office/drawing/2014/main" id="{4CBE9C26-A785-594F-B2AF-950C4C827B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13" y="4679950"/>
              <a:ext cx="666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8">
              <a:extLst>
                <a:ext uri="{FF2B5EF4-FFF2-40B4-BE49-F238E27FC236}">
                  <a16:creationId xmlns:a16="http://schemas.microsoft.com/office/drawing/2014/main" id="{1CEAAFA5-D036-032D-B6C2-9A6046A5B3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13" y="4708525"/>
              <a:ext cx="666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Rectangle 9">
              <a:extLst>
                <a:ext uri="{FF2B5EF4-FFF2-40B4-BE49-F238E27FC236}">
                  <a16:creationId xmlns:a16="http://schemas.microsoft.com/office/drawing/2014/main" id="{AE0743F9-3331-AF20-EB9A-11809C6958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13" y="4738688"/>
              <a:ext cx="1174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10">
              <a:extLst>
                <a:ext uri="{FF2B5EF4-FFF2-40B4-BE49-F238E27FC236}">
                  <a16:creationId xmlns:a16="http://schemas.microsoft.com/office/drawing/2014/main" id="{254FDBD9-5997-EE65-0515-A5A17A92B6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13" y="4767263"/>
              <a:ext cx="1174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11">
              <a:extLst>
                <a:ext uri="{FF2B5EF4-FFF2-40B4-BE49-F238E27FC236}">
                  <a16:creationId xmlns:a16="http://schemas.microsoft.com/office/drawing/2014/main" id="{D433AC51-15EA-7282-D325-AF6398E52C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13" y="4797425"/>
              <a:ext cx="1174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12">
              <a:extLst>
                <a:ext uri="{FF2B5EF4-FFF2-40B4-BE49-F238E27FC236}">
                  <a16:creationId xmlns:a16="http://schemas.microsoft.com/office/drawing/2014/main" id="{51029CFC-7F85-6046-7364-9528D23271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13" y="4826000"/>
              <a:ext cx="1174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id="{94775129-93F5-2EF3-9C88-F1A99FF92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488" y="4452938"/>
              <a:ext cx="42863" cy="44450"/>
            </a:xfrm>
            <a:custGeom>
              <a:avLst/>
              <a:gdLst>
                <a:gd name="T0" fmla="*/ 9 w 27"/>
                <a:gd name="T1" fmla="*/ 0 h 28"/>
                <a:gd name="T2" fmla="*/ 9 w 27"/>
                <a:gd name="T3" fmla="*/ 9 h 28"/>
                <a:gd name="T4" fmla="*/ 0 w 27"/>
                <a:gd name="T5" fmla="*/ 9 h 28"/>
                <a:gd name="T6" fmla="*/ 0 w 27"/>
                <a:gd name="T7" fmla="*/ 19 h 28"/>
                <a:gd name="T8" fmla="*/ 9 w 27"/>
                <a:gd name="T9" fmla="*/ 19 h 28"/>
                <a:gd name="T10" fmla="*/ 9 w 27"/>
                <a:gd name="T11" fmla="*/ 28 h 28"/>
                <a:gd name="T12" fmla="*/ 18 w 27"/>
                <a:gd name="T13" fmla="*/ 28 h 28"/>
                <a:gd name="T14" fmla="*/ 18 w 27"/>
                <a:gd name="T15" fmla="*/ 19 h 28"/>
                <a:gd name="T16" fmla="*/ 27 w 27"/>
                <a:gd name="T17" fmla="*/ 19 h 28"/>
                <a:gd name="T18" fmla="*/ 27 w 27"/>
                <a:gd name="T19" fmla="*/ 9 h 28"/>
                <a:gd name="T20" fmla="*/ 18 w 27"/>
                <a:gd name="T21" fmla="*/ 9 h 28"/>
                <a:gd name="T22" fmla="*/ 18 w 27"/>
                <a:gd name="T23" fmla="*/ 0 h 28"/>
                <a:gd name="T24" fmla="*/ 9 w 27"/>
                <a:gd name="T2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28">
                  <a:moveTo>
                    <a:pt x="9" y="0"/>
                  </a:moveTo>
                  <a:lnTo>
                    <a:pt x="9" y="9"/>
                  </a:lnTo>
                  <a:lnTo>
                    <a:pt x="0" y="9"/>
                  </a:lnTo>
                  <a:lnTo>
                    <a:pt x="0" y="19"/>
                  </a:lnTo>
                  <a:lnTo>
                    <a:pt x="9" y="19"/>
                  </a:lnTo>
                  <a:lnTo>
                    <a:pt x="9" y="28"/>
                  </a:lnTo>
                  <a:lnTo>
                    <a:pt x="18" y="28"/>
                  </a:lnTo>
                  <a:lnTo>
                    <a:pt x="18" y="19"/>
                  </a:lnTo>
                  <a:lnTo>
                    <a:pt x="27" y="19"/>
                  </a:lnTo>
                  <a:lnTo>
                    <a:pt x="27" y="9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8EAEC10B-C6C8-59A1-D262-79375CCC2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4497388"/>
              <a:ext cx="42863" cy="44450"/>
            </a:xfrm>
            <a:custGeom>
              <a:avLst/>
              <a:gdLst>
                <a:gd name="T0" fmla="*/ 9 w 27"/>
                <a:gd name="T1" fmla="*/ 0 h 28"/>
                <a:gd name="T2" fmla="*/ 9 w 27"/>
                <a:gd name="T3" fmla="*/ 9 h 28"/>
                <a:gd name="T4" fmla="*/ 0 w 27"/>
                <a:gd name="T5" fmla="*/ 9 h 28"/>
                <a:gd name="T6" fmla="*/ 0 w 27"/>
                <a:gd name="T7" fmla="*/ 18 h 28"/>
                <a:gd name="T8" fmla="*/ 9 w 27"/>
                <a:gd name="T9" fmla="*/ 18 h 28"/>
                <a:gd name="T10" fmla="*/ 9 w 27"/>
                <a:gd name="T11" fmla="*/ 28 h 28"/>
                <a:gd name="T12" fmla="*/ 18 w 27"/>
                <a:gd name="T13" fmla="*/ 28 h 28"/>
                <a:gd name="T14" fmla="*/ 18 w 27"/>
                <a:gd name="T15" fmla="*/ 18 h 28"/>
                <a:gd name="T16" fmla="*/ 27 w 27"/>
                <a:gd name="T17" fmla="*/ 18 h 28"/>
                <a:gd name="T18" fmla="*/ 27 w 27"/>
                <a:gd name="T19" fmla="*/ 9 h 28"/>
                <a:gd name="T20" fmla="*/ 18 w 27"/>
                <a:gd name="T21" fmla="*/ 9 h 28"/>
                <a:gd name="T22" fmla="*/ 18 w 27"/>
                <a:gd name="T23" fmla="*/ 0 h 28"/>
                <a:gd name="T24" fmla="*/ 9 w 27"/>
                <a:gd name="T2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28">
                  <a:moveTo>
                    <a:pt x="9" y="0"/>
                  </a:moveTo>
                  <a:lnTo>
                    <a:pt x="9" y="9"/>
                  </a:lnTo>
                  <a:lnTo>
                    <a:pt x="0" y="9"/>
                  </a:lnTo>
                  <a:lnTo>
                    <a:pt x="0" y="18"/>
                  </a:lnTo>
                  <a:lnTo>
                    <a:pt x="9" y="18"/>
                  </a:lnTo>
                  <a:lnTo>
                    <a:pt x="9" y="28"/>
                  </a:lnTo>
                  <a:lnTo>
                    <a:pt x="18" y="28"/>
                  </a:lnTo>
                  <a:lnTo>
                    <a:pt x="18" y="18"/>
                  </a:lnTo>
                  <a:lnTo>
                    <a:pt x="27" y="18"/>
                  </a:lnTo>
                  <a:lnTo>
                    <a:pt x="27" y="9"/>
                  </a:lnTo>
                  <a:lnTo>
                    <a:pt x="18" y="9"/>
                  </a:lnTo>
                  <a:lnTo>
                    <a:pt x="1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68D4A18-ADAE-A021-95D6-538359D890E1}"/>
              </a:ext>
            </a:extLst>
          </p:cNvPr>
          <p:cNvGrpSpPr>
            <a:grpSpLocks noChangeAspect="1"/>
          </p:cNvGrpSpPr>
          <p:nvPr>
            <p:custDataLst>
              <p:tags r:id="rId27"/>
            </p:custDataLst>
          </p:nvPr>
        </p:nvGrpSpPr>
        <p:grpSpPr>
          <a:xfrm>
            <a:off x="8047764" y="4316914"/>
            <a:ext cx="415314" cy="411480"/>
            <a:chOff x="4852987" y="2955926"/>
            <a:chExt cx="2752726" cy="2727324"/>
          </a:xfrm>
          <a:solidFill>
            <a:schemeClr val="bg1"/>
          </a:solidFill>
        </p:grpSpPr>
        <p:sp>
          <p:nvSpPr>
            <p:cNvPr id="60" name="Freeform 18">
              <a:extLst>
                <a:ext uri="{FF2B5EF4-FFF2-40B4-BE49-F238E27FC236}">
                  <a16:creationId xmlns:a16="http://schemas.microsoft.com/office/drawing/2014/main" id="{2AFED0E7-4343-2613-5CC4-C03B74092C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2987" y="2955926"/>
              <a:ext cx="2752726" cy="2727324"/>
            </a:xfrm>
            <a:custGeom>
              <a:avLst/>
              <a:gdLst>
                <a:gd name="T0" fmla="*/ 490 w 980"/>
                <a:gd name="T1" fmla="*/ 971 h 971"/>
                <a:gd name="T2" fmla="*/ 7 w 980"/>
                <a:gd name="T3" fmla="*/ 500 h 971"/>
                <a:gd name="T4" fmla="*/ 499 w 980"/>
                <a:gd name="T5" fmla="*/ 5 h 971"/>
                <a:gd name="T6" fmla="*/ 972 w 980"/>
                <a:gd name="T7" fmla="*/ 503 h 971"/>
                <a:gd name="T8" fmla="*/ 490 w 980"/>
                <a:gd name="T9" fmla="*/ 971 h 971"/>
                <a:gd name="T10" fmla="*/ 489 w 980"/>
                <a:gd name="T11" fmla="*/ 900 h 971"/>
                <a:gd name="T12" fmla="*/ 902 w 980"/>
                <a:gd name="T13" fmla="*/ 490 h 971"/>
                <a:gd name="T14" fmla="*/ 490 w 980"/>
                <a:gd name="T15" fmla="*/ 76 h 971"/>
                <a:gd name="T16" fmla="*/ 78 w 980"/>
                <a:gd name="T17" fmla="*/ 489 h 971"/>
                <a:gd name="T18" fmla="*/ 489 w 980"/>
                <a:gd name="T19" fmla="*/ 900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0" h="971">
                  <a:moveTo>
                    <a:pt x="490" y="971"/>
                  </a:moveTo>
                  <a:cubicBezTo>
                    <a:pt x="225" y="971"/>
                    <a:pt x="13" y="759"/>
                    <a:pt x="7" y="500"/>
                  </a:cubicBezTo>
                  <a:cubicBezTo>
                    <a:pt x="0" y="224"/>
                    <a:pt x="224" y="0"/>
                    <a:pt x="499" y="5"/>
                  </a:cubicBezTo>
                  <a:cubicBezTo>
                    <a:pt x="760" y="10"/>
                    <a:pt x="980" y="226"/>
                    <a:pt x="972" y="503"/>
                  </a:cubicBezTo>
                  <a:cubicBezTo>
                    <a:pt x="965" y="759"/>
                    <a:pt x="754" y="971"/>
                    <a:pt x="490" y="971"/>
                  </a:cubicBezTo>
                  <a:close/>
                  <a:moveTo>
                    <a:pt x="489" y="900"/>
                  </a:moveTo>
                  <a:cubicBezTo>
                    <a:pt x="719" y="898"/>
                    <a:pt x="901" y="717"/>
                    <a:pt x="902" y="490"/>
                  </a:cubicBezTo>
                  <a:cubicBezTo>
                    <a:pt x="903" y="259"/>
                    <a:pt x="719" y="76"/>
                    <a:pt x="490" y="76"/>
                  </a:cubicBezTo>
                  <a:cubicBezTo>
                    <a:pt x="261" y="76"/>
                    <a:pt x="77" y="259"/>
                    <a:pt x="78" y="489"/>
                  </a:cubicBezTo>
                  <a:cubicBezTo>
                    <a:pt x="78" y="717"/>
                    <a:pt x="260" y="898"/>
                    <a:pt x="489" y="9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9">
              <a:extLst>
                <a:ext uri="{FF2B5EF4-FFF2-40B4-BE49-F238E27FC236}">
                  <a16:creationId xmlns:a16="http://schemas.microsoft.com/office/drawing/2014/main" id="{A6B37302-7AD9-9DE8-1B84-614FCE05E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3138488"/>
              <a:ext cx="2370138" cy="2281237"/>
            </a:xfrm>
            <a:custGeom>
              <a:avLst/>
              <a:gdLst>
                <a:gd name="T0" fmla="*/ 812 w 844"/>
                <a:gd name="T1" fmla="*/ 498 h 812"/>
                <a:gd name="T2" fmla="*/ 550 w 844"/>
                <a:gd name="T3" fmla="*/ 121 h 812"/>
                <a:gd name="T4" fmla="*/ 154 w 844"/>
                <a:gd name="T5" fmla="*/ 390 h 812"/>
                <a:gd name="T6" fmla="*/ 202 w 844"/>
                <a:gd name="T7" fmla="*/ 459 h 812"/>
                <a:gd name="T8" fmla="*/ 156 w 844"/>
                <a:gd name="T9" fmla="*/ 508 h 812"/>
                <a:gd name="T10" fmla="*/ 124 w 844"/>
                <a:gd name="T11" fmla="*/ 541 h 812"/>
                <a:gd name="T12" fmla="*/ 125 w 844"/>
                <a:gd name="T13" fmla="*/ 560 h 812"/>
                <a:gd name="T14" fmla="*/ 196 w 844"/>
                <a:gd name="T15" fmla="*/ 627 h 812"/>
                <a:gd name="T16" fmla="*/ 322 w 844"/>
                <a:gd name="T17" fmla="*/ 746 h 812"/>
                <a:gd name="T18" fmla="*/ 385 w 844"/>
                <a:gd name="T19" fmla="*/ 805 h 812"/>
                <a:gd name="T20" fmla="*/ 391 w 844"/>
                <a:gd name="T21" fmla="*/ 812 h 812"/>
                <a:gd name="T22" fmla="*/ 74 w 844"/>
                <a:gd name="T23" fmla="*/ 592 h 812"/>
                <a:gd name="T24" fmla="*/ 158 w 844"/>
                <a:gd name="T25" fmla="*/ 138 h 812"/>
                <a:gd name="T26" fmla="*/ 612 w 844"/>
                <a:gd name="T27" fmla="*/ 77 h 812"/>
                <a:gd name="T28" fmla="*/ 812 w 844"/>
                <a:gd name="T29" fmla="*/ 498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4" h="812">
                  <a:moveTo>
                    <a:pt x="812" y="498"/>
                  </a:moveTo>
                  <a:cubicBezTo>
                    <a:pt x="724" y="372"/>
                    <a:pt x="637" y="247"/>
                    <a:pt x="550" y="121"/>
                  </a:cubicBezTo>
                  <a:cubicBezTo>
                    <a:pt x="418" y="211"/>
                    <a:pt x="287" y="300"/>
                    <a:pt x="154" y="390"/>
                  </a:cubicBezTo>
                  <a:cubicBezTo>
                    <a:pt x="170" y="413"/>
                    <a:pt x="186" y="436"/>
                    <a:pt x="202" y="459"/>
                  </a:cubicBezTo>
                  <a:cubicBezTo>
                    <a:pt x="186" y="475"/>
                    <a:pt x="171" y="491"/>
                    <a:pt x="156" y="508"/>
                  </a:cubicBezTo>
                  <a:cubicBezTo>
                    <a:pt x="145" y="519"/>
                    <a:pt x="134" y="530"/>
                    <a:pt x="124" y="541"/>
                  </a:cubicBezTo>
                  <a:cubicBezTo>
                    <a:pt x="117" y="548"/>
                    <a:pt x="117" y="553"/>
                    <a:pt x="125" y="560"/>
                  </a:cubicBezTo>
                  <a:cubicBezTo>
                    <a:pt x="148" y="582"/>
                    <a:pt x="172" y="605"/>
                    <a:pt x="196" y="627"/>
                  </a:cubicBezTo>
                  <a:cubicBezTo>
                    <a:pt x="238" y="667"/>
                    <a:pt x="280" y="706"/>
                    <a:pt x="322" y="746"/>
                  </a:cubicBezTo>
                  <a:cubicBezTo>
                    <a:pt x="343" y="766"/>
                    <a:pt x="364" y="786"/>
                    <a:pt x="385" y="805"/>
                  </a:cubicBezTo>
                  <a:cubicBezTo>
                    <a:pt x="387" y="807"/>
                    <a:pt x="389" y="809"/>
                    <a:pt x="391" y="812"/>
                  </a:cubicBezTo>
                  <a:cubicBezTo>
                    <a:pt x="285" y="807"/>
                    <a:pt x="143" y="737"/>
                    <a:pt x="74" y="592"/>
                  </a:cubicBezTo>
                  <a:cubicBezTo>
                    <a:pt x="0" y="437"/>
                    <a:pt x="34" y="256"/>
                    <a:pt x="158" y="138"/>
                  </a:cubicBezTo>
                  <a:cubicBezTo>
                    <a:pt x="287" y="17"/>
                    <a:pt x="469" y="0"/>
                    <a:pt x="612" y="77"/>
                  </a:cubicBezTo>
                  <a:cubicBezTo>
                    <a:pt x="772" y="163"/>
                    <a:pt x="844" y="338"/>
                    <a:pt x="812" y="4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0">
              <a:extLst>
                <a:ext uri="{FF2B5EF4-FFF2-40B4-BE49-F238E27FC236}">
                  <a16:creationId xmlns:a16="http://schemas.microsoft.com/office/drawing/2014/main" id="{85DD9A3F-6CAC-2114-B3E2-B44428CD6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8238" y="4430713"/>
              <a:ext cx="893763" cy="727075"/>
            </a:xfrm>
            <a:custGeom>
              <a:avLst/>
              <a:gdLst>
                <a:gd name="T0" fmla="*/ 62 w 318"/>
                <a:gd name="T1" fmla="*/ 224 h 259"/>
                <a:gd name="T2" fmla="*/ 34 w 318"/>
                <a:gd name="T3" fmla="*/ 243 h 259"/>
                <a:gd name="T4" fmla="*/ 18 w 318"/>
                <a:gd name="T5" fmla="*/ 240 h 259"/>
                <a:gd name="T6" fmla="*/ 5 w 318"/>
                <a:gd name="T7" fmla="*/ 223 h 259"/>
                <a:gd name="T8" fmla="*/ 8 w 318"/>
                <a:gd name="T9" fmla="*/ 207 h 259"/>
                <a:gd name="T10" fmla="*/ 25 w 318"/>
                <a:gd name="T11" fmla="*/ 195 h 259"/>
                <a:gd name="T12" fmla="*/ 29 w 318"/>
                <a:gd name="T13" fmla="*/ 181 h 259"/>
                <a:gd name="T14" fmla="*/ 7 w 318"/>
                <a:gd name="T15" fmla="*/ 130 h 259"/>
                <a:gd name="T16" fmla="*/ 15 w 318"/>
                <a:gd name="T17" fmla="*/ 113 h 259"/>
                <a:gd name="T18" fmla="*/ 45 w 318"/>
                <a:gd name="T19" fmla="*/ 101 h 259"/>
                <a:gd name="T20" fmla="*/ 58 w 318"/>
                <a:gd name="T21" fmla="*/ 108 h 259"/>
                <a:gd name="T22" fmla="*/ 77 w 318"/>
                <a:gd name="T23" fmla="*/ 160 h 259"/>
                <a:gd name="T24" fmla="*/ 101 w 318"/>
                <a:gd name="T25" fmla="*/ 187 h 259"/>
                <a:gd name="T26" fmla="*/ 127 w 318"/>
                <a:gd name="T27" fmla="*/ 189 h 259"/>
                <a:gd name="T28" fmla="*/ 139 w 318"/>
                <a:gd name="T29" fmla="*/ 165 h 259"/>
                <a:gd name="T30" fmla="*/ 131 w 318"/>
                <a:gd name="T31" fmla="*/ 123 h 259"/>
                <a:gd name="T32" fmla="*/ 124 w 318"/>
                <a:gd name="T33" fmla="*/ 59 h 259"/>
                <a:gd name="T34" fmla="*/ 188 w 318"/>
                <a:gd name="T35" fmla="*/ 1 h 259"/>
                <a:gd name="T36" fmla="*/ 253 w 318"/>
                <a:gd name="T37" fmla="*/ 23 h 259"/>
                <a:gd name="T38" fmla="*/ 261 w 318"/>
                <a:gd name="T39" fmla="*/ 29 h 259"/>
                <a:gd name="T40" fmla="*/ 282 w 318"/>
                <a:gd name="T41" fmla="*/ 13 h 259"/>
                <a:gd name="T42" fmla="*/ 302 w 318"/>
                <a:gd name="T43" fmla="*/ 16 h 259"/>
                <a:gd name="T44" fmla="*/ 313 w 318"/>
                <a:gd name="T45" fmla="*/ 32 h 259"/>
                <a:gd name="T46" fmla="*/ 310 w 318"/>
                <a:gd name="T47" fmla="*/ 48 h 259"/>
                <a:gd name="T48" fmla="*/ 300 w 318"/>
                <a:gd name="T49" fmla="*/ 56 h 259"/>
                <a:gd name="T50" fmla="*/ 294 w 318"/>
                <a:gd name="T51" fmla="*/ 77 h 259"/>
                <a:gd name="T52" fmla="*/ 312 w 318"/>
                <a:gd name="T53" fmla="*/ 116 h 259"/>
                <a:gd name="T54" fmla="*/ 306 w 318"/>
                <a:gd name="T55" fmla="*/ 128 h 259"/>
                <a:gd name="T56" fmla="*/ 275 w 318"/>
                <a:gd name="T57" fmla="*/ 139 h 259"/>
                <a:gd name="T58" fmla="*/ 262 w 318"/>
                <a:gd name="T59" fmla="*/ 132 h 259"/>
                <a:gd name="T60" fmla="*/ 231 w 318"/>
                <a:gd name="T61" fmla="*/ 72 h 259"/>
                <a:gd name="T62" fmla="*/ 208 w 318"/>
                <a:gd name="T63" fmla="*/ 62 h 259"/>
                <a:gd name="T64" fmla="*/ 190 w 318"/>
                <a:gd name="T65" fmla="*/ 89 h 259"/>
                <a:gd name="T66" fmla="*/ 199 w 318"/>
                <a:gd name="T67" fmla="*/ 132 h 259"/>
                <a:gd name="T68" fmla="*/ 206 w 318"/>
                <a:gd name="T69" fmla="*/ 179 h 259"/>
                <a:gd name="T70" fmla="*/ 143 w 318"/>
                <a:gd name="T71" fmla="*/ 253 h 259"/>
                <a:gd name="T72" fmla="*/ 68 w 318"/>
                <a:gd name="T73" fmla="*/ 229 h 259"/>
                <a:gd name="T74" fmla="*/ 62 w 318"/>
                <a:gd name="T75" fmla="*/ 224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8" h="259">
                  <a:moveTo>
                    <a:pt x="62" y="224"/>
                  </a:moveTo>
                  <a:cubicBezTo>
                    <a:pt x="52" y="230"/>
                    <a:pt x="43" y="237"/>
                    <a:pt x="34" y="243"/>
                  </a:cubicBezTo>
                  <a:cubicBezTo>
                    <a:pt x="28" y="248"/>
                    <a:pt x="22" y="248"/>
                    <a:pt x="18" y="240"/>
                  </a:cubicBezTo>
                  <a:cubicBezTo>
                    <a:pt x="14" y="234"/>
                    <a:pt x="10" y="229"/>
                    <a:pt x="5" y="223"/>
                  </a:cubicBezTo>
                  <a:cubicBezTo>
                    <a:pt x="0" y="217"/>
                    <a:pt x="1" y="212"/>
                    <a:pt x="8" y="207"/>
                  </a:cubicBezTo>
                  <a:cubicBezTo>
                    <a:pt x="14" y="203"/>
                    <a:pt x="19" y="199"/>
                    <a:pt x="25" y="195"/>
                  </a:cubicBezTo>
                  <a:cubicBezTo>
                    <a:pt x="30" y="191"/>
                    <a:pt x="31" y="187"/>
                    <a:pt x="29" y="181"/>
                  </a:cubicBezTo>
                  <a:cubicBezTo>
                    <a:pt x="21" y="164"/>
                    <a:pt x="15" y="147"/>
                    <a:pt x="7" y="130"/>
                  </a:cubicBezTo>
                  <a:cubicBezTo>
                    <a:pt x="4" y="121"/>
                    <a:pt x="5" y="115"/>
                    <a:pt x="15" y="113"/>
                  </a:cubicBezTo>
                  <a:cubicBezTo>
                    <a:pt x="25" y="110"/>
                    <a:pt x="35" y="105"/>
                    <a:pt x="45" y="101"/>
                  </a:cubicBezTo>
                  <a:cubicBezTo>
                    <a:pt x="52" y="98"/>
                    <a:pt x="55" y="101"/>
                    <a:pt x="58" y="108"/>
                  </a:cubicBezTo>
                  <a:cubicBezTo>
                    <a:pt x="64" y="126"/>
                    <a:pt x="69" y="144"/>
                    <a:pt x="77" y="160"/>
                  </a:cubicBezTo>
                  <a:cubicBezTo>
                    <a:pt x="83" y="170"/>
                    <a:pt x="92" y="179"/>
                    <a:pt x="101" y="187"/>
                  </a:cubicBezTo>
                  <a:cubicBezTo>
                    <a:pt x="108" y="193"/>
                    <a:pt x="118" y="194"/>
                    <a:pt x="127" y="189"/>
                  </a:cubicBezTo>
                  <a:cubicBezTo>
                    <a:pt x="136" y="183"/>
                    <a:pt x="140" y="175"/>
                    <a:pt x="139" y="165"/>
                  </a:cubicBezTo>
                  <a:cubicBezTo>
                    <a:pt x="137" y="151"/>
                    <a:pt x="135" y="137"/>
                    <a:pt x="131" y="123"/>
                  </a:cubicBezTo>
                  <a:cubicBezTo>
                    <a:pt x="126" y="102"/>
                    <a:pt x="121" y="81"/>
                    <a:pt x="124" y="59"/>
                  </a:cubicBezTo>
                  <a:cubicBezTo>
                    <a:pt x="129" y="29"/>
                    <a:pt x="158" y="3"/>
                    <a:pt x="188" y="1"/>
                  </a:cubicBezTo>
                  <a:cubicBezTo>
                    <a:pt x="213" y="0"/>
                    <a:pt x="234" y="8"/>
                    <a:pt x="253" y="23"/>
                  </a:cubicBezTo>
                  <a:cubicBezTo>
                    <a:pt x="255" y="25"/>
                    <a:pt x="258" y="27"/>
                    <a:pt x="261" y="29"/>
                  </a:cubicBezTo>
                  <a:cubicBezTo>
                    <a:pt x="268" y="24"/>
                    <a:pt x="275" y="19"/>
                    <a:pt x="282" y="13"/>
                  </a:cubicBezTo>
                  <a:cubicBezTo>
                    <a:pt x="292" y="7"/>
                    <a:pt x="295" y="7"/>
                    <a:pt x="302" y="16"/>
                  </a:cubicBezTo>
                  <a:cubicBezTo>
                    <a:pt x="306" y="22"/>
                    <a:pt x="309" y="27"/>
                    <a:pt x="313" y="32"/>
                  </a:cubicBezTo>
                  <a:cubicBezTo>
                    <a:pt x="318" y="38"/>
                    <a:pt x="318" y="43"/>
                    <a:pt x="310" y="48"/>
                  </a:cubicBezTo>
                  <a:cubicBezTo>
                    <a:pt x="307" y="50"/>
                    <a:pt x="303" y="53"/>
                    <a:pt x="300" y="56"/>
                  </a:cubicBezTo>
                  <a:cubicBezTo>
                    <a:pt x="289" y="63"/>
                    <a:pt x="289" y="65"/>
                    <a:pt x="294" y="77"/>
                  </a:cubicBezTo>
                  <a:cubicBezTo>
                    <a:pt x="300" y="90"/>
                    <a:pt x="306" y="103"/>
                    <a:pt x="312" y="116"/>
                  </a:cubicBezTo>
                  <a:cubicBezTo>
                    <a:pt x="314" y="122"/>
                    <a:pt x="313" y="126"/>
                    <a:pt x="306" y="128"/>
                  </a:cubicBezTo>
                  <a:cubicBezTo>
                    <a:pt x="296" y="131"/>
                    <a:pt x="286" y="136"/>
                    <a:pt x="275" y="139"/>
                  </a:cubicBezTo>
                  <a:cubicBezTo>
                    <a:pt x="268" y="142"/>
                    <a:pt x="265" y="140"/>
                    <a:pt x="262" y="132"/>
                  </a:cubicBezTo>
                  <a:cubicBezTo>
                    <a:pt x="257" y="110"/>
                    <a:pt x="248" y="88"/>
                    <a:pt x="231" y="72"/>
                  </a:cubicBezTo>
                  <a:cubicBezTo>
                    <a:pt x="224" y="66"/>
                    <a:pt x="217" y="61"/>
                    <a:pt x="208" y="62"/>
                  </a:cubicBezTo>
                  <a:cubicBezTo>
                    <a:pt x="196" y="64"/>
                    <a:pt x="188" y="74"/>
                    <a:pt x="190" y="89"/>
                  </a:cubicBezTo>
                  <a:cubicBezTo>
                    <a:pt x="192" y="103"/>
                    <a:pt x="196" y="117"/>
                    <a:pt x="199" y="132"/>
                  </a:cubicBezTo>
                  <a:cubicBezTo>
                    <a:pt x="202" y="147"/>
                    <a:pt x="205" y="163"/>
                    <a:pt x="206" y="179"/>
                  </a:cubicBezTo>
                  <a:cubicBezTo>
                    <a:pt x="209" y="217"/>
                    <a:pt x="175" y="246"/>
                    <a:pt x="143" y="253"/>
                  </a:cubicBezTo>
                  <a:cubicBezTo>
                    <a:pt x="114" y="259"/>
                    <a:pt x="90" y="248"/>
                    <a:pt x="68" y="229"/>
                  </a:cubicBezTo>
                  <a:cubicBezTo>
                    <a:pt x="66" y="228"/>
                    <a:pt x="64" y="226"/>
                    <a:pt x="62" y="2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21">
              <a:extLst>
                <a:ext uri="{FF2B5EF4-FFF2-40B4-BE49-F238E27FC236}">
                  <a16:creationId xmlns:a16="http://schemas.microsoft.com/office/drawing/2014/main" id="{6A38C969-AD58-357C-F8D7-051E693CB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50" y="4475163"/>
              <a:ext cx="854075" cy="963612"/>
            </a:xfrm>
            <a:custGeom>
              <a:avLst/>
              <a:gdLst>
                <a:gd name="T0" fmla="*/ 0 w 304"/>
                <a:gd name="T1" fmla="*/ 74 h 343"/>
                <a:gd name="T2" fmla="*/ 70 w 304"/>
                <a:gd name="T3" fmla="*/ 0 h 343"/>
                <a:gd name="T4" fmla="*/ 304 w 304"/>
                <a:gd name="T5" fmla="*/ 338 h 343"/>
                <a:gd name="T6" fmla="*/ 266 w 304"/>
                <a:gd name="T7" fmla="*/ 326 h 343"/>
                <a:gd name="T8" fmla="*/ 129 w 304"/>
                <a:gd name="T9" fmla="*/ 196 h 343"/>
                <a:gd name="T10" fmla="*/ 5 w 304"/>
                <a:gd name="T11" fmla="*/ 79 h 343"/>
                <a:gd name="T12" fmla="*/ 0 w 304"/>
                <a:gd name="T13" fmla="*/ 74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343">
                  <a:moveTo>
                    <a:pt x="0" y="74"/>
                  </a:moveTo>
                  <a:cubicBezTo>
                    <a:pt x="23" y="49"/>
                    <a:pt x="46" y="25"/>
                    <a:pt x="70" y="0"/>
                  </a:cubicBezTo>
                  <a:cubicBezTo>
                    <a:pt x="149" y="113"/>
                    <a:pt x="226" y="225"/>
                    <a:pt x="304" y="338"/>
                  </a:cubicBezTo>
                  <a:cubicBezTo>
                    <a:pt x="288" y="343"/>
                    <a:pt x="277" y="336"/>
                    <a:pt x="266" y="326"/>
                  </a:cubicBezTo>
                  <a:cubicBezTo>
                    <a:pt x="221" y="282"/>
                    <a:pt x="175" y="239"/>
                    <a:pt x="129" y="196"/>
                  </a:cubicBezTo>
                  <a:cubicBezTo>
                    <a:pt x="88" y="157"/>
                    <a:pt x="47" y="118"/>
                    <a:pt x="5" y="79"/>
                  </a:cubicBezTo>
                  <a:cubicBezTo>
                    <a:pt x="4" y="77"/>
                    <a:pt x="2" y="76"/>
                    <a:pt x="0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4" name="Footer Placeholder 63">
            <a:extLst>
              <a:ext uri="{FF2B5EF4-FFF2-40B4-BE49-F238E27FC236}">
                <a16:creationId xmlns:a16="http://schemas.microsoft.com/office/drawing/2014/main" id="{A0AB4042-590A-A081-00C1-BEC4A4AF45D7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8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15263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8E785BA-DE0F-C63B-D040-73585EC661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E785BA-DE0F-C63B-D040-73585EC66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4ECF96-6578-2419-3475-A38AF3A855E4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19</a:t>
            </a:fld>
            <a:endParaRPr lang="en-US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012424-E760-06EF-FF53-BC812D811D24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1035698" y="1257300"/>
            <a:ext cx="10620496" cy="1899541"/>
          </a:xfrm>
        </p:spPr>
        <p:txBody>
          <a:bodyPr/>
          <a:lstStyle/>
          <a:p>
            <a:r>
              <a:rPr lang="en-US"/>
              <a:t>Cost Transform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27946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51AD47-640D-F662-69A1-F972A237C2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2778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51AD47-640D-F662-69A1-F972A237C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76">
            <a:extLst>
              <a:ext uri="{FF2B5EF4-FFF2-40B4-BE49-F238E27FC236}">
                <a16:creationId xmlns:a16="http://schemas.microsoft.com/office/drawing/2014/main" id="{9B619FB9-66B8-B3C5-CC92-073FEACB705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58147" y="1702448"/>
            <a:ext cx="11364771" cy="434376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493B10C-08A4-E167-6AD7-B4212FA7789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1841778"/>
            <a:ext cx="11933853" cy="40651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6285E472-F245-54DE-BDE1-1C736C50EAAD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CC7194-A4D0-457B-9D3E-53681723AFF7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BE4A06-2673-41EF-AF84-96B0EDEC0F0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 vert="horz"/>
          <a:lstStyle/>
          <a:p>
            <a:r>
              <a:rPr lang="en-US" cap="none"/>
              <a:t>Roadmap for Our Time Together</a:t>
            </a:r>
          </a:p>
        </p:txBody>
      </p:sp>
      <p:pic>
        <p:nvPicPr>
          <p:cNvPr id="70" name="Picture 69" descr="A close-up of a table with a microphone and a cup of coffee&#10;&#10;Description automatically generated">
            <a:extLst>
              <a:ext uri="{FF2B5EF4-FFF2-40B4-BE49-F238E27FC236}">
                <a16:creationId xmlns:a16="http://schemas.microsoft.com/office/drawing/2014/main" id="{9600A87C-C9B1-F227-43B8-D573484F719A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8481" y="1498862"/>
            <a:ext cx="4750940" cy="4750940"/>
          </a:xfrm>
          <a:custGeom>
            <a:avLst/>
            <a:gdLst>
              <a:gd name="connsiteX0" fmla="*/ 2498761 w 4997522"/>
              <a:gd name="connsiteY0" fmla="*/ 0 h 4997522"/>
              <a:gd name="connsiteX1" fmla="*/ 4997522 w 4997522"/>
              <a:gd name="connsiteY1" fmla="*/ 2498761 h 4997522"/>
              <a:gd name="connsiteX2" fmla="*/ 2498761 w 4997522"/>
              <a:gd name="connsiteY2" fmla="*/ 4997522 h 4997522"/>
              <a:gd name="connsiteX3" fmla="*/ 0 w 4997522"/>
              <a:gd name="connsiteY3" fmla="*/ 2498761 h 4997522"/>
              <a:gd name="connsiteX4" fmla="*/ 2498761 w 4997522"/>
              <a:gd name="connsiteY4" fmla="*/ 0 h 4997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7522" h="4997522">
                <a:moveTo>
                  <a:pt x="2498761" y="0"/>
                </a:moveTo>
                <a:cubicBezTo>
                  <a:pt x="3878789" y="0"/>
                  <a:pt x="4997522" y="1118733"/>
                  <a:pt x="4997522" y="2498761"/>
                </a:cubicBezTo>
                <a:cubicBezTo>
                  <a:pt x="4997522" y="3878789"/>
                  <a:pt x="3878789" y="4997522"/>
                  <a:pt x="2498761" y="4997522"/>
                </a:cubicBezTo>
                <a:cubicBezTo>
                  <a:pt x="1118733" y="4997522"/>
                  <a:pt x="0" y="3878789"/>
                  <a:pt x="0" y="2498761"/>
                </a:cubicBezTo>
                <a:cubicBezTo>
                  <a:pt x="0" y="1118733"/>
                  <a:pt x="1118733" y="0"/>
                  <a:pt x="2498761" y="0"/>
                </a:cubicBezTo>
                <a:close/>
              </a:path>
            </a:pathLst>
          </a:custGeom>
          <a:ln w="76200">
            <a:solidFill>
              <a:schemeClr val="bg1"/>
            </a:solidFill>
          </a:ln>
        </p:spPr>
      </p:pic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4B78DAE3-8EF7-AC44-4198-CF3A2CD50F1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072379" y="2257243"/>
            <a:ext cx="1602557" cy="2926080"/>
          </a:xfrm>
          <a:custGeom>
            <a:avLst/>
            <a:gdLst>
              <a:gd name="connsiteX0" fmla="*/ 1602557 w 1602557"/>
              <a:gd name="connsiteY0" fmla="*/ 0 h 3073138"/>
              <a:gd name="connsiteX1" fmla="*/ 0 w 1602557"/>
              <a:gd name="connsiteY1" fmla="*/ 0 h 3073138"/>
              <a:gd name="connsiteX2" fmla="*/ 0 w 1602557"/>
              <a:gd name="connsiteY2" fmla="*/ 3073138 h 3073138"/>
              <a:gd name="connsiteX3" fmla="*/ 1602557 w 1602557"/>
              <a:gd name="connsiteY3" fmla="*/ 3073138 h 3073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02557" h="3073138">
                <a:moveTo>
                  <a:pt x="1602557" y="0"/>
                </a:moveTo>
                <a:lnTo>
                  <a:pt x="0" y="0"/>
                </a:lnTo>
                <a:lnTo>
                  <a:pt x="0" y="3073138"/>
                </a:lnTo>
                <a:lnTo>
                  <a:pt x="1602557" y="3073138"/>
                </a:lnTo>
              </a:path>
            </a:pathLst>
          </a:cu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740D17B0-8384-98D3-96BD-D1964F511B89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4072379" y="3925787"/>
            <a:ext cx="1602557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AF7E39F-041F-4A45-A1CF-F8C269887D5A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232953" y="1554480"/>
            <a:ext cx="7700900" cy="4503420"/>
          </a:xfrm>
          <a:prstGeom prst="rect">
            <a:avLst/>
          </a:prstGeom>
          <a:noFill/>
        </p:spPr>
        <p:txBody>
          <a:bodyPr lIns="91440" tIns="91440" rIns="91440" bIns="91440" anchor="ctr"/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36638" inden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accent3"/>
                </a:solidFill>
              </a:rPr>
              <a:t>DISCUSSION POINT ONE</a:t>
            </a:r>
            <a:br>
              <a:rPr lang="en-US" sz="1100">
                <a:solidFill>
                  <a:schemeClr val="bg1"/>
                </a:solidFill>
              </a:rPr>
            </a:br>
            <a:r>
              <a:rPr lang="en-US" sz="2800">
                <a:solidFill>
                  <a:schemeClr val="bg1"/>
                </a:solidFill>
              </a:rPr>
              <a:t>Today’s reality: key observations about the US healthcare provider market for 2025 and the years ahead</a:t>
            </a:r>
          </a:p>
          <a:p>
            <a:pPr marL="1036638" inden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accent3"/>
                </a:solidFill>
              </a:rPr>
              <a:t>DISCUSSION POINT TWO</a:t>
            </a:r>
            <a:br>
              <a:rPr lang="en-US" sz="1100">
                <a:solidFill>
                  <a:schemeClr val="bg1"/>
                </a:solidFill>
              </a:rPr>
            </a:br>
            <a:r>
              <a:rPr lang="en-US" sz="2800">
                <a:solidFill>
                  <a:schemeClr val="bg1"/>
                </a:solidFill>
              </a:rPr>
              <a:t>Four strategic differentiators for health systems</a:t>
            </a:r>
          </a:p>
          <a:p>
            <a:pPr marL="1036638" indent="0">
              <a:spcBef>
                <a:spcPts val="120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None/>
            </a:pPr>
            <a:r>
              <a:rPr lang="en-US" sz="1100">
                <a:solidFill>
                  <a:schemeClr val="accent3"/>
                </a:solidFill>
              </a:rPr>
              <a:t>DISCUSSION POINT THREE</a:t>
            </a:r>
            <a:br>
              <a:rPr lang="en-US" sz="1100">
                <a:solidFill>
                  <a:schemeClr val="bg1"/>
                </a:solidFill>
              </a:rPr>
            </a:br>
            <a:r>
              <a:rPr lang="en-US" sz="2800">
                <a:solidFill>
                  <a:schemeClr val="bg1"/>
                </a:solidFill>
              </a:rPr>
              <a:t>The problem, or the solution?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8EC15B1-0BFA-D125-5E29-BFFE4A651436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9642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8C58C93-AC33-C2D2-4739-603309601B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320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395" imgH="394" progId="TCLayout.ActiveDocument.1">
                  <p:embed/>
                </p:oleObj>
              </mc:Choice>
              <mc:Fallback>
                <p:oleObj name="think-cell Slide" r:id="rId49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C58C93-AC33-C2D2-4739-603309601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1">
            <a:extLst>
              <a:ext uri="{FF2B5EF4-FFF2-40B4-BE49-F238E27FC236}">
                <a16:creationId xmlns:a16="http://schemas.microsoft.com/office/drawing/2014/main" id="{03676695-CF53-EE0A-8EEC-67295F5CAD3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/>
          <a:lstStyle/>
          <a:p>
            <a:r>
              <a:rPr lang="en-US"/>
              <a:t>Strategic Differentiator: Cost Transformation 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B0C3728-CF25-52CA-A702-8FEBCE64D75D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20</a:t>
            </a:fld>
            <a:endParaRPr lang="en-US" noProof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7B018E9D-0D1D-EC4A-0EBF-C5D8067F4BB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177643" y="1537169"/>
            <a:ext cx="107613" cy="4572000"/>
          </a:xfrm>
          <a:prstGeom prst="rect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8A1997E-A840-0872-271F-EF3375B7AF00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66971" y="1537169"/>
            <a:ext cx="107613" cy="4572000"/>
          </a:xfrm>
          <a:prstGeom prst="rect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5E9ADED8-6A3D-73D2-77C8-14929DC87D6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12471" y="2382504"/>
            <a:ext cx="2999526" cy="151309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cs typeface="Times New Roman" panose="02020603050405020304" pitchFamily="18" charset="0"/>
              </a:rPr>
              <a:t>National Expenditur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National health expenditures will hit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$</a:t>
            </a:r>
            <a:r>
              <a:rPr lang="en-US" sz="1400" b="1" kern="0"/>
              <a:t>7.7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 trillion (19.7% of GDP) by 2032; providers are responsible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or 72% of the cost increase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n the past decade.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D083FF7E-0125-4491-91AE-61D44235B92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7533" y="4030911"/>
            <a:ext cx="2949323" cy="104596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cs typeface="Times New Roman" panose="02020603050405020304" pitchFamily="18" charset="0"/>
              </a:rPr>
              <a:t>Cost Sur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amily coverage premiums increased by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7% in 2024 and are expected to rise another 7% in 2025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, marking a 47% rise over the past decade, far outpacing inflation.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B3BF9FF-87C3-3704-E2F7-A2EE4167790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17533" y="5280646"/>
            <a:ext cx="3300748" cy="8229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cs typeface="Times New Roman" panose="02020603050405020304" pitchFamily="18" charset="0"/>
              </a:rPr>
              <a:t>2025 Forecast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US employers covering healthcare anticipate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 </a:t>
            </a:r>
            <a:r>
              <a:rPr lang="en-US" sz="1400" b="1" kern="0">
                <a:solidFill>
                  <a:prstClr val="black"/>
                </a:solidFill>
              </a:rPr>
              <a:t>5.8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% cost increase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E999AE57-D477-5CA8-3451-5FB82D2D50C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16412" y="1436940"/>
            <a:ext cx="3840480" cy="996446"/>
          </a:xfrm>
          <a:prstGeom prst="roundRect">
            <a:avLst>
              <a:gd name="adj" fmla="val 0"/>
            </a:avLst>
          </a:prstGeom>
          <a:noFill/>
          <a:ln w="1270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rIns="822960" rtlCol="0"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rs are driving higher costs than other sectors in the industry.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69853772-A35A-ADD6-A735-6BECCF61806C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3409805" y="2527022"/>
            <a:ext cx="640080" cy="640080"/>
          </a:xfrm>
          <a:prstGeom prst="ellipse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12B9D138-3810-DCD1-6D60-C6EA948CFEE7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3540318" y="2618462"/>
            <a:ext cx="379054" cy="457201"/>
            <a:chOff x="4249738" y="1849437"/>
            <a:chExt cx="823913" cy="993776"/>
          </a:xfrm>
          <a:solidFill>
            <a:srgbClr val="0D5CAB"/>
          </a:solidFill>
        </p:grpSpPr>
        <p:sp>
          <p:nvSpPr>
            <p:cNvPr id="126" name="Freeform 7">
              <a:extLst>
                <a:ext uri="{FF2B5EF4-FFF2-40B4-BE49-F238E27FC236}">
                  <a16:creationId xmlns:a16="http://schemas.microsoft.com/office/drawing/2014/main" id="{7391385C-280A-8F6B-0C38-E1FF76A90A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13263" y="2089150"/>
              <a:ext cx="300038" cy="522288"/>
            </a:xfrm>
            <a:custGeom>
              <a:avLst/>
              <a:gdLst>
                <a:gd name="T0" fmla="*/ 112 w 195"/>
                <a:gd name="T1" fmla="*/ 71 h 340"/>
                <a:gd name="T2" fmla="*/ 112 w 195"/>
                <a:gd name="T3" fmla="*/ 136 h 340"/>
                <a:gd name="T4" fmla="*/ 119 w 195"/>
                <a:gd name="T5" fmla="*/ 144 h 340"/>
                <a:gd name="T6" fmla="*/ 141 w 195"/>
                <a:gd name="T7" fmla="*/ 152 h 340"/>
                <a:gd name="T8" fmla="*/ 192 w 195"/>
                <a:gd name="T9" fmla="*/ 213 h 340"/>
                <a:gd name="T10" fmla="*/ 151 w 195"/>
                <a:gd name="T11" fmla="*/ 289 h 340"/>
                <a:gd name="T12" fmla="*/ 111 w 195"/>
                <a:gd name="T13" fmla="*/ 303 h 340"/>
                <a:gd name="T14" fmla="*/ 111 w 195"/>
                <a:gd name="T15" fmla="*/ 327 h 340"/>
                <a:gd name="T16" fmla="*/ 101 w 195"/>
                <a:gd name="T17" fmla="*/ 338 h 340"/>
                <a:gd name="T18" fmla="*/ 91 w 195"/>
                <a:gd name="T19" fmla="*/ 327 h 340"/>
                <a:gd name="T20" fmla="*/ 91 w 195"/>
                <a:gd name="T21" fmla="*/ 326 h 340"/>
                <a:gd name="T22" fmla="*/ 67 w 195"/>
                <a:gd name="T23" fmla="*/ 295 h 340"/>
                <a:gd name="T24" fmla="*/ 10 w 195"/>
                <a:gd name="T25" fmla="*/ 238 h 340"/>
                <a:gd name="T26" fmla="*/ 16 w 195"/>
                <a:gd name="T27" fmla="*/ 210 h 340"/>
                <a:gd name="T28" fmla="*/ 52 w 195"/>
                <a:gd name="T29" fmla="*/ 219 h 340"/>
                <a:gd name="T30" fmla="*/ 61 w 195"/>
                <a:gd name="T31" fmla="*/ 242 h 340"/>
                <a:gd name="T32" fmla="*/ 90 w 195"/>
                <a:gd name="T33" fmla="*/ 264 h 340"/>
                <a:gd name="T34" fmla="*/ 90 w 195"/>
                <a:gd name="T35" fmla="*/ 213 h 340"/>
                <a:gd name="T36" fmla="*/ 89 w 195"/>
                <a:gd name="T37" fmla="*/ 184 h 340"/>
                <a:gd name="T38" fmla="*/ 63 w 195"/>
                <a:gd name="T39" fmla="*/ 172 h 340"/>
                <a:gd name="T40" fmla="*/ 27 w 195"/>
                <a:gd name="T41" fmla="*/ 66 h 340"/>
                <a:gd name="T42" fmla="*/ 80 w 195"/>
                <a:gd name="T43" fmla="*/ 35 h 340"/>
                <a:gd name="T44" fmla="*/ 91 w 195"/>
                <a:gd name="T45" fmla="*/ 22 h 340"/>
                <a:gd name="T46" fmla="*/ 91 w 195"/>
                <a:gd name="T47" fmla="*/ 10 h 340"/>
                <a:gd name="T48" fmla="*/ 102 w 195"/>
                <a:gd name="T49" fmla="*/ 1 h 340"/>
                <a:gd name="T50" fmla="*/ 111 w 195"/>
                <a:gd name="T51" fmla="*/ 10 h 340"/>
                <a:gd name="T52" fmla="*/ 138 w 195"/>
                <a:gd name="T53" fmla="*/ 39 h 340"/>
                <a:gd name="T54" fmla="*/ 184 w 195"/>
                <a:gd name="T55" fmla="*/ 90 h 340"/>
                <a:gd name="T56" fmla="*/ 168 w 195"/>
                <a:gd name="T57" fmla="*/ 116 h 340"/>
                <a:gd name="T58" fmla="*/ 142 w 195"/>
                <a:gd name="T59" fmla="*/ 101 h 340"/>
                <a:gd name="T60" fmla="*/ 137 w 195"/>
                <a:gd name="T61" fmla="*/ 88 h 340"/>
                <a:gd name="T62" fmla="*/ 116 w 195"/>
                <a:gd name="T63" fmla="*/ 67 h 340"/>
                <a:gd name="T64" fmla="*/ 112 w 195"/>
                <a:gd name="T65" fmla="*/ 71 h 340"/>
                <a:gd name="T66" fmla="*/ 113 w 195"/>
                <a:gd name="T67" fmla="*/ 266 h 340"/>
                <a:gd name="T68" fmla="*/ 150 w 195"/>
                <a:gd name="T69" fmla="*/ 225 h 340"/>
                <a:gd name="T70" fmla="*/ 113 w 195"/>
                <a:gd name="T71" fmla="*/ 190 h 340"/>
                <a:gd name="T72" fmla="*/ 113 w 195"/>
                <a:gd name="T73" fmla="*/ 266 h 340"/>
                <a:gd name="T74" fmla="*/ 90 w 195"/>
                <a:gd name="T75" fmla="*/ 134 h 340"/>
                <a:gd name="T76" fmla="*/ 90 w 195"/>
                <a:gd name="T77" fmla="*/ 69 h 340"/>
                <a:gd name="T78" fmla="*/ 58 w 195"/>
                <a:gd name="T79" fmla="*/ 101 h 340"/>
                <a:gd name="T80" fmla="*/ 90 w 195"/>
                <a:gd name="T81" fmla="*/ 134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5" h="340">
                  <a:moveTo>
                    <a:pt x="112" y="71"/>
                  </a:moveTo>
                  <a:cubicBezTo>
                    <a:pt x="112" y="92"/>
                    <a:pt x="112" y="114"/>
                    <a:pt x="112" y="136"/>
                  </a:cubicBezTo>
                  <a:cubicBezTo>
                    <a:pt x="112" y="139"/>
                    <a:pt x="116" y="143"/>
                    <a:pt x="119" y="144"/>
                  </a:cubicBezTo>
                  <a:cubicBezTo>
                    <a:pt x="126" y="147"/>
                    <a:pt x="134" y="149"/>
                    <a:pt x="141" y="152"/>
                  </a:cubicBezTo>
                  <a:cubicBezTo>
                    <a:pt x="171" y="162"/>
                    <a:pt x="190" y="181"/>
                    <a:pt x="192" y="213"/>
                  </a:cubicBezTo>
                  <a:cubicBezTo>
                    <a:pt x="195" y="247"/>
                    <a:pt x="182" y="273"/>
                    <a:pt x="151" y="289"/>
                  </a:cubicBezTo>
                  <a:cubicBezTo>
                    <a:pt x="140" y="295"/>
                    <a:pt x="126" y="298"/>
                    <a:pt x="111" y="303"/>
                  </a:cubicBezTo>
                  <a:cubicBezTo>
                    <a:pt x="111" y="310"/>
                    <a:pt x="112" y="319"/>
                    <a:pt x="111" y="327"/>
                  </a:cubicBezTo>
                  <a:cubicBezTo>
                    <a:pt x="111" y="334"/>
                    <a:pt x="108" y="340"/>
                    <a:pt x="101" y="338"/>
                  </a:cubicBezTo>
                  <a:cubicBezTo>
                    <a:pt x="97" y="337"/>
                    <a:pt x="94" y="331"/>
                    <a:pt x="91" y="327"/>
                  </a:cubicBezTo>
                  <a:cubicBezTo>
                    <a:pt x="90" y="327"/>
                    <a:pt x="90" y="326"/>
                    <a:pt x="91" y="326"/>
                  </a:cubicBezTo>
                  <a:cubicBezTo>
                    <a:pt x="95" y="306"/>
                    <a:pt x="85" y="300"/>
                    <a:pt x="67" y="295"/>
                  </a:cubicBezTo>
                  <a:cubicBezTo>
                    <a:pt x="37" y="288"/>
                    <a:pt x="17" y="268"/>
                    <a:pt x="10" y="238"/>
                  </a:cubicBezTo>
                  <a:cubicBezTo>
                    <a:pt x="7" y="228"/>
                    <a:pt x="7" y="218"/>
                    <a:pt x="16" y="210"/>
                  </a:cubicBezTo>
                  <a:cubicBezTo>
                    <a:pt x="28" y="200"/>
                    <a:pt x="46" y="204"/>
                    <a:pt x="52" y="219"/>
                  </a:cubicBezTo>
                  <a:cubicBezTo>
                    <a:pt x="55" y="226"/>
                    <a:pt x="57" y="235"/>
                    <a:pt x="61" y="242"/>
                  </a:cubicBezTo>
                  <a:cubicBezTo>
                    <a:pt x="67" y="254"/>
                    <a:pt x="76" y="261"/>
                    <a:pt x="90" y="264"/>
                  </a:cubicBezTo>
                  <a:cubicBezTo>
                    <a:pt x="90" y="246"/>
                    <a:pt x="90" y="230"/>
                    <a:pt x="90" y="213"/>
                  </a:cubicBezTo>
                  <a:cubicBezTo>
                    <a:pt x="90" y="203"/>
                    <a:pt x="93" y="191"/>
                    <a:pt x="89" y="184"/>
                  </a:cubicBezTo>
                  <a:cubicBezTo>
                    <a:pt x="85" y="177"/>
                    <a:pt x="72" y="176"/>
                    <a:pt x="63" y="172"/>
                  </a:cubicBezTo>
                  <a:cubicBezTo>
                    <a:pt x="17" y="153"/>
                    <a:pt x="0" y="105"/>
                    <a:pt x="27" y="66"/>
                  </a:cubicBezTo>
                  <a:cubicBezTo>
                    <a:pt x="39" y="47"/>
                    <a:pt x="58" y="38"/>
                    <a:pt x="80" y="35"/>
                  </a:cubicBezTo>
                  <a:cubicBezTo>
                    <a:pt x="89" y="34"/>
                    <a:pt x="91" y="30"/>
                    <a:pt x="91" y="22"/>
                  </a:cubicBezTo>
                  <a:cubicBezTo>
                    <a:pt x="90" y="18"/>
                    <a:pt x="89" y="13"/>
                    <a:pt x="91" y="10"/>
                  </a:cubicBezTo>
                  <a:cubicBezTo>
                    <a:pt x="93" y="6"/>
                    <a:pt x="98" y="1"/>
                    <a:pt x="102" y="1"/>
                  </a:cubicBezTo>
                  <a:cubicBezTo>
                    <a:pt x="104" y="0"/>
                    <a:pt x="111" y="7"/>
                    <a:pt x="111" y="10"/>
                  </a:cubicBezTo>
                  <a:cubicBezTo>
                    <a:pt x="106" y="33"/>
                    <a:pt x="122" y="35"/>
                    <a:pt x="138" y="39"/>
                  </a:cubicBezTo>
                  <a:cubicBezTo>
                    <a:pt x="163" y="47"/>
                    <a:pt x="179" y="65"/>
                    <a:pt x="184" y="90"/>
                  </a:cubicBezTo>
                  <a:cubicBezTo>
                    <a:pt x="186" y="103"/>
                    <a:pt x="180" y="113"/>
                    <a:pt x="168" y="116"/>
                  </a:cubicBezTo>
                  <a:cubicBezTo>
                    <a:pt x="157" y="118"/>
                    <a:pt x="147" y="113"/>
                    <a:pt x="142" y="101"/>
                  </a:cubicBezTo>
                  <a:cubicBezTo>
                    <a:pt x="140" y="97"/>
                    <a:pt x="140" y="91"/>
                    <a:pt x="137" y="88"/>
                  </a:cubicBezTo>
                  <a:cubicBezTo>
                    <a:pt x="130" y="80"/>
                    <a:pt x="123" y="74"/>
                    <a:pt x="116" y="67"/>
                  </a:cubicBezTo>
                  <a:cubicBezTo>
                    <a:pt x="115" y="68"/>
                    <a:pt x="113" y="69"/>
                    <a:pt x="112" y="71"/>
                  </a:cubicBezTo>
                  <a:close/>
                  <a:moveTo>
                    <a:pt x="113" y="266"/>
                  </a:moveTo>
                  <a:cubicBezTo>
                    <a:pt x="137" y="261"/>
                    <a:pt x="151" y="245"/>
                    <a:pt x="150" y="225"/>
                  </a:cubicBezTo>
                  <a:cubicBezTo>
                    <a:pt x="149" y="206"/>
                    <a:pt x="135" y="193"/>
                    <a:pt x="113" y="190"/>
                  </a:cubicBezTo>
                  <a:cubicBezTo>
                    <a:pt x="113" y="215"/>
                    <a:pt x="113" y="240"/>
                    <a:pt x="113" y="266"/>
                  </a:cubicBezTo>
                  <a:close/>
                  <a:moveTo>
                    <a:pt x="90" y="134"/>
                  </a:moveTo>
                  <a:cubicBezTo>
                    <a:pt x="90" y="112"/>
                    <a:pt x="90" y="91"/>
                    <a:pt x="90" y="69"/>
                  </a:cubicBezTo>
                  <a:cubicBezTo>
                    <a:pt x="69" y="72"/>
                    <a:pt x="59" y="83"/>
                    <a:pt x="58" y="101"/>
                  </a:cubicBezTo>
                  <a:cubicBezTo>
                    <a:pt x="57" y="118"/>
                    <a:pt x="68" y="129"/>
                    <a:pt x="90" y="1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8">
              <a:extLst>
                <a:ext uri="{FF2B5EF4-FFF2-40B4-BE49-F238E27FC236}">
                  <a16:creationId xmlns:a16="http://schemas.microsoft.com/office/drawing/2014/main" id="{E965BED2-6A47-12F9-FD55-325212C3A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1238" y="1981200"/>
              <a:ext cx="252413" cy="733425"/>
            </a:xfrm>
            <a:custGeom>
              <a:avLst/>
              <a:gdLst>
                <a:gd name="T0" fmla="*/ 0 w 165"/>
                <a:gd name="T1" fmla="*/ 439 h 477"/>
                <a:gd name="T2" fmla="*/ 122 w 165"/>
                <a:gd name="T3" fmla="*/ 237 h 477"/>
                <a:gd name="T4" fmla="*/ 0 w 165"/>
                <a:gd name="T5" fmla="*/ 37 h 477"/>
                <a:gd name="T6" fmla="*/ 3 w 165"/>
                <a:gd name="T7" fmla="*/ 0 h 477"/>
                <a:gd name="T8" fmla="*/ 159 w 165"/>
                <a:gd name="T9" fmla="*/ 225 h 477"/>
                <a:gd name="T10" fmla="*/ 2 w 165"/>
                <a:gd name="T11" fmla="*/ 477 h 477"/>
                <a:gd name="T12" fmla="*/ 0 w 165"/>
                <a:gd name="T13" fmla="*/ 439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477">
                  <a:moveTo>
                    <a:pt x="0" y="439"/>
                  </a:moveTo>
                  <a:cubicBezTo>
                    <a:pt x="77" y="395"/>
                    <a:pt x="122" y="329"/>
                    <a:pt x="122" y="237"/>
                  </a:cubicBezTo>
                  <a:cubicBezTo>
                    <a:pt x="121" y="146"/>
                    <a:pt x="76" y="80"/>
                    <a:pt x="0" y="37"/>
                  </a:cubicBezTo>
                  <a:cubicBezTo>
                    <a:pt x="1" y="23"/>
                    <a:pt x="2" y="11"/>
                    <a:pt x="3" y="0"/>
                  </a:cubicBezTo>
                  <a:cubicBezTo>
                    <a:pt x="70" y="23"/>
                    <a:pt x="153" y="108"/>
                    <a:pt x="159" y="225"/>
                  </a:cubicBezTo>
                  <a:cubicBezTo>
                    <a:pt x="165" y="352"/>
                    <a:pt x="81" y="448"/>
                    <a:pt x="2" y="477"/>
                  </a:cubicBezTo>
                  <a:cubicBezTo>
                    <a:pt x="2" y="465"/>
                    <a:pt x="1" y="453"/>
                    <a:pt x="0" y="4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9">
              <a:extLst>
                <a:ext uri="{FF2B5EF4-FFF2-40B4-BE49-F238E27FC236}">
                  <a16:creationId xmlns:a16="http://schemas.microsoft.com/office/drawing/2014/main" id="{8B936901-A9C6-7251-8D95-B0FAC588A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9738" y="1979613"/>
              <a:ext cx="258763" cy="735013"/>
            </a:xfrm>
            <a:custGeom>
              <a:avLst/>
              <a:gdLst>
                <a:gd name="T0" fmla="*/ 166 w 169"/>
                <a:gd name="T1" fmla="*/ 0 h 478"/>
                <a:gd name="T2" fmla="*/ 169 w 169"/>
                <a:gd name="T3" fmla="*/ 38 h 478"/>
                <a:gd name="T4" fmla="*/ 47 w 169"/>
                <a:gd name="T5" fmla="*/ 239 h 478"/>
                <a:gd name="T6" fmla="*/ 169 w 169"/>
                <a:gd name="T7" fmla="*/ 440 h 478"/>
                <a:gd name="T8" fmla="*/ 166 w 169"/>
                <a:gd name="T9" fmla="*/ 478 h 478"/>
                <a:gd name="T10" fmla="*/ 10 w 169"/>
                <a:gd name="T11" fmla="*/ 261 h 478"/>
                <a:gd name="T12" fmla="*/ 166 w 169"/>
                <a:gd name="T13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9" h="478">
                  <a:moveTo>
                    <a:pt x="166" y="0"/>
                  </a:moveTo>
                  <a:cubicBezTo>
                    <a:pt x="167" y="12"/>
                    <a:pt x="168" y="24"/>
                    <a:pt x="169" y="38"/>
                  </a:cubicBezTo>
                  <a:cubicBezTo>
                    <a:pt x="93" y="81"/>
                    <a:pt x="47" y="147"/>
                    <a:pt x="47" y="239"/>
                  </a:cubicBezTo>
                  <a:cubicBezTo>
                    <a:pt x="47" y="330"/>
                    <a:pt x="92" y="396"/>
                    <a:pt x="169" y="440"/>
                  </a:cubicBezTo>
                  <a:cubicBezTo>
                    <a:pt x="168" y="453"/>
                    <a:pt x="167" y="466"/>
                    <a:pt x="166" y="478"/>
                  </a:cubicBezTo>
                  <a:cubicBezTo>
                    <a:pt x="103" y="457"/>
                    <a:pt x="19" y="374"/>
                    <a:pt x="10" y="261"/>
                  </a:cubicBezTo>
                  <a:cubicBezTo>
                    <a:pt x="0" y="123"/>
                    <a:pt x="92" y="28"/>
                    <a:pt x="16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9" name="Freeform 10">
              <a:extLst>
                <a:ext uri="{FF2B5EF4-FFF2-40B4-BE49-F238E27FC236}">
                  <a16:creationId xmlns:a16="http://schemas.microsoft.com/office/drawing/2014/main" id="{605974D9-EACF-7015-0014-5BD4B4C3D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251" y="1849437"/>
              <a:ext cx="249238" cy="174625"/>
            </a:xfrm>
            <a:custGeom>
              <a:avLst/>
              <a:gdLst>
                <a:gd name="T0" fmla="*/ 82 w 163"/>
                <a:gd name="T1" fmla="*/ 113 h 114"/>
                <a:gd name="T2" fmla="*/ 18 w 163"/>
                <a:gd name="T3" fmla="*/ 113 h 114"/>
                <a:gd name="T4" fmla="*/ 2 w 163"/>
                <a:gd name="T5" fmla="*/ 105 h 114"/>
                <a:gd name="T6" fmla="*/ 6 w 163"/>
                <a:gd name="T7" fmla="*/ 89 h 114"/>
                <a:gd name="T8" fmla="*/ 67 w 163"/>
                <a:gd name="T9" fmla="*/ 13 h 114"/>
                <a:gd name="T10" fmla="*/ 95 w 163"/>
                <a:gd name="T11" fmla="*/ 13 h 114"/>
                <a:gd name="T12" fmla="*/ 156 w 163"/>
                <a:gd name="T13" fmla="*/ 88 h 114"/>
                <a:gd name="T14" fmla="*/ 161 w 163"/>
                <a:gd name="T15" fmla="*/ 105 h 114"/>
                <a:gd name="T16" fmla="*/ 143 w 163"/>
                <a:gd name="T17" fmla="*/ 113 h 114"/>
                <a:gd name="T18" fmla="*/ 82 w 163"/>
                <a:gd name="T19" fmla="*/ 113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3" h="114">
                  <a:moveTo>
                    <a:pt x="82" y="113"/>
                  </a:moveTo>
                  <a:cubicBezTo>
                    <a:pt x="60" y="113"/>
                    <a:pt x="39" y="114"/>
                    <a:pt x="18" y="113"/>
                  </a:cubicBezTo>
                  <a:cubicBezTo>
                    <a:pt x="12" y="113"/>
                    <a:pt x="4" y="110"/>
                    <a:pt x="2" y="105"/>
                  </a:cubicBezTo>
                  <a:cubicBezTo>
                    <a:pt x="0" y="101"/>
                    <a:pt x="3" y="93"/>
                    <a:pt x="6" y="89"/>
                  </a:cubicBezTo>
                  <a:cubicBezTo>
                    <a:pt x="26" y="63"/>
                    <a:pt x="47" y="38"/>
                    <a:pt x="67" y="13"/>
                  </a:cubicBezTo>
                  <a:cubicBezTo>
                    <a:pt x="78" y="0"/>
                    <a:pt x="85" y="0"/>
                    <a:pt x="95" y="13"/>
                  </a:cubicBezTo>
                  <a:cubicBezTo>
                    <a:pt x="116" y="38"/>
                    <a:pt x="136" y="62"/>
                    <a:pt x="156" y="88"/>
                  </a:cubicBezTo>
                  <a:cubicBezTo>
                    <a:pt x="160" y="92"/>
                    <a:pt x="163" y="101"/>
                    <a:pt x="161" y="105"/>
                  </a:cubicBezTo>
                  <a:cubicBezTo>
                    <a:pt x="158" y="109"/>
                    <a:pt x="149" y="112"/>
                    <a:pt x="143" y="113"/>
                  </a:cubicBezTo>
                  <a:cubicBezTo>
                    <a:pt x="123" y="114"/>
                    <a:pt x="102" y="113"/>
                    <a:pt x="82" y="1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0" name="Freeform 11">
              <a:extLst>
                <a:ext uri="{FF2B5EF4-FFF2-40B4-BE49-F238E27FC236}">
                  <a16:creationId xmlns:a16="http://schemas.microsoft.com/office/drawing/2014/main" id="{A3B66206-5533-D768-8897-3555208DA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251" y="2668588"/>
              <a:ext cx="247650" cy="174625"/>
            </a:xfrm>
            <a:custGeom>
              <a:avLst/>
              <a:gdLst>
                <a:gd name="T0" fmla="*/ 81 w 162"/>
                <a:gd name="T1" fmla="*/ 1 h 114"/>
                <a:gd name="T2" fmla="*/ 145 w 162"/>
                <a:gd name="T3" fmla="*/ 1 h 114"/>
                <a:gd name="T4" fmla="*/ 160 w 162"/>
                <a:gd name="T5" fmla="*/ 8 h 114"/>
                <a:gd name="T6" fmla="*/ 156 w 162"/>
                <a:gd name="T7" fmla="*/ 26 h 114"/>
                <a:gd name="T8" fmla="*/ 94 w 162"/>
                <a:gd name="T9" fmla="*/ 103 h 114"/>
                <a:gd name="T10" fmla="*/ 69 w 162"/>
                <a:gd name="T11" fmla="*/ 103 h 114"/>
                <a:gd name="T12" fmla="*/ 5 w 162"/>
                <a:gd name="T13" fmla="*/ 24 h 114"/>
                <a:gd name="T14" fmla="*/ 2 w 162"/>
                <a:gd name="T15" fmla="*/ 9 h 114"/>
                <a:gd name="T16" fmla="*/ 17 w 162"/>
                <a:gd name="T17" fmla="*/ 1 h 114"/>
                <a:gd name="T18" fmla="*/ 81 w 162"/>
                <a:gd name="T19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14">
                  <a:moveTo>
                    <a:pt x="81" y="1"/>
                  </a:moveTo>
                  <a:cubicBezTo>
                    <a:pt x="102" y="1"/>
                    <a:pt x="124" y="0"/>
                    <a:pt x="145" y="1"/>
                  </a:cubicBezTo>
                  <a:cubicBezTo>
                    <a:pt x="150" y="1"/>
                    <a:pt x="159" y="4"/>
                    <a:pt x="160" y="8"/>
                  </a:cubicBezTo>
                  <a:cubicBezTo>
                    <a:pt x="162" y="13"/>
                    <a:pt x="160" y="21"/>
                    <a:pt x="156" y="26"/>
                  </a:cubicBezTo>
                  <a:cubicBezTo>
                    <a:pt x="136" y="52"/>
                    <a:pt x="115" y="77"/>
                    <a:pt x="94" y="103"/>
                  </a:cubicBezTo>
                  <a:cubicBezTo>
                    <a:pt x="85" y="113"/>
                    <a:pt x="78" y="114"/>
                    <a:pt x="69" y="103"/>
                  </a:cubicBezTo>
                  <a:cubicBezTo>
                    <a:pt x="48" y="77"/>
                    <a:pt x="26" y="51"/>
                    <a:pt x="5" y="24"/>
                  </a:cubicBezTo>
                  <a:cubicBezTo>
                    <a:pt x="2" y="21"/>
                    <a:pt x="0" y="13"/>
                    <a:pt x="2" y="9"/>
                  </a:cubicBezTo>
                  <a:cubicBezTo>
                    <a:pt x="4" y="5"/>
                    <a:pt x="12" y="2"/>
                    <a:pt x="17" y="1"/>
                  </a:cubicBezTo>
                  <a:cubicBezTo>
                    <a:pt x="38" y="0"/>
                    <a:pt x="60" y="1"/>
                    <a:pt x="8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8" name="Oval 137">
            <a:extLst>
              <a:ext uri="{FF2B5EF4-FFF2-40B4-BE49-F238E27FC236}">
                <a16:creationId xmlns:a16="http://schemas.microsoft.com/office/drawing/2014/main" id="{064083BB-63DF-2CD8-8BF6-C18FA61D58A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3409805" y="3862948"/>
            <a:ext cx="640080" cy="640080"/>
          </a:xfrm>
          <a:prstGeom prst="ellipse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B8146B68-A08A-7A05-7DEB-E354D2DC367F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3527743" y="3993601"/>
            <a:ext cx="404204" cy="378774"/>
            <a:chOff x="4161345" y="1729536"/>
            <a:chExt cx="1422323" cy="1332841"/>
          </a:xfrm>
          <a:solidFill>
            <a:srgbClr val="0D5CAB"/>
          </a:solidFill>
        </p:grpSpPr>
        <p:sp>
          <p:nvSpPr>
            <p:cNvPr id="140" name="Freeform 16">
              <a:extLst>
                <a:ext uri="{FF2B5EF4-FFF2-40B4-BE49-F238E27FC236}">
                  <a16:creationId xmlns:a16="http://schemas.microsoft.com/office/drawing/2014/main" id="{F3B0C774-447D-4E7F-30D2-10361D900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6536" y="1729536"/>
              <a:ext cx="517725" cy="1332841"/>
            </a:xfrm>
            <a:custGeom>
              <a:avLst/>
              <a:gdLst>
                <a:gd name="T0" fmla="*/ 149 w 364"/>
                <a:gd name="T1" fmla="*/ 280 h 937"/>
                <a:gd name="T2" fmla="*/ 149 w 364"/>
                <a:gd name="T3" fmla="*/ 202 h 937"/>
                <a:gd name="T4" fmla="*/ 139 w 364"/>
                <a:gd name="T5" fmla="*/ 192 h 937"/>
                <a:gd name="T6" fmla="*/ 91 w 364"/>
                <a:gd name="T7" fmla="*/ 192 h 937"/>
                <a:gd name="T8" fmla="*/ 72 w 364"/>
                <a:gd name="T9" fmla="*/ 186 h 937"/>
                <a:gd name="T10" fmla="*/ 77 w 364"/>
                <a:gd name="T11" fmla="*/ 167 h 937"/>
                <a:gd name="T12" fmla="*/ 133 w 364"/>
                <a:gd name="T13" fmla="*/ 80 h 937"/>
                <a:gd name="T14" fmla="*/ 168 w 364"/>
                <a:gd name="T15" fmla="*/ 26 h 937"/>
                <a:gd name="T16" fmla="*/ 173 w 364"/>
                <a:gd name="T17" fmla="*/ 18 h 937"/>
                <a:gd name="T18" fmla="*/ 209 w 364"/>
                <a:gd name="T19" fmla="*/ 18 h 937"/>
                <a:gd name="T20" fmla="*/ 231 w 364"/>
                <a:gd name="T21" fmla="*/ 51 h 937"/>
                <a:gd name="T22" fmla="*/ 304 w 364"/>
                <a:gd name="T23" fmla="*/ 166 h 937"/>
                <a:gd name="T24" fmla="*/ 311 w 364"/>
                <a:gd name="T25" fmla="*/ 187 h 937"/>
                <a:gd name="T26" fmla="*/ 290 w 364"/>
                <a:gd name="T27" fmla="*/ 192 h 937"/>
                <a:gd name="T28" fmla="*/ 243 w 364"/>
                <a:gd name="T29" fmla="*/ 192 h 937"/>
                <a:gd name="T30" fmla="*/ 233 w 364"/>
                <a:gd name="T31" fmla="*/ 202 h 937"/>
                <a:gd name="T32" fmla="*/ 233 w 364"/>
                <a:gd name="T33" fmla="*/ 352 h 937"/>
                <a:gd name="T34" fmla="*/ 246 w 364"/>
                <a:gd name="T35" fmla="*/ 367 h 937"/>
                <a:gd name="T36" fmla="*/ 313 w 364"/>
                <a:gd name="T37" fmla="*/ 385 h 937"/>
                <a:gd name="T38" fmla="*/ 325 w 364"/>
                <a:gd name="T39" fmla="*/ 389 h 937"/>
                <a:gd name="T40" fmla="*/ 334 w 364"/>
                <a:gd name="T41" fmla="*/ 410 h 937"/>
                <a:gd name="T42" fmla="*/ 317 w 364"/>
                <a:gd name="T43" fmla="*/ 468 h 937"/>
                <a:gd name="T44" fmla="*/ 294 w 364"/>
                <a:gd name="T45" fmla="*/ 475 h 937"/>
                <a:gd name="T46" fmla="*/ 204 w 364"/>
                <a:gd name="T47" fmla="*/ 455 h 937"/>
                <a:gd name="T48" fmla="*/ 173 w 364"/>
                <a:gd name="T49" fmla="*/ 459 h 937"/>
                <a:gd name="T50" fmla="*/ 143 w 364"/>
                <a:gd name="T51" fmla="*/ 489 h 937"/>
                <a:gd name="T52" fmla="*/ 160 w 364"/>
                <a:gd name="T53" fmla="*/ 529 h 937"/>
                <a:gd name="T54" fmla="*/ 229 w 364"/>
                <a:gd name="T55" fmla="*/ 564 h 937"/>
                <a:gd name="T56" fmla="*/ 297 w 364"/>
                <a:gd name="T57" fmla="*/ 600 h 937"/>
                <a:gd name="T58" fmla="*/ 354 w 364"/>
                <a:gd name="T59" fmla="*/ 737 h 937"/>
                <a:gd name="T60" fmla="*/ 257 w 364"/>
                <a:gd name="T61" fmla="*/ 848 h 937"/>
                <a:gd name="T62" fmla="*/ 228 w 364"/>
                <a:gd name="T63" fmla="*/ 890 h 937"/>
                <a:gd name="T64" fmla="*/ 227 w 364"/>
                <a:gd name="T65" fmla="*/ 920 h 937"/>
                <a:gd name="T66" fmla="*/ 211 w 364"/>
                <a:gd name="T67" fmla="*/ 937 h 937"/>
                <a:gd name="T68" fmla="*/ 165 w 364"/>
                <a:gd name="T69" fmla="*/ 937 h 937"/>
                <a:gd name="T70" fmla="*/ 147 w 364"/>
                <a:gd name="T71" fmla="*/ 918 h 937"/>
                <a:gd name="T72" fmla="*/ 147 w 364"/>
                <a:gd name="T73" fmla="*/ 881 h 937"/>
                <a:gd name="T74" fmla="*/ 128 w 364"/>
                <a:gd name="T75" fmla="*/ 860 h 937"/>
                <a:gd name="T76" fmla="*/ 55 w 364"/>
                <a:gd name="T77" fmla="*/ 841 h 937"/>
                <a:gd name="T78" fmla="*/ 31 w 364"/>
                <a:gd name="T79" fmla="*/ 793 h 937"/>
                <a:gd name="T80" fmla="*/ 42 w 364"/>
                <a:gd name="T81" fmla="*/ 755 h 937"/>
                <a:gd name="T82" fmla="*/ 65 w 364"/>
                <a:gd name="T83" fmla="*/ 745 h 937"/>
                <a:gd name="T84" fmla="*/ 160 w 364"/>
                <a:gd name="T85" fmla="*/ 773 h 937"/>
                <a:gd name="T86" fmla="*/ 214 w 364"/>
                <a:gd name="T87" fmla="*/ 765 h 937"/>
                <a:gd name="T88" fmla="*/ 224 w 364"/>
                <a:gd name="T89" fmla="*/ 684 h 937"/>
                <a:gd name="T90" fmla="*/ 159 w 364"/>
                <a:gd name="T91" fmla="*/ 651 h 937"/>
                <a:gd name="T92" fmla="*/ 83 w 364"/>
                <a:gd name="T93" fmla="*/ 612 h 937"/>
                <a:gd name="T94" fmla="*/ 101 w 364"/>
                <a:gd name="T95" fmla="*/ 390 h 937"/>
                <a:gd name="T96" fmla="*/ 138 w 364"/>
                <a:gd name="T97" fmla="*/ 375 h 937"/>
                <a:gd name="T98" fmla="*/ 149 w 364"/>
                <a:gd name="T99" fmla="*/ 358 h 937"/>
                <a:gd name="T100" fmla="*/ 149 w 364"/>
                <a:gd name="T101" fmla="*/ 280 h 937"/>
                <a:gd name="T102" fmla="*/ 149 w 364"/>
                <a:gd name="T103" fmla="*/ 280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4" h="937">
                  <a:moveTo>
                    <a:pt x="149" y="280"/>
                  </a:moveTo>
                  <a:cubicBezTo>
                    <a:pt x="149" y="254"/>
                    <a:pt x="149" y="228"/>
                    <a:pt x="149" y="202"/>
                  </a:cubicBezTo>
                  <a:cubicBezTo>
                    <a:pt x="149" y="194"/>
                    <a:pt x="147" y="192"/>
                    <a:pt x="139" y="192"/>
                  </a:cubicBezTo>
                  <a:cubicBezTo>
                    <a:pt x="123" y="192"/>
                    <a:pt x="107" y="193"/>
                    <a:pt x="91" y="192"/>
                  </a:cubicBezTo>
                  <a:cubicBezTo>
                    <a:pt x="84" y="192"/>
                    <a:pt x="74" y="190"/>
                    <a:pt x="72" y="186"/>
                  </a:cubicBezTo>
                  <a:cubicBezTo>
                    <a:pt x="70" y="181"/>
                    <a:pt x="74" y="173"/>
                    <a:pt x="77" y="167"/>
                  </a:cubicBezTo>
                  <a:cubicBezTo>
                    <a:pt x="95" y="138"/>
                    <a:pt x="114" y="109"/>
                    <a:pt x="133" y="80"/>
                  </a:cubicBezTo>
                  <a:cubicBezTo>
                    <a:pt x="144" y="62"/>
                    <a:pt x="156" y="44"/>
                    <a:pt x="168" y="26"/>
                  </a:cubicBezTo>
                  <a:cubicBezTo>
                    <a:pt x="170" y="23"/>
                    <a:pt x="171" y="20"/>
                    <a:pt x="173" y="18"/>
                  </a:cubicBezTo>
                  <a:cubicBezTo>
                    <a:pt x="185" y="0"/>
                    <a:pt x="197" y="0"/>
                    <a:pt x="209" y="18"/>
                  </a:cubicBezTo>
                  <a:cubicBezTo>
                    <a:pt x="217" y="29"/>
                    <a:pt x="224" y="40"/>
                    <a:pt x="231" y="51"/>
                  </a:cubicBezTo>
                  <a:cubicBezTo>
                    <a:pt x="255" y="89"/>
                    <a:pt x="280" y="127"/>
                    <a:pt x="304" y="166"/>
                  </a:cubicBezTo>
                  <a:cubicBezTo>
                    <a:pt x="308" y="172"/>
                    <a:pt x="309" y="180"/>
                    <a:pt x="311" y="187"/>
                  </a:cubicBezTo>
                  <a:cubicBezTo>
                    <a:pt x="304" y="188"/>
                    <a:pt x="297" y="191"/>
                    <a:pt x="290" y="192"/>
                  </a:cubicBezTo>
                  <a:cubicBezTo>
                    <a:pt x="275" y="193"/>
                    <a:pt x="259" y="192"/>
                    <a:pt x="243" y="192"/>
                  </a:cubicBezTo>
                  <a:cubicBezTo>
                    <a:pt x="236" y="192"/>
                    <a:pt x="233" y="194"/>
                    <a:pt x="233" y="202"/>
                  </a:cubicBezTo>
                  <a:cubicBezTo>
                    <a:pt x="233" y="252"/>
                    <a:pt x="233" y="302"/>
                    <a:pt x="233" y="352"/>
                  </a:cubicBezTo>
                  <a:cubicBezTo>
                    <a:pt x="233" y="361"/>
                    <a:pt x="237" y="365"/>
                    <a:pt x="246" y="367"/>
                  </a:cubicBezTo>
                  <a:cubicBezTo>
                    <a:pt x="268" y="373"/>
                    <a:pt x="291" y="379"/>
                    <a:pt x="313" y="385"/>
                  </a:cubicBezTo>
                  <a:cubicBezTo>
                    <a:pt x="317" y="386"/>
                    <a:pt x="321" y="388"/>
                    <a:pt x="325" y="389"/>
                  </a:cubicBezTo>
                  <a:cubicBezTo>
                    <a:pt x="333" y="394"/>
                    <a:pt x="337" y="401"/>
                    <a:pt x="334" y="410"/>
                  </a:cubicBezTo>
                  <a:cubicBezTo>
                    <a:pt x="329" y="429"/>
                    <a:pt x="324" y="449"/>
                    <a:pt x="317" y="468"/>
                  </a:cubicBezTo>
                  <a:cubicBezTo>
                    <a:pt x="313" y="480"/>
                    <a:pt x="308" y="481"/>
                    <a:pt x="294" y="475"/>
                  </a:cubicBezTo>
                  <a:cubicBezTo>
                    <a:pt x="266" y="461"/>
                    <a:pt x="236" y="454"/>
                    <a:pt x="204" y="455"/>
                  </a:cubicBezTo>
                  <a:cubicBezTo>
                    <a:pt x="194" y="455"/>
                    <a:pt x="183" y="456"/>
                    <a:pt x="173" y="459"/>
                  </a:cubicBezTo>
                  <a:cubicBezTo>
                    <a:pt x="158" y="463"/>
                    <a:pt x="146" y="472"/>
                    <a:pt x="143" y="489"/>
                  </a:cubicBezTo>
                  <a:cubicBezTo>
                    <a:pt x="139" y="506"/>
                    <a:pt x="145" y="521"/>
                    <a:pt x="160" y="529"/>
                  </a:cubicBezTo>
                  <a:cubicBezTo>
                    <a:pt x="182" y="542"/>
                    <a:pt x="206" y="553"/>
                    <a:pt x="229" y="564"/>
                  </a:cubicBezTo>
                  <a:cubicBezTo>
                    <a:pt x="252" y="576"/>
                    <a:pt x="276" y="585"/>
                    <a:pt x="297" y="600"/>
                  </a:cubicBezTo>
                  <a:cubicBezTo>
                    <a:pt x="343" y="633"/>
                    <a:pt x="364" y="681"/>
                    <a:pt x="354" y="737"/>
                  </a:cubicBezTo>
                  <a:cubicBezTo>
                    <a:pt x="345" y="793"/>
                    <a:pt x="310" y="829"/>
                    <a:pt x="257" y="848"/>
                  </a:cubicBezTo>
                  <a:cubicBezTo>
                    <a:pt x="228" y="859"/>
                    <a:pt x="227" y="859"/>
                    <a:pt x="228" y="890"/>
                  </a:cubicBezTo>
                  <a:cubicBezTo>
                    <a:pt x="228" y="900"/>
                    <a:pt x="228" y="910"/>
                    <a:pt x="227" y="920"/>
                  </a:cubicBezTo>
                  <a:cubicBezTo>
                    <a:pt x="227" y="931"/>
                    <a:pt x="222" y="936"/>
                    <a:pt x="211" y="937"/>
                  </a:cubicBezTo>
                  <a:cubicBezTo>
                    <a:pt x="195" y="937"/>
                    <a:pt x="180" y="937"/>
                    <a:pt x="165" y="937"/>
                  </a:cubicBezTo>
                  <a:cubicBezTo>
                    <a:pt x="153" y="936"/>
                    <a:pt x="147" y="930"/>
                    <a:pt x="147" y="918"/>
                  </a:cubicBezTo>
                  <a:cubicBezTo>
                    <a:pt x="147" y="905"/>
                    <a:pt x="147" y="893"/>
                    <a:pt x="147" y="881"/>
                  </a:cubicBezTo>
                  <a:cubicBezTo>
                    <a:pt x="146" y="867"/>
                    <a:pt x="142" y="863"/>
                    <a:pt x="128" y="860"/>
                  </a:cubicBezTo>
                  <a:cubicBezTo>
                    <a:pt x="104" y="855"/>
                    <a:pt x="79" y="849"/>
                    <a:pt x="55" y="841"/>
                  </a:cubicBezTo>
                  <a:cubicBezTo>
                    <a:pt x="24" y="831"/>
                    <a:pt x="21" y="824"/>
                    <a:pt x="31" y="793"/>
                  </a:cubicBezTo>
                  <a:cubicBezTo>
                    <a:pt x="35" y="780"/>
                    <a:pt x="38" y="768"/>
                    <a:pt x="42" y="755"/>
                  </a:cubicBezTo>
                  <a:cubicBezTo>
                    <a:pt x="47" y="740"/>
                    <a:pt x="52" y="738"/>
                    <a:pt x="65" y="745"/>
                  </a:cubicBezTo>
                  <a:cubicBezTo>
                    <a:pt x="95" y="760"/>
                    <a:pt x="126" y="769"/>
                    <a:pt x="160" y="773"/>
                  </a:cubicBezTo>
                  <a:cubicBezTo>
                    <a:pt x="178" y="775"/>
                    <a:pt x="197" y="772"/>
                    <a:pt x="214" y="765"/>
                  </a:cubicBezTo>
                  <a:cubicBezTo>
                    <a:pt x="249" y="749"/>
                    <a:pt x="256" y="707"/>
                    <a:pt x="224" y="684"/>
                  </a:cubicBezTo>
                  <a:cubicBezTo>
                    <a:pt x="204" y="670"/>
                    <a:pt x="181" y="661"/>
                    <a:pt x="159" y="651"/>
                  </a:cubicBezTo>
                  <a:cubicBezTo>
                    <a:pt x="133" y="640"/>
                    <a:pt x="107" y="628"/>
                    <a:pt x="83" y="612"/>
                  </a:cubicBezTo>
                  <a:cubicBezTo>
                    <a:pt x="0" y="554"/>
                    <a:pt x="19" y="431"/>
                    <a:pt x="101" y="390"/>
                  </a:cubicBezTo>
                  <a:cubicBezTo>
                    <a:pt x="113" y="385"/>
                    <a:pt x="126" y="380"/>
                    <a:pt x="138" y="375"/>
                  </a:cubicBezTo>
                  <a:cubicBezTo>
                    <a:pt x="146" y="372"/>
                    <a:pt x="150" y="367"/>
                    <a:pt x="149" y="358"/>
                  </a:cubicBezTo>
                  <a:cubicBezTo>
                    <a:pt x="149" y="332"/>
                    <a:pt x="149" y="306"/>
                    <a:pt x="149" y="280"/>
                  </a:cubicBezTo>
                  <a:cubicBezTo>
                    <a:pt x="149" y="280"/>
                    <a:pt x="149" y="280"/>
                    <a:pt x="149" y="2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 16">
              <a:extLst>
                <a:ext uri="{FF2B5EF4-FFF2-40B4-BE49-F238E27FC236}">
                  <a16:creationId xmlns:a16="http://schemas.microsoft.com/office/drawing/2014/main" id="{EBEE8E3F-3679-D669-3A82-0026542F4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3274" y="1729537"/>
              <a:ext cx="390394" cy="1005038"/>
            </a:xfrm>
            <a:custGeom>
              <a:avLst/>
              <a:gdLst>
                <a:gd name="T0" fmla="*/ 149 w 364"/>
                <a:gd name="T1" fmla="*/ 280 h 937"/>
                <a:gd name="T2" fmla="*/ 149 w 364"/>
                <a:gd name="T3" fmla="*/ 202 h 937"/>
                <a:gd name="T4" fmla="*/ 139 w 364"/>
                <a:gd name="T5" fmla="*/ 192 h 937"/>
                <a:gd name="T6" fmla="*/ 91 w 364"/>
                <a:gd name="T7" fmla="*/ 192 h 937"/>
                <a:gd name="T8" fmla="*/ 72 w 364"/>
                <a:gd name="T9" fmla="*/ 186 h 937"/>
                <a:gd name="T10" fmla="*/ 77 w 364"/>
                <a:gd name="T11" fmla="*/ 167 h 937"/>
                <a:gd name="T12" fmla="*/ 133 w 364"/>
                <a:gd name="T13" fmla="*/ 80 h 937"/>
                <a:gd name="T14" fmla="*/ 168 w 364"/>
                <a:gd name="T15" fmla="*/ 26 h 937"/>
                <a:gd name="T16" fmla="*/ 173 w 364"/>
                <a:gd name="T17" fmla="*/ 18 h 937"/>
                <a:gd name="T18" fmla="*/ 209 w 364"/>
                <a:gd name="T19" fmla="*/ 18 h 937"/>
                <a:gd name="T20" fmla="*/ 231 w 364"/>
                <a:gd name="T21" fmla="*/ 51 h 937"/>
                <a:gd name="T22" fmla="*/ 304 w 364"/>
                <a:gd name="T23" fmla="*/ 166 h 937"/>
                <a:gd name="T24" fmla="*/ 311 w 364"/>
                <a:gd name="T25" fmla="*/ 187 h 937"/>
                <a:gd name="T26" fmla="*/ 290 w 364"/>
                <a:gd name="T27" fmla="*/ 192 h 937"/>
                <a:gd name="T28" fmla="*/ 243 w 364"/>
                <a:gd name="T29" fmla="*/ 192 h 937"/>
                <a:gd name="T30" fmla="*/ 233 w 364"/>
                <a:gd name="T31" fmla="*/ 202 h 937"/>
                <a:gd name="T32" fmla="*/ 233 w 364"/>
                <a:gd name="T33" fmla="*/ 352 h 937"/>
                <a:gd name="T34" fmla="*/ 246 w 364"/>
                <a:gd name="T35" fmla="*/ 367 h 937"/>
                <a:gd name="T36" fmla="*/ 313 w 364"/>
                <a:gd name="T37" fmla="*/ 385 h 937"/>
                <a:gd name="T38" fmla="*/ 325 w 364"/>
                <a:gd name="T39" fmla="*/ 389 h 937"/>
                <a:gd name="T40" fmla="*/ 334 w 364"/>
                <a:gd name="T41" fmla="*/ 410 h 937"/>
                <a:gd name="T42" fmla="*/ 317 w 364"/>
                <a:gd name="T43" fmla="*/ 468 h 937"/>
                <a:gd name="T44" fmla="*/ 294 w 364"/>
                <a:gd name="T45" fmla="*/ 475 h 937"/>
                <a:gd name="T46" fmla="*/ 204 w 364"/>
                <a:gd name="T47" fmla="*/ 455 h 937"/>
                <a:gd name="T48" fmla="*/ 173 w 364"/>
                <a:gd name="T49" fmla="*/ 459 h 937"/>
                <a:gd name="T50" fmla="*/ 143 w 364"/>
                <a:gd name="T51" fmla="*/ 489 h 937"/>
                <a:gd name="T52" fmla="*/ 160 w 364"/>
                <a:gd name="T53" fmla="*/ 529 h 937"/>
                <a:gd name="T54" fmla="*/ 229 w 364"/>
                <a:gd name="T55" fmla="*/ 564 h 937"/>
                <a:gd name="T56" fmla="*/ 297 w 364"/>
                <a:gd name="T57" fmla="*/ 600 h 937"/>
                <a:gd name="T58" fmla="*/ 354 w 364"/>
                <a:gd name="T59" fmla="*/ 737 h 937"/>
                <a:gd name="T60" fmla="*/ 257 w 364"/>
                <a:gd name="T61" fmla="*/ 848 h 937"/>
                <a:gd name="T62" fmla="*/ 228 w 364"/>
                <a:gd name="T63" fmla="*/ 890 h 937"/>
                <a:gd name="T64" fmla="*/ 227 w 364"/>
                <a:gd name="T65" fmla="*/ 920 h 937"/>
                <a:gd name="T66" fmla="*/ 211 w 364"/>
                <a:gd name="T67" fmla="*/ 937 h 937"/>
                <a:gd name="T68" fmla="*/ 165 w 364"/>
                <a:gd name="T69" fmla="*/ 937 h 937"/>
                <a:gd name="T70" fmla="*/ 147 w 364"/>
                <a:gd name="T71" fmla="*/ 918 h 937"/>
                <a:gd name="T72" fmla="*/ 147 w 364"/>
                <a:gd name="T73" fmla="*/ 881 h 937"/>
                <a:gd name="T74" fmla="*/ 128 w 364"/>
                <a:gd name="T75" fmla="*/ 860 h 937"/>
                <a:gd name="T76" fmla="*/ 55 w 364"/>
                <a:gd name="T77" fmla="*/ 841 h 937"/>
                <a:gd name="T78" fmla="*/ 31 w 364"/>
                <a:gd name="T79" fmla="*/ 793 h 937"/>
                <a:gd name="T80" fmla="*/ 42 w 364"/>
                <a:gd name="T81" fmla="*/ 755 h 937"/>
                <a:gd name="T82" fmla="*/ 65 w 364"/>
                <a:gd name="T83" fmla="*/ 745 h 937"/>
                <a:gd name="T84" fmla="*/ 160 w 364"/>
                <a:gd name="T85" fmla="*/ 773 h 937"/>
                <a:gd name="T86" fmla="*/ 214 w 364"/>
                <a:gd name="T87" fmla="*/ 765 h 937"/>
                <a:gd name="T88" fmla="*/ 224 w 364"/>
                <a:gd name="T89" fmla="*/ 684 h 937"/>
                <a:gd name="T90" fmla="*/ 159 w 364"/>
                <a:gd name="T91" fmla="*/ 651 h 937"/>
                <a:gd name="T92" fmla="*/ 83 w 364"/>
                <a:gd name="T93" fmla="*/ 612 h 937"/>
                <a:gd name="T94" fmla="*/ 101 w 364"/>
                <a:gd name="T95" fmla="*/ 390 h 937"/>
                <a:gd name="T96" fmla="*/ 138 w 364"/>
                <a:gd name="T97" fmla="*/ 375 h 937"/>
                <a:gd name="T98" fmla="*/ 149 w 364"/>
                <a:gd name="T99" fmla="*/ 358 h 937"/>
                <a:gd name="T100" fmla="*/ 149 w 364"/>
                <a:gd name="T101" fmla="*/ 280 h 937"/>
                <a:gd name="T102" fmla="*/ 149 w 364"/>
                <a:gd name="T103" fmla="*/ 280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4" h="937">
                  <a:moveTo>
                    <a:pt x="149" y="280"/>
                  </a:moveTo>
                  <a:cubicBezTo>
                    <a:pt x="149" y="254"/>
                    <a:pt x="149" y="228"/>
                    <a:pt x="149" y="202"/>
                  </a:cubicBezTo>
                  <a:cubicBezTo>
                    <a:pt x="149" y="194"/>
                    <a:pt x="147" y="192"/>
                    <a:pt x="139" y="192"/>
                  </a:cubicBezTo>
                  <a:cubicBezTo>
                    <a:pt x="123" y="192"/>
                    <a:pt x="107" y="193"/>
                    <a:pt x="91" y="192"/>
                  </a:cubicBezTo>
                  <a:cubicBezTo>
                    <a:pt x="84" y="192"/>
                    <a:pt x="74" y="190"/>
                    <a:pt x="72" y="186"/>
                  </a:cubicBezTo>
                  <a:cubicBezTo>
                    <a:pt x="70" y="181"/>
                    <a:pt x="74" y="173"/>
                    <a:pt x="77" y="167"/>
                  </a:cubicBezTo>
                  <a:cubicBezTo>
                    <a:pt x="95" y="138"/>
                    <a:pt x="114" y="109"/>
                    <a:pt x="133" y="80"/>
                  </a:cubicBezTo>
                  <a:cubicBezTo>
                    <a:pt x="144" y="62"/>
                    <a:pt x="156" y="44"/>
                    <a:pt x="168" y="26"/>
                  </a:cubicBezTo>
                  <a:cubicBezTo>
                    <a:pt x="170" y="23"/>
                    <a:pt x="171" y="20"/>
                    <a:pt x="173" y="18"/>
                  </a:cubicBezTo>
                  <a:cubicBezTo>
                    <a:pt x="185" y="0"/>
                    <a:pt x="197" y="0"/>
                    <a:pt x="209" y="18"/>
                  </a:cubicBezTo>
                  <a:cubicBezTo>
                    <a:pt x="217" y="29"/>
                    <a:pt x="224" y="40"/>
                    <a:pt x="231" y="51"/>
                  </a:cubicBezTo>
                  <a:cubicBezTo>
                    <a:pt x="255" y="89"/>
                    <a:pt x="280" y="127"/>
                    <a:pt x="304" y="166"/>
                  </a:cubicBezTo>
                  <a:cubicBezTo>
                    <a:pt x="308" y="172"/>
                    <a:pt x="309" y="180"/>
                    <a:pt x="311" y="187"/>
                  </a:cubicBezTo>
                  <a:cubicBezTo>
                    <a:pt x="304" y="188"/>
                    <a:pt x="297" y="191"/>
                    <a:pt x="290" y="192"/>
                  </a:cubicBezTo>
                  <a:cubicBezTo>
                    <a:pt x="275" y="193"/>
                    <a:pt x="259" y="192"/>
                    <a:pt x="243" y="192"/>
                  </a:cubicBezTo>
                  <a:cubicBezTo>
                    <a:pt x="236" y="192"/>
                    <a:pt x="233" y="194"/>
                    <a:pt x="233" y="202"/>
                  </a:cubicBezTo>
                  <a:cubicBezTo>
                    <a:pt x="233" y="252"/>
                    <a:pt x="233" y="302"/>
                    <a:pt x="233" y="352"/>
                  </a:cubicBezTo>
                  <a:cubicBezTo>
                    <a:pt x="233" y="361"/>
                    <a:pt x="237" y="365"/>
                    <a:pt x="246" y="367"/>
                  </a:cubicBezTo>
                  <a:cubicBezTo>
                    <a:pt x="268" y="373"/>
                    <a:pt x="291" y="379"/>
                    <a:pt x="313" y="385"/>
                  </a:cubicBezTo>
                  <a:cubicBezTo>
                    <a:pt x="317" y="386"/>
                    <a:pt x="321" y="388"/>
                    <a:pt x="325" y="389"/>
                  </a:cubicBezTo>
                  <a:cubicBezTo>
                    <a:pt x="333" y="394"/>
                    <a:pt x="337" y="401"/>
                    <a:pt x="334" y="410"/>
                  </a:cubicBezTo>
                  <a:cubicBezTo>
                    <a:pt x="329" y="429"/>
                    <a:pt x="324" y="449"/>
                    <a:pt x="317" y="468"/>
                  </a:cubicBezTo>
                  <a:cubicBezTo>
                    <a:pt x="313" y="480"/>
                    <a:pt x="308" y="481"/>
                    <a:pt x="294" y="475"/>
                  </a:cubicBezTo>
                  <a:cubicBezTo>
                    <a:pt x="266" y="461"/>
                    <a:pt x="236" y="454"/>
                    <a:pt x="204" y="455"/>
                  </a:cubicBezTo>
                  <a:cubicBezTo>
                    <a:pt x="194" y="455"/>
                    <a:pt x="183" y="456"/>
                    <a:pt x="173" y="459"/>
                  </a:cubicBezTo>
                  <a:cubicBezTo>
                    <a:pt x="158" y="463"/>
                    <a:pt x="146" y="472"/>
                    <a:pt x="143" y="489"/>
                  </a:cubicBezTo>
                  <a:cubicBezTo>
                    <a:pt x="139" y="506"/>
                    <a:pt x="145" y="521"/>
                    <a:pt x="160" y="529"/>
                  </a:cubicBezTo>
                  <a:cubicBezTo>
                    <a:pt x="182" y="542"/>
                    <a:pt x="206" y="553"/>
                    <a:pt x="229" y="564"/>
                  </a:cubicBezTo>
                  <a:cubicBezTo>
                    <a:pt x="252" y="576"/>
                    <a:pt x="276" y="585"/>
                    <a:pt x="297" y="600"/>
                  </a:cubicBezTo>
                  <a:cubicBezTo>
                    <a:pt x="343" y="633"/>
                    <a:pt x="364" y="681"/>
                    <a:pt x="354" y="737"/>
                  </a:cubicBezTo>
                  <a:cubicBezTo>
                    <a:pt x="345" y="793"/>
                    <a:pt x="310" y="829"/>
                    <a:pt x="257" y="848"/>
                  </a:cubicBezTo>
                  <a:cubicBezTo>
                    <a:pt x="228" y="859"/>
                    <a:pt x="227" y="859"/>
                    <a:pt x="228" y="890"/>
                  </a:cubicBezTo>
                  <a:cubicBezTo>
                    <a:pt x="228" y="900"/>
                    <a:pt x="228" y="910"/>
                    <a:pt x="227" y="920"/>
                  </a:cubicBezTo>
                  <a:cubicBezTo>
                    <a:pt x="227" y="931"/>
                    <a:pt x="222" y="936"/>
                    <a:pt x="211" y="937"/>
                  </a:cubicBezTo>
                  <a:cubicBezTo>
                    <a:pt x="195" y="937"/>
                    <a:pt x="180" y="937"/>
                    <a:pt x="165" y="937"/>
                  </a:cubicBezTo>
                  <a:cubicBezTo>
                    <a:pt x="153" y="936"/>
                    <a:pt x="147" y="930"/>
                    <a:pt x="147" y="918"/>
                  </a:cubicBezTo>
                  <a:cubicBezTo>
                    <a:pt x="147" y="905"/>
                    <a:pt x="147" y="893"/>
                    <a:pt x="147" y="881"/>
                  </a:cubicBezTo>
                  <a:cubicBezTo>
                    <a:pt x="146" y="867"/>
                    <a:pt x="142" y="863"/>
                    <a:pt x="128" y="860"/>
                  </a:cubicBezTo>
                  <a:cubicBezTo>
                    <a:pt x="104" y="855"/>
                    <a:pt x="79" y="849"/>
                    <a:pt x="55" y="841"/>
                  </a:cubicBezTo>
                  <a:cubicBezTo>
                    <a:pt x="24" y="831"/>
                    <a:pt x="21" y="824"/>
                    <a:pt x="31" y="793"/>
                  </a:cubicBezTo>
                  <a:cubicBezTo>
                    <a:pt x="35" y="780"/>
                    <a:pt x="38" y="768"/>
                    <a:pt x="42" y="755"/>
                  </a:cubicBezTo>
                  <a:cubicBezTo>
                    <a:pt x="47" y="740"/>
                    <a:pt x="52" y="738"/>
                    <a:pt x="65" y="745"/>
                  </a:cubicBezTo>
                  <a:cubicBezTo>
                    <a:pt x="95" y="760"/>
                    <a:pt x="126" y="769"/>
                    <a:pt x="160" y="773"/>
                  </a:cubicBezTo>
                  <a:cubicBezTo>
                    <a:pt x="178" y="775"/>
                    <a:pt x="197" y="772"/>
                    <a:pt x="214" y="765"/>
                  </a:cubicBezTo>
                  <a:cubicBezTo>
                    <a:pt x="249" y="749"/>
                    <a:pt x="256" y="707"/>
                    <a:pt x="224" y="684"/>
                  </a:cubicBezTo>
                  <a:cubicBezTo>
                    <a:pt x="204" y="670"/>
                    <a:pt x="181" y="661"/>
                    <a:pt x="159" y="651"/>
                  </a:cubicBezTo>
                  <a:cubicBezTo>
                    <a:pt x="133" y="640"/>
                    <a:pt x="107" y="628"/>
                    <a:pt x="83" y="612"/>
                  </a:cubicBezTo>
                  <a:cubicBezTo>
                    <a:pt x="0" y="554"/>
                    <a:pt x="19" y="431"/>
                    <a:pt x="101" y="390"/>
                  </a:cubicBezTo>
                  <a:cubicBezTo>
                    <a:pt x="113" y="385"/>
                    <a:pt x="126" y="380"/>
                    <a:pt x="138" y="375"/>
                  </a:cubicBezTo>
                  <a:cubicBezTo>
                    <a:pt x="146" y="372"/>
                    <a:pt x="150" y="367"/>
                    <a:pt x="149" y="358"/>
                  </a:cubicBezTo>
                  <a:cubicBezTo>
                    <a:pt x="149" y="332"/>
                    <a:pt x="149" y="306"/>
                    <a:pt x="149" y="280"/>
                  </a:cubicBezTo>
                  <a:cubicBezTo>
                    <a:pt x="149" y="280"/>
                    <a:pt x="149" y="280"/>
                    <a:pt x="149" y="2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16">
              <a:extLst>
                <a:ext uri="{FF2B5EF4-FFF2-40B4-BE49-F238E27FC236}">
                  <a16:creationId xmlns:a16="http://schemas.microsoft.com/office/drawing/2014/main" id="{76E38C2C-6DCF-5ABC-4C0D-DCA7A9CD5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1345" y="1729537"/>
              <a:ext cx="390394" cy="1005038"/>
            </a:xfrm>
            <a:custGeom>
              <a:avLst/>
              <a:gdLst>
                <a:gd name="T0" fmla="*/ 149 w 364"/>
                <a:gd name="T1" fmla="*/ 280 h 937"/>
                <a:gd name="T2" fmla="*/ 149 w 364"/>
                <a:gd name="T3" fmla="*/ 202 h 937"/>
                <a:gd name="T4" fmla="*/ 139 w 364"/>
                <a:gd name="T5" fmla="*/ 192 h 937"/>
                <a:gd name="T6" fmla="*/ 91 w 364"/>
                <a:gd name="T7" fmla="*/ 192 h 937"/>
                <a:gd name="T8" fmla="*/ 72 w 364"/>
                <a:gd name="T9" fmla="*/ 186 h 937"/>
                <a:gd name="T10" fmla="*/ 77 w 364"/>
                <a:gd name="T11" fmla="*/ 167 h 937"/>
                <a:gd name="T12" fmla="*/ 133 w 364"/>
                <a:gd name="T13" fmla="*/ 80 h 937"/>
                <a:gd name="T14" fmla="*/ 168 w 364"/>
                <a:gd name="T15" fmla="*/ 26 h 937"/>
                <a:gd name="T16" fmla="*/ 173 w 364"/>
                <a:gd name="T17" fmla="*/ 18 h 937"/>
                <a:gd name="T18" fmla="*/ 209 w 364"/>
                <a:gd name="T19" fmla="*/ 18 h 937"/>
                <a:gd name="T20" fmla="*/ 231 w 364"/>
                <a:gd name="T21" fmla="*/ 51 h 937"/>
                <a:gd name="T22" fmla="*/ 304 w 364"/>
                <a:gd name="T23" fmla="*/ 166 h 937"/>
                <a:gd name="T24" fmla="*/ 311 w 364"/>
                <a:gd name="T25" fmla="*/ 187 h 937"/>
                <a:gd name="T26" fmla="*/ 290 w 364"/>
                <a:gd name="T27" fmla="*/ 192 h 937"/>
                <a:gd name="T28" fmla="*/ 243 w 364"/>
                <a:gd name="T29" fmla="*/ 192 h 937"/>
                <a:gd name="T30" fmla="*/ 233 w 364"/>
                <a:gd name="T31" fmla="*/ 202 h 937"/>
                <a:gd name="T32" fmla="*/ 233 w 364"/>
                <a:gd name="T33" fmla="*/ 352 h 937"/>
                <a:gd name="T34" fmla="*/ 246 w 364"/>
                <a:gd name="T35" fmla="*/ 367 h 937"/>
                <a:gd name="T36" fmla="*/ 313 w 364"/>
                <a:gd name="T37" fmla="*/ 385 h 937"/>
                <a:gd name="T38" fmla="*/ 325 w 364"/>
                <a:gd name="T39" fmla="*/ 389 h 937"/>
                <a:gd name="T40" fmla="*/ 334 w 364"/>
                <a:gd name="T41" fmla="*/ 410 h 937"/>
                <a:gd name="T42" fmla="*/ 317 w 364"/>
                <a:gd name="T43" fmla="*/ 468 h 937"/>
                <a:gd name="T44" fmla="*/ 294 w 364"/>
                <a:gd name="T45" fmla="*/ 475 h 937"/>
                <a:gd name="T46" fmla="*/ 204 w 364"/>
                <a:gd name="T47" fmla="*/ 455 h 937"/>
                <a:gd name="T48" fmla="*/ 173 w 364"/>
                <a:gd name="T49" fmla="*/ 459 h 937"/>
                <a:gd name="T50" fmla="*/ 143 w 364"/>
                <a:gd name="T51" fmla="*/ 489 h 937"/>
                <a:gd name="T52" fmla="*/ 160 w 364"/>
                <a:gd name="T53" fmla="*/ 529 h 937"/>
                <a:gd name="T54" fmla="*/ 229 w 364"/>
                <a:gd name="T55" fmla="*/ 564 h 937"/>
                <a:gd name="T56" fmla="*/ 297 w 364"/>
                <a:gd name="T57" fmla="*/ 600 h 937"/>
                <a:gd name="T58" fmla="*/ 354 w 364"/>
                <a:gd name="T59" fmla="*/ 737 h 937"/>
                <a:gd name="T60" fmla="*/ 257 w 364"/>
                <a:gd name="T61" fmla="*/ 848 h 937"/>
                <a:gd name="T62" fmla="*/ 228 w 364"/>
                <a:gd name="T63" fmla="*/ 890 h 937"/>
                <a:gd name="T64" fmla="*/ 227 w 364"/>
                <a:gd name="T65" fmla="*/ 920 h 937"/>
                <a:gd name="T66" fmla="*/ 211 w 364"/>
                <a:gd name="T67" fmla="*/ 937 h 937"/>
                <a:gd name="T68" fmla="*/ 165 w 364"/>
                <a:gd name="T69" fmla="*/ 937 h 937"/>
                <a:gd name="T70" fmla="*/ 147 w 364"/>
                <a:gd name="T71" fmla="*/ 918 h 937"/>
                <a:gd name="T72" fmla="*/ 147 w 364"/>
                <a:gd name="T73" fmla="*/ 881 h 937"/>
                <a:gd name="T74" fmla="*/ 128 w 364"/>
                <a:gd name="T75" fmla="*/ 860 h 937"/>
                <a:gd name="T76" fmla="*/ 55 w 364"/>
                <a:gd name="T77" fmla="*/ 841 h 937"/>
                <a:gd name="T78" fmla="*/ 31 w 364"/>
                <a:gd name="T79" fmla="*/ 793 h 937"/>
                <a:gd name="T80" fmla="*/ 42 w 364"/>
                <a:gd name="T81" fmla="*/ 755 h 937"/>
                <a:gd name="T82" fmla="*/ 65 w 364"/>
                <a:gd name="T83" fmla="*/ 745 h 937"/>
                <a:gd name="T84" fmla="*/ 160 w 364"/>
                <a:gd name="T85" fmla="*/ 773 h 937"/>
                <a:gd name="T86" fmla="*/ 214 w 364"/>
                <a:gd name="T87" fmla="*/ 765 h 937"/>
                <a:gd name="T88" fmla="*/ 224 w 364"/>
                <a:gd name="T89" fmla="*/ 684 h 937"/>
                <a:gd name="T90" fmla="*/ 159 w 364"/>
                <a:gd name="T91" fmla="*/ 651 h 937"/>
                <a:gd name="T92" fmla="*/ 83 w 364"/>
                <a:gd name="T93" fmla="*/ 612 h 937"/>
                <a:gd name="T94" fmla="*/ 101 w 364"/>
                <a:gd name="T95" fmla="*/ 390 h 937"/>
                <a:gd name="T96" fmla="*/ 138 w 364"/>
                <a:gd name="T97" fmla="*/ 375 h 937"/>
                <a:gd name="T98" fmla="*/ 149 w 364"/>
                <a:gd name="T99" fmla="*/ 358 h 937"/>
                <a:gd name="T100" fmla="*/ 149 w 364"/>
                <a:gd name="T101" fmla="*/ 280 h 937"/>
                <a:gd name="T102" fmla="*/ 149 w 364"/>
                <a:gd name="T103" fmla="*/ 280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4" h="937">
                  <a:moveTo>
                    <a:pt x="149" y="280"/>
                  </a:moveTo>
                  <a:cubicBezTo>
                    <a:pt x="149" y="254"/>
                    <a:pt x="149" y="228"/>
                    <a:pt x="149" y="202"/>
                  </a:cubicBezTo>
                  <a:cubicBezTo>
                    <a:pt x="149" y="194"/>
                    <a:pt x="147" y="192"/>
                    <a:pt x="139" y="192"/>
                  </a:cubicBezTo>
                  <a:cubicBezTo>
                    <a:pt x="123" y="192"/>
                    <a:pt x="107" y="193"/>
                    <a:pt x="91" y="192"/>
                  </a:cubicBezTo>
                  <a:cubicBezTo>
                    <a:pt x="84" y="192"/>
                    <a:pt x="74" y="190"/>
                    <a:pt x="72" y="186"/>
                  </a:cubicBezTo>
                  <a:cubicBezTo>
                    <a:pt x="70" y="181"/>
                    <a:pt x="74" y="173"/>
                    <a:pt x="77" y="167"/>
                  </a:cubicBezTo>
                  <a:cubicBezTo>
                    <a:pt x="95" y="138"/>
                    <a:pt x="114" y="109"/>
                    <a:pt x="133" y="80"/>
                  </a:cubicBezTo>
                  <a:cubicBezTo>
                    <a:pt x="144" y="62"/>
                    <a:pt x="156" y="44"/>
                    <a:pt x="168" y="26"/>
                  </a:cubicBezTo>
                  <a:cubicBezTo>
                    <a:pt x="170" y="23"/>
                    <a:pt x="171" y="20"/>
                    <a:pt x="173" y="18"/>
                  </a:cubicBezTo>
                  <a:cubicBezTo>
                    <a:pt x="185" y="0"/>
                    <a:pt x="197" y="0"/>
                    <a:pt x="209" y="18"/>
                  </a:cubicBezTo>
                  <a:cubicBezTo>
                    <a:pt x="217" y="29"/>
                    <a:pt x="224" y="40"/>
                    <a:pt x="231" y="51"/>
                  </a:cubicBezTo>
                  <a:cubicBezTo>
                    <a:pt x="255" y="89"/>
                    <a:pt x="280" y="127"/>
                    <a:pt x="304" y="166"/>
                  </a:cubicBezTo>
                  <a:cubicBezTo>
                    <a:pt x="308" y="172"/>
                    <a:pt x="309" y="180"/>
                    <a:pt x="311" y="187"/>
                  </a:cubicBezTo>
                  <a:cubicBezTo>
                    <a:pt x="304" y="188"/>
                    <a:pt x="297" y="191"/>
                    <a:pt x="290" y="192"/>
                  </a:cubicBezTo>
                  <a:cubicBezTo>
                    <a:pt x="275" y="193"/>
                    <a:pt x="259" y="192"/>
                    <a:pt x="243" y="192"/>
                  </a:cubicBezTo>
                  <a:cubicBezTo>
                    <a:pt x="236" y="192"/>
                    <a:pt x="233" y="194"/>
                    <a:pt x="233" y="202"/>
                  </a:cubicBezTo>
                  <a:cubicBezTo>
                    <a:pt x="233" y="252"/>
                    <a:pt x="233" y="302"/>
                    <a:pt x="233" y="352"/>
                  </a:cubicBezTo>
                  <a:cubicBezTo>
                    <a:pt x="233" y="361"/>
                    <a:pt x="237" y="365"/>
                    <a:pt x="246" y="367"/>
                  </a:cubicBezTo>
                  <a:cubicBezTo>
                    <a:pt x="268" y="373"/>
                    <a:pt x="291" y="379"/>
                    <a:pt x="313" y="385"/>
                  </a:cubicBezTo>
                  <a:cubicBezTo>
                    <a:pt x="317" y="386"/>
                    <a:pt x="321" y="388"/>
                    <a:pt x="325" y="389"/>
                  </a:cubicBezTo>
                  <a:cubicBezTo>
                    <a:pt x="333" y="394"/>
                    <a:pt x="337" y="401"/>
                    <a:pt x="334" y="410"/>
                  </a:cubicBezTo>
                  <a:cubicBezTo>
                    <a:pt x="329" y="429"/>
                    <a:pt x="324" y="449"/>
                    <a:pt x="317" y="468"/>
                  </a:cubicBezTo>
                  <a:cubicBezTo>
                    <a:pt x="313" y="480"/>
                    <a:pt x="308" y="481"/>
                    <a:pt x="294" y="475"/>
                  </a:cubicBezTo>
                  <a:cubicBezTo>
                    <a:pt x="266" y="461"/>
                    <a:pt x="236" y="454"/>
                    <a:pt x="204" y="455"/>
                  </a:cubicBezTo>
                  <a:cubicBezTo>
                    <a:pt x="194" y="455"/>
                    <a:pt x="183" y="456"/>
                    <a:pt x="173" y="459"/>
                  </a:cubicBezTo>
                  <a:cubicBezTo>
                    <a:pt x="158" y="463"/>
                    <a:pt x="146" y="472"/>
                    <a:pt x="143" y="489"/>
                  </a:cubicBezTo>
                  <a:cubicBezTo>
                    <a:pt x="139" y="506"/>
                    <a:pt x="145" y="521"/>
                    <a:pt x="160" y="529"/>
                  </a:cubicBezTo>
                  <a:cubicBezTo>
                    <a:pt x="182" y="542"/>
                    <a:pt x="206" y="553"/>
                    <a:pt x="229" y="564"/>
                  </a:cubicBezTo>
                  <a:cubicBezTo>
                    <a:pt x="252" y="576"/>
                    <a:pt x="276" y="585"/>
                    <a:pt x="297" y="600"/>
                  </a:cubicBezTo>
                  <a:cubicBezTo>
                    <a:pt x="343" y="633"/>
                    <a:pt x="364" y="681"/>
                    <a:pt x="354" y="737"/>
                  </a:cubicBezTo>
                  <a:cubicBezTo>
                    <a:pt x="345" y="793"/>
                    <a:pt x="310" y="829"/>
                    <a:pt x="257" y="848"/>
                  </a:cubicBezTo>
                  <a:cubicBezTo>
                    <a:pt x="228" y="859"/>
                    <a:pt x="227" y="859"/>
                    <a:pt x="228" y="890"/>
                  </a:cubicBezTo>
                  <a:cubicBezTo>
                    <a:pt x="228" y="900"/>
                    <a:pt x="228" y="910"/>
                    <a:pt x="227" y="920"/>
                  </a:cubicBezTo>
                  <a:cubicBezTo>
                    <a:pt x="227" y="931"/>
                    <a:pt x="222" y="936"/>
                    <a:pt x="211" y="937"/>
                  </a:cubicBezTo>
                  <a:cubicBezTo>
                    <a:pt x="195" y="937"/>
                    <a:pt x="180" y="937"/>
                    <a:pt x="165" y="937"/>
                  </a:cubicBezTo>
                  <a:cubicBezTo>
                    <a:pt x="153" y="936"/>
                    <a:pt x="147" y="930"/>
                    <a:pt x="147" y="918"/>
                  </a:cubicBezTo>
                  <a:cubicBezTo>
                    <a:pt x="147" y="905"/>
                    <a:pt x="147" y="893"/>
                    <a:pt x="147" y="881"/>
                  </a:cubicBezTo>
                  <a:cubicBezTo>
                    <a:pt x="146" y="867"/>
                    <a:pt x="142" y="863"/>
                    <a:pt x="128" y="860"/>
                  </a:cubicBezTo>
                  <a:cubicBezTo>
                    <a:pt x="104" y="855"/>
                    <a:pt x="79" y="849"/>
                    <a:pt x="55" y="841"/>
                  </a:cubicBezTo>
                  <a:cubicBezTo>
                    <a:pt x="24" y="831"/>
                    <a:pt x="21" y="824"/>
                    <a:pt x="31" y="793"/>
                  </a:cubicBezTo>
                  <a:cubicBezTo>
                    <a:pt x="35" y="780"/>
                    <a:pt x="38" y="768"/>
                    <a:pt x="42" y="755"/>
                  </a:cubicBezTo>
                  <a:cubicBezTo>
                    <a:pt x="47" y="740"/>
                    <a:pt x="52" y="738"/>
                    <a:pt x="65" y="745"/>
                  </a:cubicBezTo>
                  <a:cubicBezTo>
                    <a:pt x="95" y="760"/>
                    <a:pt x="126" y="769"/>
                    <a:pt x="160" y="773"/>
                  </a:cubicBezTo>
                  <a:cubicBezTo>
                    <a:pt x="178" y="775"/>
                    <a:pt x="197" y="772"/>
                    <a:pt x="214" y="765"/>
                  </a:cubicBezTo>
                  <a:cubicBezTo>
                    <a:pt x="249" y="749"/>
                    <a:pt x="256" y="707"/>
                    <a:pt x="224" y="684"/>
                  </a:cubicBezTo>
                  <a:cubicBezTo>
                    <a:pt x="204" y="670"/>
                    <a:pt x="181" y="661"/>
                    <a:pt x="159" y="651"/>
                  </a:cubicBezTo>
                  <a:cubicBezTo>
                    <a:pt x="133" y="640"/>
                    <a:pt x="107" y="628"/>
                    <a:pt x="83" y="612"/>
                  </a:cubicBezTo>
                  <a:cubicBezTo>
                    <a:pt x="0" y="554"/>
                    <a:pt x="19" y="431"/>
                    <a:pt x="101" y="390"/>
                  </a:cubicBezTo>
                  <a:cubicBezTo>
                    <a:pt x="113" y="385"/>
                    <a:pt x="126" y="380"/>
                    <a:pt x="138" y="375"/>
                  </a:cubicBezTo>
                  <a:cubicBezTo>
                    <a:pt x="146" y="372"/>
                    <a:pt x="150" y="367"/>
                    <a:pt x="149" y="358"/>
                  </a:cubicBezTo>
                  <a:cubicBezTo>
                    <a:pt x="149" y="332"/>
                    <a:pt x="149" y="306"/>
                    <a:pt x="149" y="280"/>
                  </a:cubicBezTo>
                  <a:cubicBezTo>
                    <a:pt x="149" y="280"/>
                    <a:pt x="149" y="280"/>
                    <a:pt x="149" y="2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3" name="Oval 142">
            <a:extLst>
              <a:ext uri="{FF2B5EF4-FFF2-40B4-BE49-F238E27FC236}">
                <a16:creationId xmlns:a16="http://schemas.microsoft.com/office/drawing/2014/main" id="{DF557716-0313-A162-134C-77792E992EE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409805" y="5221607"/>
            <a:ext cx="640080" cy="640080"/>
          </a:xfrm>
          <a:prstGeom prst="ellipse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4" name="Freeform 38">
            <a:extLst>
              <a:ext uri="{FF2B5EF4-FFF2-40B4-BE49-F238E27FC236}">
                <a16:creationId xmlns:a16="http://schemas.microsoft.com/office/drawing/2014/main" id="{7889C8E3-27DF-F98C-A941-D682E94CE5D8}"/>
              </a:ext>
            </a:extLst>
          </p:cNvPr>
          <p:cNvSpPr>
            <a:spLocks noChangeAspect="1" noEditPoints="1"/>
          </p:cNvSpPr>
          <p:nvPr>
            <p:custDataLst>
              <p:tags r:id="rId16"/>
            </p:custDataLst>
          </p:nvPr>
        </p:nvSpPr>
        <p:spPr bwMode="auto">
          <a:xfrm>
            <a:off x="3499044" y="5385258"/>
            <a:ext cx="461602" cy="312779"/>
          </a:xfrm>
          <a:custGeom>
            <a:avLst/>
            <a:gdLst>
              <a:gd name="T0" fmla="*/ 2666 w 3783"/>
              <a:gd name="T1" fmla="*/ 1140 h 2564"/>
              <a:gd name="T2" fmla="*/ 2445 w 3783"/>
              <a:gd name="T3" fmla="*/ 1305 h 2564"/>
              <a:gd name="T4" fmla="*/ 2325 w 3783"/>
              <a:gd name="T5" fmla="*/ 1555 h 2564"/>
              <a:gd name="T6" fmla="*/ 2339 w 3783"/>
              <a:gd name="T7" fmla="*/ 1843 h 2564"/>
              <a:gd name="T8" fmla="*/ 2483 w 3783"/>
              <a:gd name="T9" fmla="*/ 2080 h 2564"/>
              <a:gd name="T10" fmla="*/ 2719 w 3783"/>
              <a:gd name="T11" fmla="*/ 2222 h 2564"/>
              <a:gd name="T12" fmla="*/ 3007 w 3783"/>
              <a:gd name="T13" fmla="*/ 2237 h 2564"/>
              <a:gd name="T14" fmla="*/ 3258 w 3783"/>
              <a:gd name="T15" fmla="*/ 2117 h 2564"/>
              <a:gd name="T16" fmla="*/ 3422 w 3783"/>
              <a:gd name="T17" fmla="*/ 1897 h 2564"/>
              <a:gd name="T18" fmla="*/ 3464 w 3783"/>
              <a:gd name="T19" fmla="*/ 1613 h 2564"/>
              <a:gd name="T20" fmla="*/ 3369 w 3783"/>
              <a:gd name="T21" fmla="*/ 1349 h 2564"/>
              <a:gd name="T22" fmla="*/ 3166 w 3783"/>
              <a:gd name="T23" fmla="*/ 1165 h 2564"/>
              <a:gd name="T24" fmla="*/ 2891 w 3783"/>
              <a:gd name="T25" fmla="*/ 1096 h 2564"/>
              <a:gd name="T26" fmla="*/ 667 w 3783"/>
              <a:gd name="T27" fmla="*/ 1140 h 2564"/>
              <a:gd name="T28" fmla="*/ 447 w 3783"/>
              <a:gd name="T29" fmla="*/ 1305 h 2564"/>
              <a:gd name="T30" fmla="*/ 327 w 3783"/>
              <a:gd name="T31" fmla="*/ 1555 h 2564"/>
              <a:gd name="T32" fmla="*/ 341 w 3783"/>
              <a:gd name="T33" fmla="*/ 1843 h 2564"/>
              <a:gd name="T34" fmla="*/ 484 w 3783"/>
              <a:gd name="T35" fmla="*/ 2080 h 2564"/>
              <a:gd name="T36" fmla="*/ 720 w 3783"/>
              <a:gd name="T37" fmla="*/ 2222 h 2564"/>
              <a:gd name="T38" fmla="*/ 1008 w 3783"/>
              <a:gd name="T39" fmla="*/ 2237 h 2564"/>
              <a:gd name="T40" fmla="*/ 1259 w 3783"/>
              <a:gd name="T41" fmla="*/ 2117 h 2564"/>
              <a:gd name="T42" fmla="*/ 1423 w 3783"/>
              <a:gd name="T43" fmla="*/ 1897 h 2564"/>
              <a:gd name="T44" fmla="*/ 1465 w 3783"/>
              <a:gd name="T45" fmla="*/ 1613 h 2564"/>
              <a:gd name="T46" fmla="*/ 1370 w 3783"/>
              <a:gd name="T47" fmla="*/ 1349 h 2564"/>
              <a:gd name="T48" fmla="*/ 1167 w 3783"/>
              <a:gd name="T49" fmla="*/ 1165 h 2564"/>
              <a:gd name="T50" fmla="*/ 892 w 3783"/>
              <a:gd name="T51" fmla="*/ 1096 h 2564"/>
              <a:gd name="T52" fmla="*/ 1539 w 3783"/>
              <a:gd name="T53" fmla="*/ 48 h 2564"/>
              <a:gd name="T54" fmla="*/ 1701 w 3783"/>
              <a:gd name="T55" fmla="*/ 178 h 2564"/>
              <a:gd name="T56" fmla="*/ 1801 w 3783"/>
              <a:gd name="T57" fmla="*/ 418 h 2564"/>
              <a:gd name="T58" fmla="*/ 1750 w 3783"/>
              <a:gd name="T59" fmla="*/ 695 h 2564"/>
              <a:gd name="T60" fmla="*/ 2032 w 3783"/>
              <a:gd name="T61" fmla="*/ 695 h 2564"/>
              <a:gd name="T62" fmla="*/ 1981 w 3783"/>
              <a:gd name="T63" fmla="*/ 418 h 2564"/>
              <a:gd name="T64" fmla="*/ 2082 w 3783"/>
              <a:gd name="T65" fmla="*/ 178 h 2564"/>
              <a:gd name="T66" fmla="*/ 2244 w 3783"/>
              <a:gd name="T67" fmla="*/ 48 h 2564"/>
              <a:gd name="T68" fmla="*/ 2507 w 3783"/>
              <a:gd name="T69" fmla="*/ 2 h 2564"/>
              <a:gd name="T70" fmla="*/ 2749 w 3783"/>
              <a:gd name="T71" fmla="*/ 103 h 2564"/>
              <a:gd name="T72" fmla="*/ 2874 w 3783"/>
              <a:gd name="T73" fmla="*/ 256 h 2564"/>
              <a:gd name="T74" fmla="*/ 3407 w 3783"/>
              <a:gd name="T75" fmla="*/ 944 h 2564"/>
              <a:gd name="T76" fmla="*/ 3660 w 3783"/>
              <a:gd name="T77" fmla="*/ 1222 h 2564"/>
              <a:gd name="T78" fmla="*/ 3778 w 3783"/>
              <a:gd name="T79" fmla="*/ 1591 h 2564"/>
              <a:gd name="T80" fmla="*/ 3727 w 3783"/>
              <a:gd name="T81" fmla="*/ 1983 h 2564"/>
              <a:gd name="T82" fmla="*/ 3521 w 3783"/>
              <a:gd name="T83" fmla="*/ 2303 h 2564"/>
              <a:gd name="T84" fmla="*/ 3201 w 3783"/>
              <a:gd name="T85" fmla="*/ 2508 h 2564"/>
              <a:gd name="T86" fmla="*/ 2809 w 3783"/>
              <a:gd name="T87" fmla="*/ 2559 h 2564"/>
              <a:gd name="T88" fmla="*/ 2440 w 3783"/>
              <a:gd name="T89" fmla="*/ 2441 h 2564"/>
              <a:gd name="T90" fmla="*/ 2161 w 3783"/>
              <a:gd name="T91" fmla="*/ 2186 h 2564"/>
              <a:gd name="T92" fmla="*/ 2012 w 3783"/>
              <a:gd name="T93" fmla="*/ 1833 h 2564"/>
              <a:gd name="T94" fmla="*/ 2025 w 3783"/>
              <a:gd name="T95" fmla="*/ 1458 h 2564"/>
              <a:gd name="T96" fmla="*/ 1713 w 3783"/>
              <a:gd name="T97" fmla="*/ 1325 h 2564"/>
              <a:gd name="T98" fmla="*/ 1784 w 3783"/>
              <a:gd name="T99" fmla="*/ 1672 h 2564"/>
              <a:gd name="T100" fmla="*/ 1698 w 3783"/>
              <a:gd name="T101" fmla="*/ 2054 h 2564"/>
              <a:gd name="T102" fmla="*/ 1467 w 3783"/>
              <a:gd name="T103" fmla="*/ 2354 h 2564"/>
              <a:gd name="T104" fmla="*/ 1129 w 3783"/>
              <a:gd name="T105" fmla="*/ 2532 h 2564"/>
              <a:gd name="T106" fmla="*/ 732 w 3783"/>
              <a:gd name="T107" fmla="*/ 2549 h 2564"/>
              <a:gd name="T108" fmla="*/ 377 w 3783"/>
              <a:gd name="T109" fmla="*/ 2400 h 2564"/>
              <a:gd name="T110" fmla="*/ 122 w 3783"/>
              <a:gd name="T111" fmla="*/ 2122 h 2564"/>
              <a:gd name="T112" fmla="*/ 3 w 3783"/>
              <a:gd name="T113" fmla="*/ 1754 h 2564"/>
              <a:gd name="T114" fmla="*/ 56 w 3783"/>
              <a:gd name="T115" fmla="*/ 1361 h 2564"/>
              <a:gd name="T116" fmla="*/ 261 w 3783"/>
              <a:gd name="T117" fmla="*/ 1042 h 2564"/>
              <a:gd name="T118" fmla="*/ 873 w 3783"/>
              <a:gd name="T119" fmla="*/ 347 h 2564"/>
              <a:gd name="T120" fmla="*/ 995 w 3783"/>
              <a:gd name="T121" fmla="*/ 139 h 2564"/>
              <a:gd name="T122" fmla="*/ 1171 w 3783"/>
              <a:gd name="T123" fmla="*/ 28 h 2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83" h="2564">
                <a:moveTo>
                  <a:pt x="2891" y="1096"/>
                </a:moveTo>
                <a:lnTo>
                  <a:pt x="2831" y="1098"/>
                </a:lnTo>
                <a:lnTo>
                  <a:pt x="2774" y="1107"/>
                </a:lnTo>
                <a:lnTo>
                  <a:pt x="2719" y="1121"/>
                </a:lnTo>
                <a:lnTo>
                  <a:pt x="2666" y="1140"/>
                </a:lnTo>
                <a:lnTo>
                  <a:pt x="2616" y="1165"/>
                </a:lnTo>
                <a:lnTo>
                  <a:pt x="2567" y="1194"/>
                </a:lnTo>
                <a:lnTo>
                  <a:pt x="2524" y="1226"/>
                </a:lnTo>
                <a:lnTo>
                  <a:pt x="2483" y="1264"/>
                </a:lnTo>
                <a:lnTo>
                  <a:pt x="2445" y="1305"/>
                </a:lnTo>
                <a:lnTo>
                  <a:pt x="2413" y="1349"/>
                </a:lnTo>
                <a:lnTo>
                  <a:pt x="2383" y="1397"/>
                </a:lnTo>
                <a:lnTo>
                  <a:pt x="2359" y="1448"/>
                </a:lnTo>
                <a:lnTo>
                  <a:pt x="2339" y="1500"/>
                </a:lnTo>
                <a:lnTo>
                  <a:pt x="2325" y="1555"/>
                </a:lnTo>
                <a:lnTo>
                  <a:pt x="2316" y="1613"/>
                </a:lnTo>
                <a:lnTo>
                  <a:pt x="2314" y="1672"/>
                </a:lnTo>
                <a:lnTo>
                  <a:pt x="2316" y="1731"/>
                </a:lnTo>
                <a:lnTo>
                  <a:pt x="2325" y="1788"/>
                </a:lnTo>
                <a:lnTo>
                  <a:pt x="2339" y="1843"/>
                </a:lnTo>
                <a:lnTo>
                  <a:pt x="2359" y="1897"/>
                </a:lnTo>
                <a:lnTo>
                  <a:pt x="2383" y="1947"/>
                </a:lnTo>
                <a:lnTo>
                  <a:pt x="2413" y="1994"/>
                </a:lnTo>
                <a:lnTo>
                  <a:pt x="2445" y="2039"/>
                </a:lnTo>
                <a:lnTo>
                  <a:pt x="2483" y="2080"/>
                </a:lnTo>
                <a:lnTo>
                  <a:pt x="2524" y="2117"/>
                </a:lnTo>
                <a:lnTo>
                  <a:pt x="2567" y="2150"/>
                </a:lnTo>
                <a:lnTo>
                  <a:pt x="2616" y="2179"/>
                </a:lnTo>
                <a:lnTo>
                  <a:pt x="2666" y="2203"/>
                </a:lnTo>
                <a:lnTo>
                  <a:pt x="2719" y="2222"/>
                </a:lnTo>
                <a:lnTo>
                  <a:pt x="2774" y="2237"/>
                </a:lnTo>
                <a:lnTo>
                  <a:pt x="2831" y="2245"/>
                </a:lnTo>
                <a:lnTo>
                  <a:pt x="2891" y="2249"/>
                </a:lnTo>
                <a:lnTo>
                  <a:pt x="2949" y="2245"/>
                </a:lnTo>
                <a:lnTo>
                  <a:pt x="3007" y="2237"/>
                </a:lnTo>
                <a:lnTo>
                  <a:pt x="3062" y="2222"/>
                </a:lnTo>
                <a:lnTo>
                  <a:pt x="3115" y="2203"/>
                </a:lnTo>
                <a:lnTo>
                  <a:pt x="3166" y="2179"/>
                </a:lnTo>
                <a:lnTo>
                  <a:pt x="3213" y="2150"/>
                </a:lnTo>
                <a:lnTo>
                  <a:pt x="3258" y="2117"/>
                </a:lnTo>
                <a:lnTo>
                  <a:pt x="3299" y="2080"/>
                </a:lnTo>
                <a:lnTo>
                  <a:pt x="3336" y="2039"/>
                </a:lnTo>
                <a:lnTo>
                  <a:pt x="3369" y="1994"/>
                </a:lnTo>
                <a:lnTo>
                  <a:pt x="3398" y="1947"/>
                </a:lnTo>
                <a:lnTo>
                  <a:pt x="3422" y="1897"/>
                </a:lnTo>
                <a:lnTo>
                  <a:pt x="3441" y="1843"/>
                </a:lnTo>
                <a:lnTo>
                  <a:pt x="3456" y="1788"/>
                </a:lnTo>
                <a:lnTo>
                  <a:pt x="3464" y="1731"/>
                </a:lnTo>
                <a:lnTo>
                  <a:pt x="3468" y="1672"/>
                </a:lnTo>
                <a:lnTo>
                  <a:pt x="3464" y="1613"/>
                </a:lnTo>
                <a:lnTo>
                  <a:pt x="3456" y="1555"/>
                </a:lnTo>
                <a:lnTo>
                  <a:pt x="3441" y="1500"/>
                </a:lnTo>
                <a:lnTo>
                  <a:pt x="3422" y="1448"/>
                </a:lnTo>
                <a:lnTo>
                  <a:pt x="3398" y="1397"/>
                </a:lnTo>
                <a:lnTo>
                  <a:pt x="3369" y="1349"/>
                </a:lnTo>
                <a:lnTo>
                  <a:pt x="3336" y="1305"/>
                </a:lnTo>
                <a:lnTo>
                  <a:pt x="3299" y="1264"/>
                </a:lnTo>
                <a:lnTo>
                  <a:pt x="3258" y="1226"/>
                </a:lnTo>
                <a:lnTo>
                  <a:pt x="3213" y="1194"/>
                </a:lnTo>
                <a:lnTo>
                  <a:pt x="3166" y="1165"/>
                </a:lnTo>
                <a:lnTo>
                  <a:pt x="3115" y="1140"/>
                </a:lnTo>
                <a:lnTo>
                  <a:pt x="3062" y="1121"/>
                </a:lnTo>
                <a:lnTo>
                  <a:pt x="3007" y="1107"/>
                </a:lnTo>
                <a:lnTo>
                  <a:pt x="2949" y="1098"/>
                </a:lnTo>
                <a:lnTo>
                  <a:pt x="2891" y="1096"/>
                </a:lnTo>
                <a:close/>
                <a:moveTo>
                  <a:pt x="892" y="1096"/>
                </a:moveTo>
                <a:lnTo>
                  <a:pt x="832" y="1098"/>
                </a:lnTo>
                <a:lnTo>
                  <a:pt x="775" y="1107"/>
                </a:lnTo>
                <a:lnTo>
                  <a:pt x="720" y="1121"/>
                </a:lnTo>
                <a:lnTo>
                  <a:pt x="667" y="1140"/>
                </a:lnTo>
                <a:lnTo>
                  <a:pt x="617" y="1165"/>
                </a:lnTo>
                <a:lnTo>
                  <a:pt x="569" y="1194"/>
                </a:lnTo>
                <a:lnTo>
                  <a:pt x="525" y="1226"/>
                </a:lnTo>
                <a:lnTo>
                  <a:pt x="484" y="1264"/>
                </a:lnTo>
                <a:lnTo>
                  <a:pt x="447" y="1305"/>
                </a:lnTo>
                <a:lnTo>
                  <a:pt x="414" y="1349"/>
                </a:lnTo>
                <a:lnTo>
                  <a:pt x="384" y="1397"/>
                </a:lnTo>
                <a:lnTo>
                  <a:pt x="360" y="1448"/>
                </a:lnTo>
                <a:lnTo>
                  <a:pt x="341" y="1500"/>
                </a:lnTo>
                <a:lnTo>
                  <a:pt x="327" y="1555"/>
                </a:lnTo>
                <a:lnTo>
                  <a:pt x="318" y="1613"/>
                </a:lnTo>
                <a:lnTo>
                  <a:pt x="315" y="1672"/>
                </a:lnTo>
                <a:lnTo>
                  <a:pt x="318" y="1731"/>
                </a:lnTo>
                <a:lnTo>
                  <a:pt x="327" y="1788"/>
                </a:lnTo>
                <a:lnTo>
                  <a:pt x="341" y="1843"/>
                </a:lnTo>
                <a:lnTo>
                  <a:pt x="360" y="1897"/>
                </a:lnTo>
                <a:lnTo>
                  <a:pt x="384" y="1947"/>
                </a:lnTo>
                <a:lnTo>
                  <a:pt x="414" y="1994"/>
                </a:lnTo>
                <a:lnTo>
                  <a:pt x="447" y="2039"/>
                </a:lnTo>
                <a:lnTo>
                  <a:pt x="484" y="2080"/>
                </a:lnTo>
                <a:lnTo>
                  <a:pt x="525" y="2117"/>
                </a:lnTo>
                <a:lnTo>
                  <a:pt x="569" y="2150"/>
                </a:lnTo>
                <a:lnTo>
                  <a:pt x="617" y="2179"/>
                </a:lnTo>
                <a:lnTo>
                  <a:pt x="667" y="2203"/>
                </a:lnTo>
                <a:lnTo>
                  <a:pt x="720" y="2222"/>
                </a:lnTo>
                <a:lnTo>
                  <a:pt x="775" y="2237"/>
                </a:lnTo>
                <a:lnTo>
                  <a:pt x="832" y="2245"/>
                </a:lnTo>
                <a:lnTo>
                  <a:pt x="892" y="2249"/>
                </a:lnTo>
                <a:lnTo>
                  <a:pt x="951" y="2245"/>
                </a:lnTo>
                <a:lnTo>
                  <a:pt x="1008" y="2237"/>
                </a:lnTo>
                <a:lnTo>
                  <a:pt x="1063" y="2222"/>
                </a:lnTo>
                <a:lnTo>
                  <a:pt x="1117" y="2203"/>
                </a:lnTo>
                <a:lnTo>
                  <a:pt x="1167" y="2179"/>
                </a:lnTo>
                <a:lnTo>
                  <a:pt x="1214" y="2150"/>
                </a:lnTo>
                <a:lnTo>
                  <a:pt x="1259" y="2117"/>
                </a:lnTo>
                <a:lnTo>
                  <a:pt x="1300" y="2080"/>
                </a:lnTo>
                <a:lnTo>
                  <a:pt x="1337" y="2039"/>
                </a:lnTo>
                <a:lnTo>
                  <a:pt x="1370" y="1994"/>
                </a:lnTo>
                <a:lnTo>
                  <a:pt x="1399" y="1947"/>
                </a:lnTo>
                <a:lnTo>
                  <a:pt x="1423" y="1897"/>
                </a:lnTo>
                <a:lnTo>
                  <a:pt x="1443" y="1843"/>
                </a:lnTo>
                <a:lnTo>
                  <a:pt x="1457" y="1788"/>
                </a:lnTo>
                <a:lnTo>
                  <a:pt x="1465" y="1731"/>
                </a:lnTo>
                <a:lnTo>
                  <a:pt x="1469" y="1672"/>
                </a:lnTo>
                <a:lnTo>
                  <a:pt x="1465" y="1613"/>
                </a:lnTo>
                <a:lnTo>
                  <a:pt x="1457" y="1555"/>
                </a:lnTo>
                <a:lnTo>
                  <a:pt x="1443" y="1500"/>
                </a:lnTo>
                <a:lnTo>
                  <a:pt x="1423" y="1448"/>
                </a:lnTo>
                <a:lnTo>
                  <a:pt x="1399" y="1397"/>
                </a:lnTo>
                <a:lnTo>
                  <a:pt x="1370" y="1349"/>
                </a:lnTo>
                <a:lnTo>
                  <a:pt x="1337" y="1305"/>
                </a:lnTo>
                <a:lnTo>
                  <a:pt x="1300" y="1264"/>
                </a:lnTo>
                <a:lnTo>
                  <a:pt x="1259" y="1226"/>
                </a:lnTo>
                <a:lnTo>
                  <a:pt x="1214" y="1194"/>
                </a:lnTo>
                <a:lnTo>
                  <a:pt x="1167" y="1165"/>
                </a:lnTo>
                <a:lnTo>
                  <a:pt x="1117" y="1140"/>
                </a:lnTo>
                <a:lnTo>
                  <a:pt x="1063" y="1121"/>
                </a:lnTo>
                <a:lnTo>
                  <a:pt x="1008" y="1107"/>
                </a:lnTo>
                <a:lnTo>
                  <a:pt x="951" y="1098"/>
                </a:lnTo>
                <a:lnTo>
                  <a:pt x="892" y="1096"/>
                </a:lnTo>
                <a:close/>
                <a:moveTo>
                  <a:pt x="1330" y="0"/>
                </a:moveTo>
                <a:lnTo>
                  <a:pt x="1385" y="2"/>
                </a:lnTo>
                <a:lnTo>
                  <a:pt x="1439" y="11"/>
                </a:lnTo>
                <a:lnTo>
                  <a:pt x="1490" y="28"/>
                </a:lnTo>
                <a:lnTo>
                  <a:pt x="1539" y="48"/>
                </a:lnTo>
                <a:lnTo>
                  <a:pt x="1584" y="73"/>
                </a:lnTo>
                <a:lnTo>
                  <a:pt x="1626" y="103"/>
                </a:lnTo>
                <a:lnTo>
                  <a:pt x="1665" y="139"/>
                </a:lnTo>
                <a:lnTo>
                  <a:pt x="1666" y="139"/>
                </a:lnTo>
                <a:lnTo>
                  <a:pt x="1701" y="178"/>
                </a:lnTo>
                <a:lnTo>
                  <a:pt x="1730" y="220"/>
                </a:lnTo>
                <a:lnTo>
                  <a:pt x="1757" y="266"/>
                </a:lnTo>
                <a:lnTo>
                  <a:pt x="1777" y="314"/>
                </a:lnTo>
                <a:lnTo>
                  <a:pt x="1792" y="366"/>
                </a:lnTo>
                <a:lnTo>
                  <a:pt x="1801" y="418"/>
                </a:lnTo>
                <a:lnTo>
                  <a:pt x="1805" y="473"/>
                </a:lnTo>
                <a:lnTo>
                  <a:pt x="1801" y="533"/>
                </a:lnTo>
                <a:lnTo>
                  <a:pt x="1790" y="589"/>
                </a:lnTo>
                <a:lnTo>
                  <a:pt x="1773" y="643"/>
                </a:lnTo>
                <a:lnTo>
                  <a:pt x="1750" y="695"/>
                </a:lnTo>
                <a:lnTo>
                  <a:pt x="1721" y="743"/>
                </a:lnTo>
                <a:lnTo>
                  <a:pt x="1720" y="810"/>
                </a:lnTo>
                <a:lnTo>
                  <a:pt x="2063" y="810"/>
                </a:lnTo>
                <a:lnTo>
                  <a:pt x="2062" y="743"/>
                </a:lnTo>
                <a:lnTo>
                  <a:pt x="2032" y="695"/>
                </a:lnTo>
                <a:lnTo>
                  <a:pt x="2009" y="643"/>
                </a:lnTo>
                <a:lnTo>
                  <a:pt x="1992" y="589"/>
                </a:lnTo>
                <a:lnTo>
                  <a:pt x="1981" y="533"/>
                </a:lnTo>
                <a:lnTo>
                  <a:pt x="1978" y="473"/>
                </a:lnTo>
                <a:lnTo>
                  <a:pt x="1981" y="418"/>
                </a:lnTo>
                <a:lnTo>
                  <a:pt x="1991" y="366"/>
                </a:lnTo>
                <a:lnTo>
                  <a:pt x="2006" y="314"/>
                </a:lnTo>
                <a:lnTo>
                  <a:pt x="2026" y="266"/>
                </a:lnTo>
                <a:lnTo>
                  <a:pt x="2051" y="220"/>
                </a:lnTo>
                <a:lnTo>
                  <a:pt x="2082" y="178"/>
                </a:lnTo>
                <a:lnTo>
                  <a:pt x="2117" y="139"/>
                </a:lnTo>
                <a:lnTo>
                  <a:pt x="2117" y="139"/>
                </a:lnTo>
                <a:lnTo>
                  <a:pt x="2156" y="103"/>
                </a:lnTo>
                <a:lnTo>
                  <a:pt x="2198" y="73"/>
                </a:lnTo>
                <a:lnTo>
                  <a:pt x="2244" y="48"/>
                </a:lnTo>
                <a:lnTo>
                  <a:pt x="2292" y="28"/>
                </a:lnTo>
                <a:lnTo>
                  <a:pt x="2344" y="11"/>
                </a:lnTo>
                <a:lnTo>
                  <a:pt x="2397" y="2"/>
                </a:lnTo>
                <a:lnTo>
                  <a:pt x="2452" y="0"/>
                </a:lnTo>
                <a:lnTo>
                  <a:pt x="2507" y="2"/>
                </a:lnTo>
                <a:lnTo>
                  <a:pt x="2561" y="11"/>
                </a:lnTo>
                <a:lnTo>
                  <a:pt x="2611" y="28"/>
                </a:lnTo>
                <a:lnTo>
                  <a:pt x="2660" y="48"/>
                </a:lnTo>
                <a:lnTo>
                  <a:pt x="2706" y="73"/>
                </a:lnTo>
                <a:lnTo>
                  <a:pt x="2749" y="103"/>
                </a:lnTo>
                <a:lnTo>
                  <a:pt x="2786" y="139"/>
                </a:lnTo>
                <a:lnTo>
                  <a:pt x="2788" y="139"/>
                </a:lnTo>
                <a:lnTo>
                  <a:pt x="2820" y="175"/>
                </a:lnTo>
                <a:lnTo>
                  <a:pt x="2848" y="214"/>
                </a:lnTo>
                <a:lnTo>
                  <a:pt x="2874" y="256"/>
                </a:lnTo>
                <a:lnTo>
                  <a:pt x="2893" y="300"/>
                </a:lnTo>
                <a:lnTo>
                  <a:pt x="2909" y="347"/>
                </a:lnTo>
                <a:lnTo>
                  <a:pt x="2921" y="397"/>
                </a:lnTo>
                <a:lnTo>
                  <a:pt x="3344" y="903"/>
                </a:lnTo>
                <a:lnTo>
                  <a:pt x="3407" y="944"/>
                </a:lnTo>
                <a:lnTo>
                  <a:pt x="3466" y="990"/>
                </a:lnTo>
                <a:lnTo>
                  <a:pt x="3521" y="1042"/>
                </a:lnTo>
                <a:lnTo>
                  <a:pt x="3573" y="1098"/>
                </a:lnTo>
                <a:lnTo>
                  <a:pt x="3619" y="1158"/>
                </a:lnTo>
                <a:lnTo>
                  <a:pt x="3660" y="1222"/>
                </a:lnTo>
                <a:lnTo>
                  <a:pt x="3697" y="1289"/>
                </a:lnTo>
                <a:lnTo>
                  <a:pt x="3727" y="1361"/>
                </a:lnTo>
                <a:lnTo>
                  <a:pt x="3751" y="1435"/>
                </a:lnTo>
                <a:lnTo>
                  <a:pt x="3768" y="1512"/>
                </a:lnTo>
                <a:lnTo>
                  <a:pt x="3778" y="1591"/>
                </a:lnTo>
                <a:lnTo>
                  <a:pt x="3783" y="1672"/>
                </a:lnTo>
                <a:lnTo>
                  <a:pt x="3778" y="1754"/>
                </a:lnTo>
                <a:lnTo>
                  <a:pt x="3768" y="1833"/>
                </a:lnTo>
                <a:lnTo>
                  <a:pt x="3751" y="1908"/>
                </a:lnTo>
                <a:lnTo>
                  <a:pt x="3727" y="1983"/>
                </a:lnTo>
                <a:lnTo>
                  <a:pt x="3697" y="2054"/>
                </a:lnTo>
                <a:lnTo>
                  <a:pt x="3660" y="2122"/>
                </a:lnTo>
                <a:lnTo>
                  <a:pt x="3619" y="2186"/>
                </a:lnTo>
                <a:lnTo>
                  <a:pt x="3573" y="2247"/>
                </a:lnTo>
                <a:lnTo>
                  <a:pt x="3521" y="2303"/>
                </a:lnTo>
                <a:lnTo>
                  <a:pt x="3465" y="2354"/>
                </a:lnTo>
                <a:lnTo>
                  <a:pt x="3404" y="2400"/>
                </a:lnTo>
                <a:lnTo>
                  <a:pt x="3340" y="2441"/>
                </a:lnTo>
                <a:lnTo>
                  <a:pt x="3273" y="2478"/>
                </a:lnTo>
                <a:lnTo>
                  <a:pt x="3201" y="2508"/>
                </a:lnTo>
                <a:lnTo>
                  <a:pt x="3128" y="2532"/>
                </a:lnTo>
                <a:lnTo>
                  <a:pt x="3051" y="2549"/>
                </a:lnTo>
                <a:lnTo>
                  <a:pt x="2972" y="2559"/>
                </a:lnTo>
                <a:lnTo>
                  <a:pt x="2891" y="2564"/>
                </a:lnTo>
                <a:lnTo>
                  <a:pt x="2809" y="2559"/>
                </a:lnTo>
                <a:lnTo>
                  <a:pt x="2730" y="2549"/>
                </a:lnTo>
                <a:lnTo>
                  <a:pt x="2653" y="2532"/>
                </a:lnTo>
                <a:lnTo>
                  <a:pt x="2579" y="2508"/>
                </a:lnTo>
                <a:lnTo>
                  <a:pt x="2508" y="2478"/>
                </a:lnTo>
                <a:lnTo>
                  <a:pt x="2440" y="2441"/>
                </a:lnTo>
                <a:lnTo>
                  <a:pt x="2376" y="2400"/>
                </a:lnTo>
                <a:lnTo>
                  <a:pt x="2316" y="2354"/>
                </a:lnTo>
                <a:lnTo>
                  <a:pt x="2260" y="2303"/>
                </a:lnTo>
                <a:lnTo>
                  <a:pt x="2208" y="2247"/>
                </a:lnTo>
                <a:lnTo>
                  <a:pt x="2161" y="2186"/>
                </a:lnTo>
                <a:lnTo>
                  <a:pt x="2120" y="2122"/>
                </a:lnTo>
                <a:lnTo>
                  <a:pt x="2085" y="2054"/>
                </a:lnTo>
                <a:lnTo>
                  <a:pt x="2055" y="1983"/>
                </a:lnTo>
                <a:lnTo>
                  <a:pt x="2031" y="1908"/>
                </a:lnTo>
                <a:lnTo>
                  <a:pt x="2012" y="1833"/>
                </a:lnTo>
                <a:lnTo>
                  <a:pt x="2002" y="1754"/>
                </a:lnTo>
                <a:lnTo>
                  <a:pt x="1999" y="1672"/>
                </a:lnTo>
                <a:lnTo>
                  <a:pt x="2001" y="1599"/>
                </a:lnTo>
                <a:lnTo>
                  <a:pt x="2010" y="1527"/>
                </a:lnTo>
                <a:lnTo>
                  <a:pt x="2025" y="1458"/>
                </a:lnTo>
                <a:lnTo>
                  <a:pt x="2045" y="1390"/>
                </a:lnTo>
                <a:lnTo>
                  <a:pt x="2069" y="1325"/>
                </a:lnTo>
                <a:lnTo>
                  <a:pt x="2067" y="1242"/>
                </a:lnTo>
                <a:lnTo>
                  <a:pt x="1714" y="1242"/>
                </a:lnTo>
                <a:lnTo>
                  <a:pt x="1713" y="1325"/>
                </a:lnTo>
                <a:lnTo>
                  <a:pt x="1738" y="1390"/>
                </a:lnTo>
                <a:lnTo>
                  <a:pt x="1758" y="1458"/>
                </a:lnTo>
                <a:lnTo>
                  <a:pt x="1772" y="1527"/>
                </a:lnTo>
                <a:lnTo>
                  <a:pt x="1781" y="1599"/>
                </a:lnTo>
                <a:lnTo>
                  <a:pt x="1784" y="1672"/>
                </a:lnTo>
                <a:lnTo>
                  <a:pt x="1780" y="1754"/>
                </a:lnTo>
                <a:lnTo>
                  <a:pt x="1769" y="1833"/>
                </a:lnTo>
                <a:lnTo>
                  <a:pt x="1752" y="1908"/>
                </a:lnTo>
                <a:lnTo>
                  <a:pt x="1728" y="1983"/>
                </a:lnTo>
                <a:lnTo>
                  <a:pt x="1698" y="2054"/>
                </a:lnTo>
                <a:lnTo>
                  <a:pt x="1662" y="2122"/>
                </a:lnTo>
                <a:lnTo>
                  <a:pt x="1620" y="2186"/>
                </a:lnTo>
                <a:lnTo>
                  <a:pt x="1574" y="2247"/>
                </a:lnTo>
                <a:lnTo>
                  <a:pt x="1523" y="2303"/>
                </a:lnTo>
                <a:lnTo>
                  <a:pt x="1467" y="2354"/>
                </a:lnTo>
                <a:lnTo>
                  <a:pt x="1406" y="2400"/>
                </a:lnTo>
                <a:lnTo>
                  <a:pt x="1342" y="2441"/>
                </a:lnTo>
                <a:lnTo>
                  <a:pt x="1274" y="2478"/>
                </a:lnTo>
                <a:lnTo>
                  <a:pt x="1203" y="2508"/>
                </a:lnTo>
                <a:lnTo>
                  <a:pt x="1129" y="2532"/>
                </a:lnTo>
                <a:lnTo>
                  <a:pt x="1053" y="2549"/>
                </a:lnTo>
                <a:lnTo>
                  <a:pt x="974" y="2559"/>
                </a:lnTo>
                <a:lnTo>
                  <a:pt x="892" y="2564"/>
                </a:lnTo>
                <a:lnTo>
                  <a:pt x="811" y="2559"/>
                </a:lnTo>
                <a:lnTo>
                  <a:pt x="732" y="2549"/>
                </a:lnTo>
                <a:lnTo>
                  <a:pt x="655" y="2532"/>
                </a:lnTo>
                <a:lnTo>
                  <a:pt x="580" y="2508"/>
                </a:lnTo>
                <a:lnTo>
                  <a:pt x="509" y="2478"/>
                </a:lnTo>
                <a:lnTo>
                  <a:pt x="441" y="2441"/>
                </a:lnTo>
                <a:lnTo>
                  <a:pt x="377" y="2400"/>
                </a:lnTo>
                <a:lnTo>
                  <a:pt x="318" y="2354"/>
                </a:lnTo>
                <a:lnTo>
                  <a:pt x="261" y="2303"/>
                </a:lnTo>
                <a:lnTo>
                  <a:pt x="210" y="2247"/>
                </a:lnTo>
                <a:lnTo>
                  <a:pt x="163" y="2186"/>
                </a:lnTo>
                <a:lnTo>
                  <a:pt x="122" y="2122"/>
                </a:lnTo>
                <a:lnTo>
                  <a:pt x="86" y="2054"/>
                </a:lnTo>
                <a:lnTo>
                  <a:pt x="56" y="1983"/>
                </a:lnTo>
                <a:lnTo>
                  <a:pt x="32" y="1908"/>
                </a:lnTo>
                <a:lnTo>
                  <a:pt x="15" y="1833"/>
                </a:lnTo>
                <a:lnTo>
                  <a:pt x="3" y="1754"/>
                </a:lnTo>
                <a:lnTo>
                  <a:pt x="0" y="1672"/>
                </a:lnTo>
                <a:lnTo>
                  <a:pt x="3" y="1591"/>
                </a:lnTo>
                <a:lnTo>
                  <a:pt x="15" y="1512"/>
                </a:lnTo>
                <a:lnTo>
                  <a:pt x="32" y="1435"/>
                </a:lnTo>
                <a:lnTo>
                  <a:pt x="56" y="1361"/>
                </a:lnTo>
                <a:lnTo>
                  <a:pt x="86" y="1289"/>
                </a:lnTo>
                <a:lnTo>
                  <a:pt x="122" y="1222"/>
                </a:lnTo>
                <a:lnTo>
                  <a:pt x="163" y="1158"/>
                </a:lnTo>
                <a:lnTo>
                  <a:pt x="210" y="1098"/>
                </a:lnTo>
                <a:lnTo>
                  <a:pt x="261" y="1042"/>
                </a:lnTo>
                <a:lnTo>
                  <a:pt x="316" y="990"/>
                </a:lnTo>
                <a:lnTo>
                  <a:pt x="376" y="944"/>
                </a:lnTo>
                <a:lnTo>
                  <a:pt x="439" y="903"/>
                </a:lnTo>
                <a:lnTo>
                  <a:pt x="862" y="397"/>
                </a:lnTo>
                <a:lnTo>
                  <a:pt x="873" y="347"/>
                </a:lnTo>
                <a:lnTo>
                  <a:pt x="889" y="300"/>
                </a:lnTo>
                <a:lnTo>
                  <a:pt x="909" y="256"/>
                </a:lnTo>
                <a:lnTo>
                  <a:pt x="933" y="214"/>
                </a:lnTo>
                <a:lnTo>
                  <a:pt x="962" y="175"/>
                </a:lnTo>
                <a:lnTo>
                  <a:pt x="995" y="139"/>
                </a:lnTo>
                <a:lnTo>
                  <a:pt x="995" y="139"/>
                </a:lnTo>
                <a:lnTo>
                  <a:pt x="1034" y="103"/>
                </a:lnTo>
                <a:lnTo>
                  <a:pt x="1077" y="73"/>
                </a:lnTo>
                <a:lnTo>
                  <a:pt x="1123" y="48"/>
                </a:lnTo>
                <a:lnTo>
                  <a:pt x="1171" y="28"/>
                </a:lnTo>
                <a:lnTo>
                  <a:pt x="1222" y="11"/>
                </a:lnTo>
                <a:lnTo>
                  <a:pt x="1275" y="2"/>
                </a:lnTo>
                <a:lnTo>
                  <a:pt x="1330" y="0"/>
                </a:lnTo>
                <a:close/>
              </a:path>
            </a:pathLst>
          </a:custGeom>
          <a:solidFill>
            <a:srgbClr val="0D5CA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D7BCACAE-344F-FB8D-F266-DFC0A189001B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185729" y="2650295"/>
            <a:ext cx="91440" cy="91440"/>
          </a:xfrm>
          <a:prstGeom prst="ellipse">
            <a:avLst/>
          </a:prstGeom>
          <a:solidFill>
            <a:srgbClr val="020C4A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15171E87-3C2E-6173-2F0C-2048302973B2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8185729" y="3714549"/>
            <a:ext cx="91440" cy="91440"/>
          </a:xfrm>
          <a:prstGeom prst="ellipse">
            <a:avLst/>
          </a:prstGeom>
          <a:solidFill>
            <a:srgbClr val="020C4A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id="{D9B88C35-45E5-AD47-CE16-99DF2CCF2118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185729" y="5134754"/>
            <a:ext cx="91440" cy="91440"/>
          </a:xfrm>
          <a:prstGeom prst="ellipse">
            <a:avLst/>
          </a:prstGeom>
          <a:solidFill>
            <a:srgbClr val="020C4A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C9A2E678-02E6-1360-BEEB-A9136654697A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275057" y="2650295"/>
            <a:ext cx="91440" cy="91440"/>
          </a:xfrm>
          <a:prstGeom prst="ellipse">
            <a:avLst/>
          </a:prstGeom>
          <a:solidFill>
            <a:srgbClr val="0D5CAB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C33AC518-B586-34E5-8939-3636D62BB9A8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275057" y="3974150"/>
            <a:ext cx="91440" cy="91440"/>
          </a:xfrm>
          <a:prstGeom prst="ellipse">
            <a:avLst/>
          </a:prstGeom>
          <a:solidFill>
            <a:srgbClr val="0D5CAB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2A90D89D-D576-09CB-DBC3-9DBE3FC1A28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275057" y="5440892"/>
            <a:ext cx="91440" cy="91440"/>
          </a:xfrm>
          <a:prstGeom prst="ellipse">
            <a:avLst/>
          </a:prstGeom>
          <a:solidFill>
            <a:srgbClr val="0D5CAB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0" name="Picture 2" descr="Rolled dollars and coins stack on white table">
            <a:extLst>
              <a:ext uri="{FF2B5EF4-FFF2-40B4-BE49-F238E27FC236}">
                <a16:creationId xmlns:a16="http://schemas.microsoft.com/office/drawing/2014/main" id="{989C0CAA-F361-F76D-8936-AB13B97496B7}"/>
              </a:ext>
            </a:extLst>
          </p:cNvPr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074" y="1563812"/>
            <a:ext cx="742702" cy="742702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56952F59-AF12-988C-D381-95553CB59FFD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8288383" y="1436940"/>
            <a:ext cx="3840480" cy="996446"/>
          </a:xfrm>
          <a:prstGeom prst="roundRect">
            <a:avLst>
              <a:gd name="adj" fmla="val 0"/>
            </a:avLst>
          </a:prstGeom>
          <a:noFill/>
          <a:ln>
            <a:solidFill>
              <a:srgbClr val="C7C7C7"/>
            </a:solidFill>
          </a:ln>
          <a:effectLst/>
        </p:spPr>
        <p:txBody>
          <a:bodyPr rIns="914400" rtlCol="0"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020C4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industry needs radical transformation.</a:t>
            </a:r>
            <a:endParaRPr kumimoji="0" lang="en-IN" sz="2000" b="1" i="0" u="none" strike="noStrike" kern="0" cap="none" spc="0" normalizeH="0" baseline="0" noProof="0">
              <a:ln>
                <a:noFill/>
              </a:ln>
              <a:solidFill>
                <a:srgbClr val="020C4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982B62E-EB9F-B898-C62A-52AB17233826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11222354" y="3779742"/>
            <a:ext cx="713333" cy="713333"/>
          </a:xfrm>
          <a:prstGeom prst="ellipse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E1C46F0-6084-7DB0-007D-58336A873BCA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11245039" y="5074516"/>
            <a:ext cx="713333" cy="713333"/>
          </a:xfrm>
          <a:prstGeom prst="ellipse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E17386A-31F8-528B-A79C-22F8F5C98681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8354103" y="2550163"/>
            <a:ext cx="2660217" cy="8229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en-US">
                <a:cs typeface="Times New Roman" panose="02020603050405020304" pitchFamily="18" charset="0"/>
              </a:rPr>
              <a:t>Adapting the “shared use” model (e.g., Civica Rx) to other applica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A970BF-865C-8370-EC41-18E1A67FC5F3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353521" y="3891509"/>
            <a:ext cx="3109977" cy="54864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en-US">
                <a:cs typeface="Times New Roman" panose="02020603050405020304" pitchFamily="18" charset="0"/>
              </a:rPr>
              <a:t>Rapid adoption of AI to enhance productivity (from “wait and see” to “adopt and improve”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31A74F-AC40-600F-CB25-7EDC1EAE5D8B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363399" y="5018606"/>
            <a:ext cx="2991424" cy="82296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cs typeface="Times New Roman" panose="02020603050405020304" pitchFamily="18" charset="0"/>
              </a:rPr>
              <a:t>Large-scale partnerships to address root causes of poor health (e.g., Healthy State)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C8B5327-2A7F-6E20-2CC6-514EC239A751}"/>
              </a:ext>
            </a:extLst>
          </p:cNvPr>
          <p:cNvGrpSpPr/>
          <p:nvPr>
            <p:custDataLst>
              <p:tags r:id="rId30"/>
            </p:custDataLst>
          </p:nvPr>
        </p:nvGrpSpPr>
        <p:grpSpPr>
          <a:xfrm>
            <a:off x="11344565" y="3909772"/>
            <a:ext cx="468910" cy="406544"/>
            <a:chOff x="4259838" y="3394062"/>
            <a:chExt cx="527336" cy="457200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C851577-8F0D-FB3C-4C13-ABF6D4B5C96B}"/>
                </a:ext>
              </a:extLst>
            </p:cNvPr>
            <p:cNvSpPr/>
            <p:nvPr/>
          </p:nvSpPr>
          <p:spPr>
            <a:xfrm>
              <a:off x="4259838" y="3394062"/>
              <a:ext cx="527336" cy="457200"/>
            </a:xfrm>
            <a:custGeom>
              <a:avLst/>
              <a:gdLst>
                <a:gd name="connsiteX0" fmla="*/ 380542 w 391819"/>
                <a:gd name="connsiteY0" fmla="*/ 283999 h 339707"/>
                <a:gd name="connsiteX1" fmla="*/ 297689 w 391819"/>
                <a:gd name="connsiteY1" fmla="*/ 214570 h 339707"/>
                <a:gd name="connsiteX2" fmla="*/ 275972 w 391819"/>
                <a:gd name="connsiteY2" fmla="*/ 207301 h 339707"/>
                <a:gd name="connsiteX3" fmla="*/ 248481 w 391819"/>
                <a:gd name="connsiteY3" fmla="*/ 184295 h 339707"/>
                <a:gd name="connsiteX4" fmla="*/ 246547 w 391819"/>
                <a:gd name="connsiteY4" fmla="*/ 182888 h 339707"/>
                <a:gd name="connsiteX5" fmla="*/ 234297 w 391819"/>
                <a:gd name="connsiteY5" fmla="*/ 53260 h 339707"/>
                <a:gd name="connsiteX6" fmla="*/ 215745 w 391819"/>
                <a:gd name="connsiteY6" fmla="*/ 32745 h 339707"/>
                <a:gd name="connsiteX7" fmla="*/ 193237 w 391819"/>
                <a:gd name="connsiteY7" fmla="*/ 16508 h 339707"/>
                <a:gd name="connsiteX8" fmla="*/ 192856 w 391819"/>
                <a:gd name="connsiteY8" fmla="*/ 16244 h 339707"/>
                <a:gd name="connsiteX9" fmla="*/ 184063 w 391819"/>
                <a:gd name="connsiteY9" fmla="*/ 11760 h 339707"/>
                <a:gd name="connsiteX10" fmla="*/ 11848 w 391819"/>
                <a:gd name="connsiteY10" fmla="*/ 74476 h 339707"/>
                <a:gd name="connsiteX11" fmla="*/ -282 w 391819"/>
                <a:gd name="connsiteY11" fmla="*/ 128376 h 339707"/>
                <a:gd name="connsiteX12" fmla="*/ 15310 w 391819"/>
                <a:gd name="connsiteY12" fmla="*/ 189482 h 339707"/>
                <a:gd name="connsiteX13" fmla="*/ 32572 w 391819"/>
                <a:gd name="connsiteY13" fmla="*/ 213749 h 339707"/>
                <a:gd name="connsiteX14" fmla="*/ 104141 w 391819"/>
                <a:gd name="connsiteY14" fmla="*/ 254545 h 339707"/>
                <a:gd name="connsiteX15" fmla="*/ 129199 w 391819"/>
                <a:gd name="connsiteY15" fmla="*/ 256978 h 339707"/>
                <a:gd name="connsiteX16" fmla="*/ 218822 w 391819"/>
                <a:gd name="connsiteY16" fmla="*/ 221047 h 339707"/>
                <a:gd name="connsiteX17" fmla="*/ 246195 w 391819"/>
                <a:gd name="connsiteY17" fmla="*/ 244053 h 339707"/>
                <a:gd name="connsiteX18" fmla="*/ 256922 w 391819"/>
                <a:gd name="connsiteY18" fmla="*/ 262605 h 339707"/>
                <a:gd name="connsiteX19" fmla="*/ 339628 w 391819"/>
                <a:gd name="connsiteY19" fmla="*/ 331888 h 339707"/>
                <a:gd name="connsiteX20" fmla="*/ 384117 w 391819"/>
                <a:gd name="connsiteY20" fmla="*/ 328166 h 339707"/>
                <a:gd name="connsiteX21" fmla="*/ 380425 w 391819"/>
                <a:gd name="connsiteY21" fmla="*/ 283941 h 339707"/>
                <a:gd name="connsiteX22" fmla="*/ 129316 w 391819"/>
                <a:gd name="connsiteY22" fmla="*/ 223919 h 339707"/>
                <a:gd name="connsiteX23" fmla="*/ 101972 w 391819"/>
                <a:gd name="connsiteY23" fmla="*/ 219816 h 339707"/>
                <a:gd name="connsiteX24" fmla="*/ 73603 w 391819"/>
                <a:gd name="connsiteY24" fmla="*/ 206158 h 339707"/>
                <a:gd name="connsiteX25" fmla="*/ 59388 w 391819"/>
                <a:gd name="connsiteY25" fmla="*/ 193761 h 339707"/>
                <a:gd name="connsiteX26" fmla="*/ 52501 w 391819"/>
                <a:gd name="connsiteY26" fmla="*/ 185643 h 339707"/>
                <a:gd name="connsiteX27" fmla="*/ 33334 w 391819"/>
                <a:gd name="connsiteY27" fmla="*/ 128522 h 339707"/>
                <a:gd name="connsiteX28" fmla="*/ 129316 w 391819"/>
                <a:gd name="connsiteY28" fmla="*/ 32891 h 339707"/>
                <a:gd name="connsiteX29" fmla="*/ 162053 w 391819"/>
                <a:gd name="connsiteY29" fmla="*/ 38753 h 339707"/>
                <a:gd name="connsiteX30" fmla="*/ 194643 w 391819"/>
                <a:gd name="connsiteY30" fmla="*/ 58711 h 339707"/>
                <a:gd name="connsiteX31" fmla="*/ 225328 w 391819"/>
                <a:gd name="connsiteY31" fmla="*/ 128522 h 339707"/>
                <a:gd name="connsiteX32" fmla="*/ 129316 w 391819"/>
                <a:gd name="connsiteY32" fmla="*/ 223919 h 339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91819" h="339707">
                  <a:moveTo>
                    <a:pt x="380542" y="283999"/>
                  </a:moveTo>
                  <a:lnTo>
                    <a:pt x="297689" y="214570"/>
                  </a:lnTo>
                  <a:cubicBezTo>
                    <a:pt x="291584" y="209570"/>
                    <a:pt x="283856" y="206985"/>
                    <a:pt x="275972" y="207301"/>
                  </a:cubicBezTo>
                  <a:lnTo>
                    <a:pt x="248481" y="184295"/>
                  </a:lnTo>
                  <a:cubicBezTo>
                    <a:pt x="247872" y="183779"/>
                    <a:pt x="247227" y="183307"/>
                    <a:pt x="246547" y="182888"/>
                  </a:cubicBezTo>
                  <a:cubicBezTo>
                    <a:pt x="266397" y="140676"/>
                    <a:pt x="261702" y="91005"/>
                    <a:pt x="234297" y="53260"/>
                  </a:cubicBezTo>
                  <a:cubicBezTo>
                    <a:pt x="228913" y="45740"/>
                    <a:pt x="222688" y="38855"/>
                    <a:pt x="215745" y="32745"/>
                  </a:cubicBezTo>
                  <a:cubicBezTo>
                    <a:pt x="208860" y="26523"/>
                    <a:pt x="201314" y="21077"/>
                    <a:pt x="193237" y="16508"/>
                  </a:cubicBezTo>
                  <a:lnTo>
                    <a:pt x="192856" y="16244"/>
                  </a:lnTo>
                  <a:lnTo>
                    <a:pt x="184063" y="11760"/>
                  </a:lnTo>
                  <a:cubicBezTo>
                    <a:pt x="119188" y="-18476"/>
                    <a:pt x="42085" y="9603"/>
                    <a:pt x="11848" y="74476"/>
                  </a:cubicBezTo>
                  <a:cubicBezTo>
                    <a:pt x="3976" y="91363"/>
                    <a:pt x="-159" y="109748"/>
                    <a:pt x="-282" y="128376"/>
                  </a:cubicBezTo>
                  <a:cubicBezTo>
                    <a:pt x="-317" y="149732"/>
                    <a:pt x="5046" y="170752"/>
                    <a:pt x="15310" y="189482"/>
                  </a:cubicBezTo>
                  <a:cubicBezTo>
                    <a:pt x="20069" y="198236"/>
                    <a:pt x="25863" y="206384"/>
                    <a:pt x="32572" y="213749"/>
                  </a:cubicBezTo>
                  <a:cubicBezTo>
                    <a:pt x="51343" y="234786"/>
                    <a:pt x="76475" y="249112"/>
                    <a:pt x="104141" y="254545"/>
                  </a:cubicBezTo>
                  <a:cubicBezTo>
                    <a:pt x="112400" y="256125"/>
                    <a:pt x="120791" y="256940"/>
                    <a:pt x="129199" y="256978"/>
                  </a:cubicBezTo>
                  <a:cubicBezTo>
                    <a:pt x="162592" y="257025"/>
                    <a:pt x="194711" y="244150"/>
                    <a:pt x="218822" y="221047"/>
                  </a:cubicBezTo>
                  <a:cubicBezTo>
                    <a:pt x="229051" y="229604"/>
                    <a:pt x="238136" y="237283"/>
                    <a:pt x="246195" y="244053"/>
                  </a:cubicBezTo>
                  <a:cubicBezTo>
                    <a:pt x="247453" y="251315"/>
                    <a:pt x="251254" y="257892"/>
                    <a:pt x="256922" y="262605"/>
                  </a:cubicBezTo>
                  <a:lnTo>
                    <a:pt x="339628" y="331888"/>
                  </a:lnTo>
                  <a:cubicBezTo>
                    <a:pt x="352960" y="343081"/>
                    <a:pt x="372828" y="341419"/>
                    <a:pt x="384117" y="328166"/>
                  </a:cubicBezTo>
                  <a:cubicBezTo>
                    <a:pt x="395307" y="314934"/>
                    <a:pt x="393654" y="295136"/>
                    <a:pt x="380425" y="283941"/>
                  </a:cubicBezTo>
                  <a:close/>
                  <a:moveTo>
                    <a:pt x="129316" y="223919"/>
                  </a:moveTo>
                  <a:cubicBezTo>
                    <a:pt x="120046" y="223930"/>
                    <a:pt x="110829" y="222547"/>
                    <a:pt x="101972" y="219816"/>
                  </a:cubicBezTo>
                  <a:cubicBezTo>
                    <a:pt x="91794" y="216949"/>
                    <a:pt x="82193" y="212328"/>
                    <a:pt x="73603" y="206158"/>
                  </a:cubicBezTo>
                  <a:cubicBezTo>
                    <a:pt x="68403" y="202586"/>
                    <a:pt x="63635" y="198427"/>
                    <a:pt x="59388" y="193761"/>
                  </a:cubicBezTo>
                  <a:cubicBezTo>
                    <a:pt x="56885" y="191238"/>
                    <a:pt x="54582" y="188524"/>
                    <a:pt x="52501" y="185643"/>
                  </a:cubicBezTo>
                  <a:cubicBezTo>
                    <a:pt x="40039" y="169210"/>
                    <a:pt x="33304" y="149146"/>
                    <a:pt x="33334" y="128522"/>
                  </a:cubicBezTo>
                  <a:cubicBezTo>
                    <a:pt x="33513" y="75642"/>
                    <a:pt x="76437" y="32874"/>
                    <a:pt x="129316" y="32891"/>
                  </a:cubicBezTo>
                  <a:cubicBezTo>
                    <a:pt x="140491" y="32871"/>
                    <a:pt x="151579" y="34858"/>
                    <a:pt x="162053" y="38753"/>
                  </a:cubicBezTo>
                  <a:cubicBezTo>
                    <a:pt x="174192" y="43052"/>
                    <a:pt x="185294" y="49851"/>
                    <a:pt x="194643" y="58711"/>
                  </a:cubicBezTo>
                  <a:cubicBezTo>
                    <a:pt x="214262" y="76612"/>
                    <a:pt x="225405" y="101966"/>
                    <a:pt x="225328" y="128522"/>
                  </a:cubicBezTo>
                  <a:cubicBezTo>
                    <a:pt x="225071" y="181341"/>
                    <a:pt x="182135" y="224001"/>
                    <a:pt x="129316" y="223919"/>
                  </a:cubicBezTo>
                  <a:close/>
                </a:path>
              </a:pathLst>
            </a:custGeom>
            <a:solidFill>
              <a:srgbClr val="020C4A"/>
            </a:solidFill>
            <a:ln w="289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8">
              <a:extLst>
                <a:ext uri="{FF2B5EF4-FFF2-40B4-BE49-F238E27FC236}">
                  <a16:creationId xmlns:a16="http://schemas.microsoft.com/office/drawing/2014/main" id="{28492538-F76D-BB5F-3720-85B180339B8F}"/>
                </a:ext>
              </a:extLst>
            </p:cNvPr>
            <p:cNvSpPr>
              <a:spLocks noChangeAspect="1"/>
            </p:cNvSpPr>
            <p:nvPr/>
          </p:nvSpPr>
          <p:spPr bwMode="auto">
            <a:xfrm rot="2700000">
              <a:off x="4339641" y="3481392"/>
              <a:ext cx="188764" cy="182455"/>
            </a:xfrm>
            <a:custGeom>
              <a:avLst/>
              <a:gdLst>
                <a:gd name="T0" fmla="*/ 0 w 359"/>
                <a:gd name="T1" fmla="*/ 118 h 347"/>
                <a:gd name="T2" fmla="*/ 125 w 359"/>
                <a:gd name="T3" fmla="*/ 118 h 347"/>
                <a:gd name="T4" fmla="*/ 125 w 359"/>
                <a:gd name="T5" fmla="*/ 0 h 347"/>
                <a:gd name="T6" fmla="*/ 236 w 359"/>
                <a:gd name="T7" fmla="*/ 0 h 347"/>
                <a:gd name="T8" fmla="*/ 236 w 359"/>
                <a:gd name="T9" fmla="*/ 118 h 347"/>
                <a:gd name="T10" fmla="*/ 359 w 359"/>
                <a:gd name="T11" fmla="*/ 118 h 347"/>
                <a:gd name="T12" fmla="*/ 359 w 359"/>
                <a:gd name="T13" fmla="*/ 229 h 347"/>
                <a:gd name="T14" fmla="*/ 236 w 359"/>
                <a:gd name="T15" fmla="*/ 229 h 347"/>
                <a:gd name="T16" fmla="*/ 236 w 359"/>
                <a:gd name="T17" fmla="*/ 347 h 347"/>
                <a:gd name="T18" fmla="*/ 125 w 359"/>
                <a:gd name="T19" fmla="*/ 347 h 347"/>
                <a:gd name="T20" fmla="*/ 125 w 359"/>
                <a:gd name="T21" fmla="*/ 229 h 347"/>
                <a:gd name="T22" fmla="*/ 0 w 359"/>
                <a:gd name="T23" fmla="*/ 229 h 347"/>
                <a:gd name="T24" fmla="*/ 0 w 359"/>
                <a:gd name="T25" fmla="*/ 118 h 347"/>
                <a:gd name="T26" fmla="*/ 0 w 359"/>
                <a:gd name="T27" fmla="*/ 11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59" h="347">
                  <a:moveTo>
                    <a:pt x="0" y="118"/>
                  </a:moveTo>
                  <a:lnTo>
                    <a:pt x="125" y="118"/>
                  </a:lnTo>
                  <a:lnTo>
                    <a:pt x="125" y="0"/>
                  </a:lnTo>
                  <a:lnTo>
                    <a:pt x="236" y="0"/>
                  </a:lnTo>
                  <a:lnTo>
                    <a:pt x="236" y="118"/>
                  </a:lnTo>
                  <a:lnTo>
                    <a:pt x="359" y="118"/>
                  </a:lnTo>
                  <a:lnTo>
                    <a:pt x="359" y="229"/>
                  </a:lnTo>
                  <a:lnTo>
                    <a:pt x="236" y="229"/>
                  </a:lnTo>
                  <a:lnTo>
                    <a:pt x="236" y="347"/>
                  </a:lnTo>
                  <a:lnTo>
                    <a:pt x="125" y="347"/>
                  </a:lnTo>
                  <a:lnTo>
                    <a:pt x="125" y="229"/>
                  </a:lnTo>
                  <a:lnTo>
                    <a:pt x="0" y="229"/>
                  </a:lnTo>
                  <a:lnTo>
                    <a:pt x="0" y="118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020C4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id="{5054D94D-AAC0-FBAC-4DB6-A9B61306612F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11222354" y="2518886"/>
            <a:ext cx="713333" cy="713333"/>
          </a:xfrm>
          <a:prstGeom prst="ellipse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BEEAF2A-49E8-3DBF-0A00-5F40AFDAFCCC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11365106" y="2672867"/>
            <a:ext cx="427828" cy="428562"/>
            <a:chOff x="-3432454" y="1725242"/>
            <a:chExt cx="891953" cy="893483"/>
          </a:xfrm>
          <a:solidFill>
            <a:srgbClr val="020C4A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5AF402-79DA-AE42-DB6D-E617810FCF8B}"/>
                </a:ext>
              </a:extLst>
            </p:cNvPr>
            <p:cNvSpPr/>
            <p:nvPr/>
          </p:nvSpPr>
          <p:spPr>
            <a:xfrm>
              <a:off x="-3432454" y="1725242"/>
              <a:ext cx="891953" cy="893483"/>
            </a:xfrm>
            <a:custGeom>
              <a:avLst/>
              <a:gdLst>
                <a:gd name="connsiteX0" fmla="*/ 829212 w 891953"/>
                <a:gd name="connsiteY0" fmla="*/ 491578 h 893483"/>
                <a:gd name="connsiteX1" fmla="*/ 842213 w 891953"/>
                <a:gd name="connsiteY1" fmla="*/ 799033 h 893483"/>
                <a:gd name="connsiteX2" fmla="*/ 536280 w 891953"/>
                <a:gd name="connsiteY2" fmla="*/ 863467 h 893483"/>
                <a:gd name="connsiteX3" fmla="*/ 535138 w 891953"/>
                <a:gd name="connsiteY3" fmla="*/ 876721 h 893483"/>
                <a:gd name="connsiteX4" fmla="*/ 520425 w 891953"/>
                <a:gd name="connsiteY4" fmla="*/ 892323 h 893483"/>
                <a:gd name="connsiteX5" fmla="*/ 468168 w 891953"/>
                <a:gd name="connsiteY5" fmla="*/ 890991 h 893483"/>
                <a:gd name="connsiteX6" fmla="*/ 424028 w 891953"/>
                <a:gd name="connsiteY6" fmla="*/ 890737 h 893483"/>
                <a:gd name="connsiteX7" fmla="*/ 370439 w 891953"/>
                <a:gd name="connsiteY7" fmla="*/ 892196 h 893483"/>
                <a:gd name="connsiteX8" fmla="*/ 356677 w 891953"/>
                <a:gd name="connsiteY8" fmla="*/ 877229 h 893483"/>
                <a:gd name="connsiteX9" fmla="*/ 356423 w 891953"/>
                <a:gd name="connsiteY9" fmla="*/ 864799 h 893483"/>
                <a:gd name="connsiteX10" fmla="*/ 356423 w 891953"/>
                <a:gd name="connsiteY10" fmla="*/ 510794 h 893483"/>
                <a:gd name="connsiteX11" fmla="*/ 355536 w 891953"/>
                <a:gd name="connsiteY11" fmla="*/ 492022 h 893483"/>
                <a:gd name="connsiteX12" fmla="*/ 341203 w 891953"/>
                <a:gd name="connsiteY12" fmla="*/ 490880 h 893483"/>
                <a:gd name="connsiteX13" fmla="*/ 308479 w 891953"/>
                <a:gd name="connsiteY13" fmla="*/ 487075 h 893483"/>
                <a:gd name="connsiteX14" fmla="*/ 301820 w 891953"/>
                <a:gd name="connsiteY14" fmla="*/ 486948 h 893483"/>
                <a:gd name="connsiteX15" fmla="*/ 267700 w 891953"/>
                <a:gd name="connsiteY15" fmla="*/ 490817 h 893483"/>
                <a:gd name="connsiteX16" fmla="*/ 252670 w 891953"/>
                <a:gd name="connsiteY16" fmla="*/ 505910 h 893483"/>
                <a:gd name="connsiteX17" fmla="*/ 252670 w 891953"/>
                <a:gd name="connsiteY17" fmla="*/ 627612 h 893483"/>
                <a:gd name="connsiteX18" fmla="*/ 252670 w 891953"/>
                <a:gd name="connsiteY18" fmla="*/ 858520 h 893483"/>
                <a:gd name="connsiteX19" fmla="*/ 219058 w 891953"/>
                <a:gd name="connsiteY19" fmla="*/ 892830 h 893483"/>
                <a:gd name="connsiteX20" fmla="*/ 196988 w 891953"/>
                <a:gd name="connsiteY20" fmla="*/ 892640 h 893483"/>
                <a:gd name="connsiteX21" fmla="*/ 171874 w 891953"/>
                <a:gd name="connsiteY21" fmla="*/ 886425 h 893483"/>
                <a:gd name="connsiteX22" fmla="*/ 155322 w 891953"/>
                <a:gd name="connsiteY22" fmla="*/ 886615 h 893483"/>
                <a:gd name="connsiteX23" fmla="*/ 131540 w 891953"/>
                <a:gd name="connsiteY23" fmla="*/ 892576 h 893483"/>
                <a:gd name="connsiteX24" fmla="*/ 95581 w 891953"/>
                <a:gd name="connsiteY24" fmla="*/ 892830 h 893483"/>
                <a:gd name="connsiteX25" fmla="*/ 74970 w 891953"/>
                <a:gd name="connsiteY25" fmla="*/ 871902 h 893483"/>
                <a:gd name="connsiteX26" fmla="*/ 74970 w 891953"/>
                <a:gd name="connsiteY26" fmla="*/ 717032 h 893483"/>
                <a:gd name="connsiteX27" fmla="*/ 74970 w 891953"/>
                <a:gd name="connsiteY27" fmla="*/ 513774 h 893483"/>
                <a:gd name="connsiteX28" fmla="*/ 74970 w 891953"/>
                <a:gd name="connsiteY28" fmla="*/ 506862 h 893483"/>
                <a:gd name="connsiteX29" fmla="*/ 59749 w 891953"/>
                <a:gd name="connsiteY29" fmla="*/ 491007 h 893483"/>
                <a:gd name="connsiteX30" fmla="*/ 44529 w 891953"/>
                <a:gd name="connsiteY30" fmla="*/ 490817 h 893483"/>
                <a:gd name="connsiteX31" fmla="*/ 262 w 891953"/>
                <a:gd name="connsiteY31" fmla="*/ 445282 h 893483"/>
                <a:gd name="connsiteX32" fmla="*/ 262 w 891953"/>
                <a:gd name="connsiteY32" fmla="*/ 262762 h 893483"/>
                <a:gd name="connsiteX33" fmla="*/ 37426 w 891953"/>
                <a:gd name="connsiteY33" fmla="*/ 217608 h 893483"/>
                <a:gd name="connsiteX34" fmla="*/ 95010 w 891953"/>
                <a:gd name="connsiteY34" fmla="*/ 203275 h 893483"/>
                <a:gd name="connsiteX35" fmla="*/ 107060 w 891953"/>
                <a:gd name="connsiteY35" fmla="*/ 198836 h 893483"/>
                <a:gd name="connsiteX36" fmla="*/ 90634 w 891953"/>
                <a:gd name="connsiteY36" fmla="*/ 161482 h 893483"/>
                <a:gd name="connsiteX37" fmla="*/ 90000 w 891953"/>
                <a:gd name="connsiteY37" fmla="*/ 121401 h 893483"/>
                <a:gd name="connsiteX38" fmla="*/ 75984 w 891953"/>
                <a:gd name="connsiteY38" fmla="*/ 117342 h 893483"/>
                <a:gd name="connsiteX39" fmla="*/ 75984 w 891953"/>
                <a:gd name="connsiteY39" fmla="*/ 91277 h 893483"/>
                <a:gd name="connsiteX40" fmla="*/ 88097 w 891953"/>
                <a:gd name="connsiteY40" fmla="*/ 88423 h 893483"/>
                <a:gd name="connsiteX41" fmla="*/ 95454 w 891953"/>
                <a:gd name="connsiteY41" fmla="*/ 61280 h 893483"/>
                <a:gd name="connsiteX42" fmla="*/ 137881 w 891953"/>
                <a:gd name="connsiteY42" fmla="*/ 20184 h 893483"/>
                <a:gd name="connsiteX43" fmla="*/ 149487 w 891953"/>
                <a:gd name="connsiteY43" fmla="*/ 7183 h 893483"/>
                <a:gd name="connsiteX44" fmla="*/ 156336 w 891953"/>
                <a:gd name="connsiteY44" fmla="*/ 524 h 893483"/>
                <a:gd name="connsiteX45" fmla="*/ 177011 w 891953"/>
                <a:gd name="connsiteY45" fmla="*/ 207 h 893483"/>
                <a:gd name="connsiteX46" fmla="*/ 180309 w 891953"/>
                <a:gd name="connsiteY46" fmla="*/ 16252 h 893483"/>
                <a:gd name="connsiteX47" fmla="*/ 238337 w 891953"/>
                <a:gd name="connsiteY47" fmla="*/ 88106 h 893483"/>
                <a:gd name="connsiteX48" fmla="*/ 251592 w 891953"/>
                <a:gd name="connsiteY48" fmla="*/ 91277 h 893483"/>
                <a:gd name="connsiteX49" fmla="*/ 251592 w 891953"/>
                <a:gd name="connsiteY49" fmla="*/ 117088 h 893483"/>
                <a:gd name="connsiteX50" fmla="*/ 238464 w 891953"/>
                <a:gd name="connsiteY50" fmla="*/ 121147 h 893483"/>
                <a:gd name="connsiteX51" fmla="*/ 237830 w 891953"/>
                <a:gd name="connsiteY51" fmla="*/ 142646 h 893483"/>
                <a:gd name="connsiteX52" fmla="*/ 223624 w 891953"/>
                <a:gd name="connsiteY52" fmla="*/ 190337 h 893483"/>
                <a:gd name="connsiteX53" fmla="*/ 219248 w 891953"/>
                <a:gd name="connsiteY53" fmla="*/ 198011 h 893483"/>
                <a:gd name="connsiteX54" fmla="*/ 234532 w 891953"/>
                <a:gd name="connsiteY54" fmla="*/ 203592 h 893483"/>
                <a:gd name="connsiteX55" fmla="*/ 299980 w 891953"/>
                <a:gd name="connsiteY55" fmla="*/ 220461 h 893483"/>
                <a:gd name="connsiteX56" fmla="*/ 309113 w 891953"/>
                <a:gd name="connsiteY56" fmla="*/ 220652 h 893483"/>
                <a:gd name="connsiteX57" fmla="*/ 375893 w 891953"/>
                <a:gd name="connsiteY57" fmla="*/ 203465 h 893483"/>
                <a:gd name="connsiteX58" fmla="*/ 388957 w 891953"/>
                <a:gd name="connsiteY58" fmla="*/ 198709 h 893483"/>
                <a:gd name="connsiteX59" fmla="*/ 372722 w 891953"/>
                <a:gd name="connsiteY59" fmla="*/ 161038 h 893483"/>
                <a:gd name="connsiteX60" fmla="*/ 370629 w 891953"/>
                <a:gd name="connsiteY60" fmla="*/ 121147 h 893483"/>
                <a:gd name="connsiteX61" fmla="*/ 357375 w 891953"/>
                <a:gd name="connsiteY61" fmla="*/ 117152 h 893483"/>
                <a:gd name="connsiteX62" fmla="*/ 357375 w 891953"/>
                <a:gd name="connsiteY62" fmla="*/ 91721 h 893483"/>
                <a:gd name="connsiteX63" fmla="*/ 370946 w 891953"/>
                <a:gd name="connsiteY63" fmla="*/ 88042 h 893483"/>
                <a:gd name="connsiteX64" fmla="*/ 429926 w 891953"/>
                <a:gd name="connsiteY64" fmla="*/ 16442 h 893483"/>
                <a:gd name="connsiteX65" fmla="*/ 432590 w 891953"/>
                <a:gd name="connsiteY65" fmla="*/ 1349 h 893483"/>
                <a:gd name="connsiteX66" fmla="*/ 458845 w 891953"/>
                <a:gd name="connsiteY66" fmla="*/ 1349 h 893483"/>
                <a:gd name="connsiteX67" fmla="*/ 462206 w 891953"/>
                <a:gd name="connsiteY67" fmla="*/ 16442 h 893483"/>
                <a:gd name="connsiteX68" fmla="*/ 520869 w 891953"/>
                <a:gd name="connsiteY68" fmla="*/ 88169 h 893483"/>
                <a:gd name="connsiteX69" fmla="*/ 534441 w 891953"/>
                <a:gd name="connsiteY69" fmla="*/ 91340 h 893483"/>
                <a:gd name="connsiteX70" fmla="*/ 534441 w 891953"/>
                <a:gd name="connsiteY70" fmla="*/ 117088 h 893483"/>
                <a:gd name="connsiteX71" fmla="*/ 521313 w 891953"/>
                <a:gd name="connsiteY71" fmla="*/ 121020 h 893483"/>
                <a:gd name="connsiteX72" fmla="*/ 519157 w 891953"/>
                <a:gd name="connsiteY72" fmla="*/ 160594 h 893483"/>
                <a:gd name="connsiteX73" fmla="*/ 503112 w 891953"/>
                <a:gd name="connsiteY73" fmla="*/ 198645 h 893483"/>
                <a:gd name="connsiteX74" fmla="*/ 515542 w 891953"/>
                <a:gd name="connsiteY74" fmla="*/ 203402 h 893483"/>
                <a:gd name="connsiteX75" fmla="*/ 582322 w 891953"/>
                <a:gd name="connsiteY75" fmla="*/ 220652 h 893483"/>
                <a:gd name="connsiteX76" fmla="*/ 590186 w 891953"/>
                <a:gd name="connsiteY76" fmla="*/ 220969 h 893483"/>
                <a:gd name="connsiteX77" fmla="*/ 659693 w 891953"/>
                <a:gd name="connsiteY77" fmla="*/ 203148 h 893483"/>
                <a:gd name="connsiteX78" fmla="*/ 671172 w 891953"/>
                <a:gd name="connsiteY78" fmla="*/ 198836 h 893483"/>
                <a:gd name="connsiteX79" fmla="*/ 655317 w 891953"/>
                <a:gd name="connsiteY79" fmla="*/ 162179 h 893483"/>
                <a:gd name="connsiteX80" fmla="*/ 654747 w 891953"/>
                <a:gd name="connsiteY80" fmla="*/ 122225 h 893483"/>
                <a:gd name="connsiteX81" fmla="*/ 640097 w 891953"/>
                <a:gd name="connsiteY81" fmla="*/ 116835 h 893483"/>
                <a:gd name="connsiteX82" fmla="*/ 640097 w 891953"/>
                <a:gd name="connsiteY82" fmla="*/ 91657 h 893483"/>
                <a:gd name="connsiteX83" fmla="*/ 653542 w 891953"/>
                <a:gd name="connsiteY83" fmla="*/ 87979 h 893483"/>
                <a:gd name="connsiteX84" fmla="*/ 711507 w 891953"/>
                <a:gd name="connsiteY84" fmla="*/ 16569 h 893483"/>
                <a:gd name="connsiteX85" fmla="*/ 714868 w 891953"/>
                <a:gd name="connsiteY85" fmla="*/ 968 h 893483"/>
                <a:gd name="connsiteX86" fmla="*/ 729898 w 891953"/>
                <a:gd name="connsiteY86" fmla="*/ 144 h 893483"/>
                <a:gd name="connsiteX87" fmla="*/ 743089 w 891953"/>
                <a:gd name="connsiteY87" fmla="*/ 11052 h 893483"/>
                <a:gd name="connsiteX88" fmla="*/ 752666 w 891953"/>
                <a:gd name="connsiteY88" fmla="*/ 19423 h 893483"/>
                <a:gd name="connsiteX89" fmla="*/ 795854 w 891953"/>
                <a:gd name="connsiteY89" fmla="*/ 59758 h 893483"/>
                <a:gd name="connsiteX90" fmla="*/ 804098 w 891953"/>
                <a:gd name="connsiteY90" fmla="*/ 88486 h 893483"/>
                <a:gd name="connsiteX91" fmla="*/ 815958 w 891953"/>
                <a:gd name="connsiteY91" fmla="*/ 91150 h 893483"/>
                <a:gd name="connsiteX92" fmla="*/ 815958 w 891953"/>
                <a:gd name="connsiteY92" fmla="*/ 117215 h 893483"/>
                <a:gd name="connsiteX93" fmla="*/ 804479 w 891953"/>
                <a:gd name="connsiteY93" fmla="*/ 120450 h 893483"/>
                <a:gd name="connsiteX94" fmla="*/ 802767 w 891953"/>
                <a:gd name="connsiteY94" fmla="*/ 124001 h 893483"/>
                <a:gd name="connsiteX95" fmla="*/ 802386 w 891953"/>
                <a:gd name="connsiteY95" fmla="*/ 147466 h 893483"/>
                <a:gd name="connsiteX96" fmla="*/ 790717 w 891953"/>
                <a:gd name="connsiteY96" fmla="*/ 186279 h 893483"/>
                <a:gd name="connsiteX97" fmla="*/ 784121 w 891953"/>
                <a:gd name="connsiteY97" fmla="*/ 197060 h 893483"/>
                <a:gd name="connsiteX98" fmla="*/ 815450 w 891953"/>
                <a:gd name="connsiteY98" fmla="*/ 207714 h 893483"/>
                <a:gd name="connsiteX99" fmla="*/ 854199 w 891953"/>
                <a:gd name="connsiteY99" fmla="*/ 217608 h 893483"/>
                <a:gd name="connsiteX100" fmla="*/ 891743 w 891953"/>
                <a:gd name="connsiteY100" fmla="*/ 263967 h 893483"/>
                <a:gd name="connsiteX101" fmla="*/ 891870 w 891953"/>
                <a:gd name="connsiteY101" fmla="*/ 328971 h 893483"/>
                <a:gd name="connsiteX102" fmla="*/ 891870 w 891953"/>
                <a:gd name="connsiteY102" fmla="*/ 440969 h 893483"/>
                <a:gd name="connsiteX103" fmla="*/ 880391 w 891953"/>
                <a:gd name="connsiteY103" fmla="*/ 475533 h 893483"/>
                <a:gd name="connsiteX104" fmla="*/ 847604 w 891953"/>
                <a:gd name="connsiteY104" fmla="*/ 490753 h 893483"/>
                <a:gd name="connsiteX105" fmla="*/ 829403 w 891953"/>
                <a:gd name="connsiteY105" fmla="*/ 491578 h 893483"/>
                <a:gd name="connsiteX106" fmla="*/ 222990 w 891953"/>
                <a:gd name="connsiteY106" fmla="*/ 862516 h 893483"/>
                <a:gd name="connsiteX107" fmla="*/ 222990 w 891953"/>
                <a:gd name="connsiteY107" fmla="*/ 842665 h 893483"/>
                <a:gd name="connsiteX108" fmla="*/ 222990 w 891953"/>
                <a:gd name="connsiteY108" fmla="*/ 302018 h 893483"/>
                <a:gd name="connsiteX109" fmla="*/ 223941 w 891953"/>
                <a:gd name="connsiteY109" fmla="*/ 283373 h 893483"/>
                <a:gd name="connsiteX110" fmla="*/ 244616 w 891953"/>
                <a:gd name="connsiteY110" fmla="*/ 283373 h 893483"/>
                <a:gd name="connsiteX111" fmla="*/ 252416 w 891953"/>
                <a:gd name="connsiteY111" fmla="*/ 290983 h 893483"/>
                <a:gd name="connsiteX112" fmla="*/ 252543 w 891953"/>
                <a:gd name="connsiteY112" fmla="*/ 302018 h 893483"/>
                <a:gd name="connsiteX113" fmla="*/ 252543 w 891953"/>
                <a:gd name="connsiteY113" fmla="*/ 436150 h 893483"/>
                <a:gd name="connsiteX114" fmla="*/ 280511 w 891953"/>
                <a:gd name="connsiteY114" fmla="*/ 460376 h 893483"/>
                <a:gd name="connsiteX115" fmla="*/ 283238 w 891953"/>
                <a:gd name="connsiteY115" fmla="*/ 458410 h 893483"/>
                <a:gd name="connsiteX116" fmla="*/ 283238 w 891953"/>
                <a:gd name="connsiteY116" fmla="*/ 247097 h 893483"/>
                <a:gd name="connsiteX117" fmla="*/ 265861 w 891953"/>
                <a:gd name="connsiteY117" fmla="*/ 242087 h 893483"/>
                <a:gd name="connsiteX118" fmla="*/ 193627 w 891953"/>
                <a:gd name="connsiteY118" fmla="*/ 223632 h 893483"/>
                <a:gd name="connsiteX119" fmla="*/ 183860 w 891953"/>
                <a:gd name="connsiteY119" fmla="*/ 196806 h 893483"/>
                <a:gd name="connsiteX120" fmla="*/ 199842 w 891953"/>
                <a:gd name="connsiteY120" fmla="*/ 172580 h 893483"/>
                <a:gd name="connsiteX121" fmla="*/ 207389 w 891953"/>
                <a:gd name="connsiteY121" fmla="*/ 118991 h 893483"/>
                <a:gd name="connsiteX122" fmla="*/ 190773 w 891953"/>
                <a:gd name="connsiteY122" fmla="*/ 118991 h 893483"/>
                <a:gd name="connsiteX123" fmla="*/ 129954 w 891953"/>
                <a:gd name="connsiteY123" fmla="*/ 118991 h 893483"/>
                <a:gd name="connsiteX124" fmla="*/ 119109 w 891953"/>
                <a:gd name="connsiteY124" fmla="*/ 126601 h 893483"/>
                <a:gd name="connsiteX125" fmla="*/ 129510 w 891953"/>
                <a:gd name="connsiteY125" fmla="*/ 175117 h 893483"/>
                <a:gd name="connsiteX126" fmla="*/ 144858 w 891953"/>
                <a:gd name="connsiteY126" fmla="*/ 198074 h 893483"/>
                <a:gd name="connsiteX127" fmla="*/ 134774 w 891953"/>
                <a:gd name="connsiteY127" fmla="*/ 223379 h 893483"/>
                <a:gd name="connsiteX128" fmla="*/ 117397 w 891953"/>
                <a:gd name="connsiteY128" fmla="*/ 227945 h 893483"/>
                <a:gd name="connsiteX129" fmla="*/ 45163 w 891953"/>
                <a:gd name="connsiteY129" fmla="*/ 246336 h 893483"/>
                <a:gd name="connsiteX130" fmla="*/ 30133 w 891953"/>
                <a:gd name="connsiteY130" fmla="*/ 264664 h 893483"/>
                <a:gd name="connsiteX131" fmla="*/ 30069 w 891953"/>
                <a:gd name="connsiteY131" fmla="*/ 271577 h 893483"/>
                <a:gd name="connsiteX132" fmla="*/ 30069 w 891953"/>
                <a:gd name="connsiteY132" fmla="*/ 436086 h 893483"/>
                <a:gd name="connsiteX133" fmla="*/ 31147 w 891953"/>
                <a:gd name="connsiteY133" fmla="*/ 449785 h 893483"/>
                <a:gd name="connsiteX134" fmla="*/ 42246 w 891953"/>
                <a:gd name="connsiteY134" fmla="*/ 460566 h 893483"/>
                <a:gd name="connsiteX135" fmla="*/ 75033 w 891953"/>
                <a:gd name="connsiteY135" fmla="*/ 460693 h 893483"/>
                <a:gd name="connsiteX136" fmla="*/ 75033 w 891953"/>
                <a:gd name="connsiteY136" fmla="*/ 284198 h 893483"/>
                <a:gd name="connsiteX137" fmla="*/ 104079 w 891953"/>
                <a:gd name="connsiteY137" fmla="*/ 284198 h 893483"/>
                <a:gd name="connsiteX138" fmla="*/ 104079 w 891953"/>
                <a:gd name="connsiteY138" fmla="*/ 302652 h 893483"/>
                <a:gd name="connsiteX139" fmla="*/ 104079 w 891953"/>
                <a:gd name="connsiteY139" fmla="*/ 841905 h 893483"/>
                <a:gd name="connsiteX140" fmla="*/ 104079 w 891953"/>
                <a:gd name="connsiteY140" fmla="*/ 852939 h 893483"/>
                <a:gd name="connsiteX141" fmla="*/ 114099 w 891953"/>
                <a:gd name="connsiteY141" fmla="*/ 862706 h 893483"/>
                <a:gd name="connsiteX142" fmla="*/ 121012 w 891953"/>
                <a:gd name="connsiteY142" fmla="*/ 862706 h 893483"/>
                <a:gd name="connsiteX143" fmla="*/ 148790 w 891953"/>
                <a:gd name="connsiteY143" fmla="*/ 834992 h 893483"/>
                <a:gd name="connsiteX144" fmla="*/ 148790 w 891953"/>
                <a:gd name="connsiteY144" fmla="*/ 557090 h 893483"/>
                <a:gd name="connsiteX145" fmla="*/ 172381 w 891953"/>
                <a:gd name="connsiteY145" fmla="*/ 536288 h 893483"/>
                <a:gd name="connsiteX146" fmla="*/ 178787 w 891953"/>
                <a:gd name="connsiteY146" fmla="*/ 538635 h 893483"/>
                <a:gd name="connsiteX147" fmla="*/ 178787 w 891953"/>
                <a:gd name="connsiteY147" fmla="*/ 554807 h 893483"/>
                <a:gd name="connsiteX148" fmla="*/ 178787 w 891953"/>
                <a:gd name="connsiteY148" fmla="*/ 834104 h 893483"/>
                <a:gd name="connsiteX149" fmla="*/ 178914 w 891953"/>
                <a:gd name="connsiteY149" fmla="*/ 846534 h 893483"/>
                <a:gd name="connsiteX150" fmla="*/ 192929 w 891953"/>
                <a:gd name="connsiteY150" fmla="*/ 862262 h 893483"/>
                <a:gd name="connsiteX151" fmla="*/ 222926 w 891953"/>
                <a:gd name="connsiteY151" fmla="*/ 862452 h 893483"/>
                <a:gd name="connsiteX152" fmla="*/ 356614 w 891953"/>
                <a:gd name="connsiteY152" fmla="*/ 285783 h 893483"/>
                <a:gd name="connsiteX153" fmla="*/ 362702 w 891953"/>
                <a:gd name="connsiteY153" fmla="*/ 283690 h 893483"/>
                <a:gd name="connsiteX154" fmla="*/ 386484 w 891953"/>
                <a:gd name="connsiteY154" fmla="*/ 304428 h 893483"/>
                <a:gd name="connsiteX155" fmla="*/ 386484 w 891953"/>
                <a:gd name="connsiteY155" fmla="*/ 841080 h 893483"/>
                <a:gd name="connsiteX156" fmla="*/ 408490 w 891953"/>
                <a:gd name="connsiteY156" fmla="*/ 862833 h 893483"/>
                <a:gd name="connsiteX157" fmla="*/ 431194 w 891953"/>
                <a:gd name="connsiteY157" fmla="*/ 839685 h 893483"/>
                <a:gd name="connsiteX158" fmla="*/ 431068 w 891953"/>
                <a:gd name="connsiteY158" fmla="*/ 747030 h 893483"/>
                <a:gd name="connsiteX159" fmla="*/ 428087 w 891953"/>
                <a:gd name="connsiteY159" fmla="*/ 729526 h 893483"/>
                <a:gd name="connsiteX160" fmla="*/ 438551 w 891953"/>
                <a:gd name="connsiteY160" fmla="*/ 554426 h 893483"/>
                <a:gd name="connsiteX161" fmla="*/ 440010 w 891953"/>
                <a:gd name="connsiteY161" fmla="*/ 528171 h 893483"/>
                <a:gd name="connsiteX162" fmla="*/ 408934 w 891953"/>
                <a:gd name="connsiteY162" fmla="*/ 441096 h 893483"/>
                <a:gd name="connsiteX163" fmla="*/ 402529 w 891953"/>
                <a:gd name="connsiteY163" fmla="*/ 420041 h 893483"/>
                <a:gd name="connsiteX164" fmla="*/ 419398 w 891953"/>
                <a:gd name="connsiteY164" fmla="*/ 402855 h 893483"/>
                <a:gd name="connsiteX165" fmla="*/ 427453 w 891953"/>
                <a:gd name="connsiteY165" fmla="*/ 404757 h 893483"/>
                <a:gd name="connsiteX166" fmla="*/ 471656 w 891953"/>
                <a:gd name="connsiteY166" fmla="*/ 420548 h 893483"/>
                <a:gd name="connsiteX167" fmla="*/ 504380 w 891953"/>
                <a:gd name="connsiteY167" fmla="*/ 431520 h 893483"/>
                <a:gd name="connsiteX168" fmla="*/ 505204 w 891953"/>
                <a:gd name="connsiteY168" fmla="*/ 414650 h 893483"/>
                <a:gd name="connsiteX169" fmla="*/ 505204 w 891953"/>
                <a:gd name="connsiteY169" fmla="*/ 301257 h 893483"/>
                <a:gd name="connsiteX170" fmla="*/ 523913 w 891953"/>
                <a:gd name="connsiteY170" fmla="*/ 283373 h 893483"/>
                <a:gd name="connsiteX171" fmla="*/ 528035 w 891953"/>
                <a:gd name="connsiteY171" fmla="*/ 283563 h 893483"/>
                <a:gd name="connsiteX172" fmla="*/ 535011 w 891953"/>
                <a:gd name="connsiteY172" fmla="*/ 290539 h 893483"/>
                <a:gd name="connsiteX173" fmla="*/ 535138 w 891953"/>
                <a:gd name="connsiteY173" fmla="*/ 301574 h 893483"/>
                <a:gd name="connsiteX174" fmla="*/ 535138 w 891953"/>
                <a:gd name="connsiteY174" fmla="*/ 426066 h 893483"/>
                <a:gd name="connsiteX175" fmla="*/ 535265 w 891953"/>
                <a:gd name="connsiteY175" fmla="*/ 435769 h 893483"/>
                <a:gd name="connsiteX176" fmla="*/ 546173 w 891953"/>
                <a:gd name="connsiteY176" fmla="*/ 442555 h 893483"/>
                <a:gd name="connsiteX177" fmla="*/ 567672 w 891953"/>
                <a:gd name="connsiteY177" fmla="*/ 433169 h 893483"/>
                <a:gd name="connsiteX178" fmla="*/ 579468 w 891953"/>
                <a:gd name="connsiteY178" fmla="*/ 416299 h 893483"/>
                <a:gd name="connsiteX179" fmla="*/ 579468 w 891953"/>
                <a:gd name="connsiteY179" fmla="*/ 268343 h 893483"/>
                <a:gd name="connsiteX180" fmla="*/ 562535 w 891953"/>
                <a:gd name="connsiteY180" fmla="*/ 246146 h 893483"/>
                <a:gd name="connsiteX181" fmla="*/ 476920 w 891953"/>
                <a:gd name="connsiteY181" fmla="*/ 224140 h 893483"/>
                <a:gd name="connsiteX182" fmla="*/ 466455 w 891953"/>
                <a:gd name="connsiteY182" fmla="*/ 195728 h 893483"/>
                <a:gd name="connsiteX183" fmla="*/ 483388 w 891953"/>
                <a:gd name="connsiteY183" fmla="*/ 170487 h 893483"/>
                <a:gd name="connsiteX184" fmla="*/ 490238 w 891953"/>
                <a:gd name="connsiteY184" fmla="*/ 148544 h 893483"/>
                <a:gd name="connsiteX185" fmla="*/ 490238 w 891953"/>
                <a:gd name="connsiteY185" fmla="*/ 131928 h 893483"/>
                <a:gd name="connsiteX186" fmla="*/ 477617 w 891953"/>
                <a:gd name="connsiteY186" fmla="*/ 119181 h 893483"/>
                <a:gd name="connsiteX187" fmla="*/ 414008 w 891953"/>
                <a:gd name="connsiteY187" fmla="*/ 119181 h 893483"/>
                <a:gd name="connsiteX188" fmla="*/ 401768 w 891953"/>
                <a:gd name="connsiteY188" fmla="*/ 120830 h 893483"/>
                <a:gd name="connsiteX189" fmla="*/ 401705 w 891953"/>
                <a:gd name="connsiteY189" fmla="*/ 143471 h 893483"/>
                <a:gd name="connsiteX190" fmla="*/ 411027 w 891953"/>
                <a:gd name="connsiteY190" fmla="*/ 174292 h 893483"/>
                <a:gd name="connsiteX191" fmla="*/ 426375 w 891953"/>
                <a:gd name="connsiteY191" fmla="*/ 197250 h 893483"/>
                <a:gd name="connsiteX192" fmla="*/ 415593 w 891953"/>
                <a:gd name="connsiteY192" fmla="*/ 223759 h 893483"/>
                <a:gd name="connsiteX193" fmla="*/ 331373 w 891953"/>
                <a:gd name="connsiteY193" fmla="*/ 245448 h 893483"/>
                <a:gd name="connsiteX194" fmla="*/ 312411 w 891953"/>
                <a:gd name="connsiteY194" fmla="*/ 270182 h 893483"/>
                <a:gd name="connsiteX195" fmla="*/ 312411 w 891953"/>
                <a:gd name="connsiteY195" fmla="*/ 437545 h 893483"/>
                <a:gd name="connsiteX196" fmla="*/ 312791 w 891953"/>
                <a:gd name="connsiteY196" fmla="*/ 448580 h 893483"/>
                <a:gd name="connsiteX197" fmla="*/ 322938 w 891953"/>
                <a:gd name="connsiteY197" fmla="*/ 460312 h 893483"/>
                <a:gd name="connsiteX198" fmla="*/ 356614 w 891953"/>
                <a:gd name="connsiteY198" fmla="*/ 459234 h 893483"/>
                <a:gd name="connsiteX199" fmla="*/ 356614 w 891953"/>
                <a:gd name="connsiteY199" fmla="*/ 285846 h 893483"/>
                <a:gd name="connsiteX200" fmla="*/ 638321 w 891953"/>
                <a:gd name="connsiteY200" fmla="*/ 417060 h 893483"/>
                <a:gd name="connsiteX201" fmla="*/ 639145 w 891953"/>
                <a:gd name="connsiteY201" fmla="*/ 400191 h 893483"/>
                <a:gd name="connsiteX202" fmla="*/ 639145 w 891953"/>
                <a:gd name="connsiteY202" fmla="*/ 303413 h 893483"/>
                <a:gd name="connsiteX203" fmla="*/ 660962 w 891953"/>
                <a:gd name="connsiteY203" fmla="*/ 283436 h 893483"/>
                <a:gd name="connsiteX204" fmla="*/ 668699 w 891953"/>
                <a:gd name="connsiteY204" fmla="*/ 285402 h 893483"/>
                <a:gd name="connsiteX205" fmla="*/ 668889 w 891953"/>
                <a:gd name="connsiteY205" fmla="*/ 414841 h 893483"/>
                <a:gd name="connsiteX206" fmla="*/ 729898 w 891953"/>
                <a:gd name="connsiteY206" fmla="*/ 429617 h 893483"/>
                <a:gd name="connsiteX207" fmla="*/ 787546 w 891953"/>
                <a:gd name="connsiteY207" fmla="*/ 455302 h 893483"/>
                <a:gd name="connsiteX208" fmla="*/ 787546 w 891953"/>
                <a:gd name="connsiteY208" fmla="*/ 370130 h 893483"/>
                <a:gd name="connsiteX209" fmla="*/ 787800 w 891953"/>
                <a:gd name="connsiteY209" fmla="*/ 284324 h 893483"/>
                <a:gd name="connsiteX210" fmla="*/ 816846 w 891953"/>
                <a:gd name="connsiteY210" fmla="*/ 284324 h 893483"/>
                <a:gd name="connsiteX211" fmla="*/ 816846 w 891953"/>
                <a:gd name="connsiteY211" fmla="*/ 300243 h 893483"/>
                <a:gd name="connsiteX212" fmla="*/ 816846 w 891953"/>
                <a:gd name="connsiteY212" fmla="*/ 444013 h 893483"/>
                <a:gd name="connsiteX213" fmla="*/ 817924 w 891953"/>
                <a:gd name="connsiteY213" fmla="*/ 461137 h 893483"/>
                <a:gd name="connsiteX214" fmla="*/ 842657 w 891953"/>
                <a:gd name="connsiteY214" fmla="*/ 461137 h 893483"/>
                <a:gd name="connsiteX215" fmla="*/ 861936 w 891953"/>
                <a:gd name="connsiteY215" fmla="*/ 441794 h 893483"/>
                <a:gd name="connsiteX216" fmla="*/ 862063 w 891953"/>
                <a:gd name="connsiteY216" fmla="*/ 416934 h 893483"/>
                <a:gd name="connsiteX217" fmla="*/ 862063 w 891953"/>
                <a:gd name="connsiteY217" fmla="*/ 269040 h 893483"/>
                <a:gd name="connsiteX218" fmla="*/ 844116 w 891953"/>
                <a:gd name="connsiteY218" fmla="*/ 245956 h 893483"/>
                <a:gd name="connsiteX219" fmla="*/ 757232 w 891953"/>
                <a:gd name="connsiteY219" fmla="*/ 223569 h 893483"/>
                <a:gd name="connsiteX220" fmla="*/ 747021 w 891953"/>
                <a:gd name="connsiteY220" fmla="*/ 198392 h 893483"/>
                <a:gd name="connsiteX221" fmla="*/ 759325 w 891953"/>
                <a:gd name="connsiteY221" fmla="*/ 180063 h 893483"/>
                <a:gd name="connsiteX222" fmla="*/ 773086 w 891953"/>
                <a:gd name="connsiteY222" fmla="*/ 131167 h 893483"/>
                <a:gd name="connsiteX223" fmla="*/ 761037 w 891953"/>
                <a:gd name="connsiteY223" fmla="*/ 119181 h 893483"/>
                <a:gd name="connsiteX224" fmla="*/ 700218 w 891953"/>
                <a:gd name="connsiteY224" fmla="*/ 119118 h 893483"/>
                <a:gd name="connsiteX225" fmla="*/ 684236 w 891953"/>
                <a:gd name="connsiteY225" fmla="*/ 119118 h 893483"/>
                <a:gd name="connsiteX226" fmla="*/ 693115 w 891953"/>
                <a:gd name="connsiteY226" fmla="*/ 174609 h 893483"/>
                <a:gd name="connsiteX227" fmla="*/ 708399 w 891953"/>
                <a:gd name="connsiteY227" fmla="*/ 197567 h 893483"/>
                <a:gd name="connsiteX228" fmla="*/ 698759 w 891953"/>
                <a:gd name="connsiteY228" fmla="*/ 223632 h 893483"/>
                <a:gd name="connsiteX229" fmla="*/ 645297 w 891953"/>
                <a:gd name="connsiteY229" fmla="*/ 237331 h 893483"/>
                <a:gd name="connsiteX230" fmla="*/ 608133 w 891953"/>
                <a:gd name="connsiteY230" fmla="*/ 247161 h 893483"/>
                <a:gd name="connsiteX231" fmla="*/ 609338 w 891953"/>
                <a:gd name="connsiteY231" fmla="*/ 419597 h 893483"/>
                <a:gd name="connsiteX232" fmla="*/ 638258 w 891953"/>
                <a:gd name="connsiteY232" fmla="*/ 417187 h 893483"/>
                <a:gd name="connsiteX233" fmla="*/ 697554 w 891953"/>
                <a:gd name="connsiteY233" fmla="*/ 506037 h 893483"/>
                <a:gd name="connsiteX234" fmla="*/ 674089 w 891953"/>
                <a:gd name="connsiteY234" fmla="*/ 506037 h 893483"/>
                <a:gd name="connsiteX235" fmla="*/ 621578 w 891953"/>
                <a:gd name="connsiteY235" fmla="*/ 506101 h 893483"/>
                <a:gd name="connsiteX236" fmla="*/ 608895 w 891953"/>
                <a:gd name="connsiteY236" fmla="*/ 519038 h 893483"/>
                <a:gd name="connsiteX237" fmla="*/ 608895 w 891953"/>
                <a:gd name="connsiteY237" fmla="*/ 528741 h 893483"/>
                <a:gd name="connsiteX238" fmla="*/ 608895 w 891953"/>
                <a:gd name="connsiteY238" fmla="*/ 695977 h 893483"/>
                <a:gd name="connsiteX239" fmla="*/ 607943 w 891953"/>
                <a:gd name="connsiteY239" fmla="*/ 712847 h 893483"/>
                <a:gd name="connsiteX240" fmla="*/ 569385 w 891953"/>
                <a:gd name="connsiteY240" fmla="*/ 714749 h 893483"/>
                <a:gd name="connsiteX241" fmla="*/ 568116 w 891953"/>
                <a:gd name="connsiteY241" fmla="*/ 717984 h 893483"/>
                <a:gd name="connsiteX242" fmla="*/ 652590 w 891953"/>
                <a:gd name="connsiteY242" fmla="*/ 816727 h 893483"/>
                <a:gd name="connsiteX243" fmla="*/ 657537 w 891953"/>
                <a:gd name="connsiteY243" fmla="*/ 813429 h 893483"/>
                <a:gd name="connsiteX244" fmla="*/ 735796 w 891953"/>
                <a:gd name="connsiteY244" fmla="*/ 722169 h 893483"/>
                <a:gd name="connsiteX245" fmla="*/ 739601 w 891953"/>
                <a:gd name="connsiteY245" fmla="*/ 713100 h 893483"/>
                <a:gd name="connsiteX246" fmla="*/ 698189 w 891953"/>
                <a:gd name="connsiteY246" fmla="*/ 713100 h 893483"/>
                <a:gd name="connsiteX247" fmla="*/ 698189 w 891953"/>
                <a:gd name="connsiteY247" fmla="*/ 643910 h 893483"/>
                <a:gd name="connsiteX248" fmla="*/ 698189 w 891953"/>
                <a:gd name="connsiteY248" fmla="*/ 574784 h 893483"/>
                <a:gd name="connsiteX249" fmla="*/ 697618 w 891953"/>
                <a:gd name="connsiteY249" fmla="*/ 505847 h 893483"/>
                <a:gd name="connsiteX250" fmla="*/ 461001 w 891953"/>
                <a:gd name="connsiteY250" fmla="*/ 801189 h 893483"/>
                <a:gd name="connsiteX251" fmla="*/ 461192 w 891953"/>
                <a:gd name="connsiteY251" fmla="*/ 849832 h 893483"/>
                <a:gd name="connsiteX252" fmla="*/ 472607 w 891953"/>
                <a:gd name="connsiteY252" fmla="*/ 861881 h 893483"/>
                <a:gd name="connsiteX253" fmla="*/ 498609 w 891953"/>
                <a:gd name="connsiteY253" fmla="*/ 862325 h 893483"/>
                <a:gd name="connsiteX254" fmla="*/ 504443 w 891953"/>
                <a:gd name="connsiteY254" fmla="*/ 857696 h 893483"/>
                <a:gd name="connsiteX255" fmla="*/ 501082 w 891953"/>
                <a:gd name="connsiteY255" fmla="*/ 837085 h 893483"/>
                <a:gd name="connsiteX256" fmla="*/ 461065 w 891953"/>
                <a:gd name="connsiteY256" fmla="*/ 801316 h 893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</a:cxnLst>
              <a:rect l="l" t="t" r="r" b="b"/>
              <a:pathLst>
                <a:path w="891953" h="893483">
                  <a:moveTo>
                    <a:pt x="829212" y="491578"/>
                  </a:moveTo>
                  <a:cubicBezTo>
                    <a:pt x="905759" y="593302"/>
                    <a:pt x="914194" y="694709"/>
                    <a:pt x="842213" y="799033"/>
                  </a:cubicBezTo>
                  <a:cubicBezTo>
                    <a:pt x="757485" y="898728"/>
                    <a:pt x="655127" y="915597"/>
                    <a:pt x="536280" y="863467"/>
                  </a:cubicBezTo>
                  <a:cubicBezTo>
                    <a:pt x="535899" y="868097"/>
                    <a:pt x="535709" y="872472"/>
                    <a:pt x="535138" y="876721"/>
                  </a:cubicBezTo>
                  <a:cubicBezTo>
                    <a:pt x="533997" y="885854"/>
                    <a:pt x="529050" y="892069"/>
                    <a:pt x="520425" y="892323"/>
                  </a:cubicBezTo>
                  <a:cubicBezTo>
                    <a:pt x="502985" y="892893"/>
                    <a:pt x="484657" y="895240"/>
                    <a:pt x="468168" y="890991"/>
                  </a:cubicBezTo>
                  <a:cubicBezTo>
                    <a:pt x="452567" y="886995"/>
                    <a:pt x="439819" y="886551"/>
                    <a:pt x="424028" y="890737"/>
                  </a:cubicBezTo>
                  <a:cubicBezTo>
                    <a:pt x="407222" y="895240"/>
                    <a:pt x="388387" y="892703"/>
                    <a:pt x="370439" y="892196"/>
                  </a:cubicBezTo>
                  <a:cubicBezTo>
                    <a:pt x="362575" y="891942"/>
                    <a:pt x="357628" y="885537"/>
                    <a:pt x="356677" y="877229"/>
                  </a:cubicBezTo>
                  <a:cubicBezTo>
                    <a:pt x="356170" y="873107"/>
                    <a:pt x="356423" y="868921"/>
                    <a:pt x="356423" y="864799"/>
                  </a:cubicBezTo>
                  <a:cubicBezTo>
                    <a:pt x="356423" y="746776"/>
                    <a:pt x="356423" y="628817"/>
                    <a:pt x="356423" y="510794"/>
                  </a:cubicBezTo>
                  <a:cubicBezTo>
                    <a:pt x="356423" y="504959"/>
                    <a:pt x="355853" y="499061"/>
                    <a:pt x="355536" y="492022"/>
                  </a:cubicBezTo>
                  <a:cubicBezTo>
                    <a:pt x="350081" y="491578"/>
                    <a:pt x="345642" y="491387"/>
                    <a:pt x="341203" y="490880"/>
                  </a:cubicBezTo>
                  <a:cubicBezTo>
                    <a:pt x="330295" y="489675"/>
                    <a:pt x="319387" y="488280"/>
                    <a:pt x="308479" y="487075"/>
                  </a:cubicBezTo>
                  <a:cubicBezTo>
                    <a:pt x="306259" y="486821"/>
                    <a:pt x="303976" y="486694"/>
                    <a:pt x="301820" y="486948"/>
                  </a:cubicBezTo>
                  <a:cubicBezTo>
                    <a:pt x="290468" y="488217"/>
                    <a:pt x="279116" y="490119"/>
                    <a:pt x="267700" y="490817"/>
                  </a:cubicBezTo>
                  <a:cubicBezTo>
                    <a:pt x="253748" y="491641"/>
                    <a:pt x="252670" y="492022"/>
                    <a:pt x="252670" y="505910"/>
                  </a:cubicBezTo>
                  <a:cubicBezTo>
                    <a:pt x="252543" y="546499"/>
                    <a:pt x="252670" y="587023"/>
                    <a:pt x="252670" y="627612"/>
                  </a:cubicBezTo>
                  <a:cubicBezTo>
                    <a:pt x="252670" y="704602"/>
                    <a:pt x="252670" y="781593"/>
                    <a:pt x="252670" y="858520"/>
                  </a:cubicBezTo>
                  <a:cubicBezTo>
                    <a:pt x="252670" y="892386"/>
                    <a:pt x="252289" y="892830"/>
                    <a:pt x="219058" y="892830"/>
                  </a:cubicBezTo>
                  <a:cubicBezTo>
                    <a:pt x="211701" y="892830"/>
                    <a:pt x="204218" y="893591"/>
                    <a:pt x="196988" y="892640"/>
                  </a:cubicBezTo>
                  <a:cubicBezTo>
                    <a:pt x="188490" y="891498"/>
                    <a:pt x="179675" y="889913"/>
                    <a:pt x="171874" y="886425"/>
                  </a:cubicBezTo>
                  <a:cubicBezTo>
                    <a:pt x="165659" y="883634"/>
                    <a:pt x="161410" y="883824"/>
                    <a:pt x="155322" y="886615"/>
                  </a:cubicBezTo>
                  <a:cubicBezTo>
                    <a:pt x="148028" y="889976"/>
                    <a:pt x="139594" y="891942"/>
                    <a:pt x="131540" y="892576"/>
                  </a:cubicBezTo>
                  <a:cubicBezTo>
                    <a:pt x="119617" y="893528"/>
                    <a:pt x="107567" y="893020"/>
                    <a:pt x="95581" y="892830"/>
                  </a:cubicBezTo>
                  <a:cubicBezTo>
                    <a:pt x="79916" y="892576"/>
                    <a:pt x="75033" y="887756"/>
                    <a:pt x="74970" y="871902"/>
                  </a:cubicBezTo>
                  <a:cubicBezTo>
                    <a:pt x="74843" y="820279"/>
                    <a:pt x="74970" y="768656"/>
                    <a:pt x="74970" y="717032"/>
                  </a:cubicBezTo>
                  <a:cubicBezTo>
                    <a:pt x="74970" y="649301"/>
                    <a:pt x="74970" y="581506"/>
                    <a:pt x="74970" y="513774"/>
                  </a:cubicBezTo>
                  <a:cubicBezTo>
                    <a:pt x="74970" y="511491"/>
                    <a:pt x="74970" y="509145"/>
                    <a:pt x="74970" y="506862"/>
                  </a:cubicBezTo>
                  <a:cubicBezTo>
                    <a:pt x="74843" y="491451"/>
                    <a:pt x="74589" y="491197"/>
                    <a:pt x="59749" y="491007"/>
                  </a:cubicBezTo>
                  <a:cubicBezTo>
                    <a:pt x="54676" y="490944"/>
                    <a:pt x="49602" y="491007"/>
                    <a:pt x="44529" y="490817"/>
                  </a:cubicBezTo>
                  <a:cubicBezTo>
                    <a:pt x="16814" y="490183"/>
                    <a:pt x="389" y="468303"/>
                    <a:pt x="262" y="445282"/>
                  </a:cubicBezTo>
                  <a:cubicBezTo>
                    <a:pt x="-55" y="384463"/>
                    <a:pt x="-118" y="323581"/>
                    <a:pt x="262" y="262762"/>
                  </a:cubicBezTo>
                  <a:cubicBezTo>
                    <a:pt x="452" y="239233"/>
                    <a:pt x="14214" y="223379"/>
                    <a:pt x="37426" y="217608"/>
                  </a:cubicBezTo>
                  <a:cubicBezTo>
                    <a:pt x="56642" y="212788"/>
                    <a:pt x="75858" y="208158"/>
                    <a:pt x="95010" y="203275"/>
                  </a:cubicBezTo>
                  <a:cubicBezTo>
                    <a:pt x="99323" y="202197"/>
                    <a:pt x="103381" y="200231"/>
                    <a:pt x="107060" y="198836"/>
                  </a:cubicBezTo>
                  <a:cubicBezTo>
                    <a:pt x="100972" y="185581"/>
                    <a:pt x="93361" y="174102"/>
                    <a:pt x="90634" y="161482"/>
                  </a:cubicBezTo>
                  <a:cubicBezTo>
                    <a:pt x="87907" y="148798"/>
                    <a:pt x="90000" y="135036"/>
                    <a:pt x="90000" y="121401"/>
                  </a:cubicBezTo>
                  <a:cubicBezTo>
                    <a:pt x="84736" y="119879"/>
                    <a:pt x="80931" y="118801"/>
                    <a:pt x="75984" y="117342"/>
                  </a:cubicBezTo>
                  <a:lnTo>
                    <a:pt x="75984" y="91277"/>
                  </a:lnTo>
                  <a:cubicBezTo>
                    <a:pt x="79980" y="90326"/>
                    <a:pt x="84292" y="89311"/>
                    <a:pt x="88097" y="88423"/>
                  </a:cubicBezTo>
                  <a:cubicBezTo>
                    <a:pt x="90634" y="78910"/>
                    <a:pt x="92029" y="69714"/>
                    <a:pt x="95454" y="61280"/>
                  </a:cubicBezTo>
                  <a:cubicBezTo>
                    <a:pt x="103508" y="41556"/>
                    <a:pt x="117968" y="27731"/>
                    <a:pt x="137881" y="20184"/>
                  </a:cubicBezTo>
                  <a:cubicBezTo>
                    <a:pt x="144477" y="17647"/>
                    <a:pt x="149297" y="15364"/>
                    <a:pt x="149487" y="7183"/>
                  </a:cubicBezTo>
                  <a:cubicBezTo>
                    <a:pt x="149487" y="4837"/>
                    <a:pt x="153673" y="905"/>
                    <a:pt x="156336" y="524"/>
                  </a:cubicBezTo>
                  <a:cubicBezTo>
                    <a:pt x="162995" y="-427"/>
                    <a:pt x="169845" y="207"/>
                    <a:pt x="177011" y="207"/>
                  </a:cubicBezTo>
                  <a:cubicBezTo>
                    <a:pt x="178279" y="6232"/>
                    <a:pt x="179167" y="10671"/>
                    <a:pt x="180309" y="16252"/>
                  </a:cubicBezTo>
                  <a:cubicBezTo>
                    <a:pt x="214365" y="27350"/>
                    <a:pt x="235230" y="50435"/>
                    <a:pt x="238337" y="88106"/>
                  </a:cubicBezTo>
                  <a:cubicBezTo>
                    <a:pt x="242713" y="89184"/>
                    <a:pt x="246645" y="90135"/>
                    <a:pt x="251592" y="91277"/>
                  </a:cubicBezTo>
                  <a:lnTo>
                    <a:pt x="251592" y="117088"/>
                  </a:lnTo>
                  <a:cubicBezTo>
                    <a:pt x="247533" y="118357"/>
                    <a:pt x="243664" y="119498"/>
                    <a:pt x="238464" y="121147"/>
                  </a:cubicBezTo>
                  <a:cubicBezTo>
                    <a:pt x="238210" y="128250"/>
                    <a:pt x="237259" y="135480"/>
                    <a:pt x="237830" y="142646"/>
                  </a:cubicBezTo>
                  <a:cubicBezTo>
                    <a:pt x="239288" y="160530"/>
                    <a:pt x="235039" y="176385"/>
                    <a:pt x="223624" y="190337"/>
                  </a:cubicBezTo>
                  <a:cubicBezTo>
                    <a:pt x="222229" y="192050"/>
                    <a:pt x="221341" y="194269"/>
                    <a:pt x="219248" y="198011"/>
                  </a:cubicBezTo>
                  <a:cubicBezTo>
                    <a:pt x="224766" y="200040"/>
                    <a:pt x="229522" y="202260"/>
                    <a:pt x="234532" y="203592"/>
                  </a:cubicBezTo>
                  <a:cubicBezTo>
                    <a:pt x="256285" y="209363"/>
                    <a:pt x="278164" y="215007"/>
                    <a:pt x="299980" y="220461"/>
                  </a:cubicBezTo>
                  <a:cubicBezTo>
                    <a:pt x="302898" y="221159"/>
                    <a:pt x="306259" y="221349"/>
                    <a:pt x="309113" y="220652"/>
                  </a:cubicBezTo>
                  <a:cubicBezTo>
                    <a:pt x="331436" y="215134"/>
                    <a:pt x="353696" y="209363"/>
                    <a:pt x="375893" y="203465"/>
                  </a:cubicBezTo>
                  <a:cubicBezTo>
                    <a:pt x="380523" y="202260"/>
                    <a:pt x="384962" y="200167"/>
                    <a:pt x="388957" y="198709"/>
                  </a:cubicBezTo>
                  <a:cubicBezTo>
                    <a:pt x="382933" y="185200"/>
                    <a:pt x="375639" y="173595"/>
                    <a:pt x="372722" y="161038"/>
                  </a:cubicBezTo>
                  <a:cubicBezTo>
                    <a:pt x="369741" y="148354"/>
                    <a:pt x="371137" y="134655"/>
                    <a:pt x="370629" y="121147"/>
                  </a:cubicBezTo>
                  <a:cubicBezTo>
                    <a:pt x="365873" y="119689"/>
                    <a:pt x="362004" y="118547"/>
                    <a:pt x="357375" y="117152"/>
                  </a:cubicBezTo>
                  <a:lnTo>
                    <a:pt x="357375" y="91721"/>
                  </a:lnTo>
                  <a:cubicBezTo>
                    <a:pt x="361434" y="90643"/>
                    <a:pt x="365619" y="89501"/>
                    <a:pt x="370946" y="88042"/>
                  </a:cubicBezTo>
                  <a:cubicBezTo>
                    <a:pt x="374878" y="51640"/>
                    <a:pt x="394158" y="27033"/>
                    <a:pt x="429926" y="16442"/>
                  </a:cubicBezTo>
                  <a:cubicBezTo>
                    <a:pt x="430814" y="11496"/>
                    <a:pt x="431575" y="6993"/>
                    <a:pt x="432590" y="1349"/>
                  </a:cubicBezTo>
                  <a:lnTo>
                    <a:pt x="458845" y="1349"/>
                  </a:lnTo>
                  <a:cubicBezTo>
                    <a:pt x="459860" y="5978"/>
                    <a:pt x="460938" y="10798"/>
                    <a:pt x="462206" y="16442"/>
                  </a:cubicBezTo>
                  <a:cubicBezTo>
                    <a:pt x="497277" y="26970"/>
                    <a:pt x="516937" y="51196"/>
                    <a:pt x="520869" y="88169"/>
                  </a:cubicBezTo>
                  <a:cubicBezTo>
                    <a:pt x="525625" y="89311"/>
                    <a:pt x="529557" y="90199"/>
                    <a:pt x="534441" y="91340"/>
                  </a:cubicBezTo>
                  <a:lnTo>
                    <a:pt x="534441" y="117088"/>
                  </a:lnTo>
                  <a:cubicBezTo>
                    <a:pt x="530192" y="118357"/>
                    <a:pt x="526323" y="119498"/>
                    <a:pt x="521313" y="121020"/>
                  </a:cubicBezTo>
                  <a:cubicBezTo>
                    <a:pt x="520806" y="134275"/>
                    <a:pt x="522074" y="147973"/>
                    <a:pt x="519157" y="160594"/>
                  </a:cubicBezTo>
                  <a:cubicBezTo>
                    <a:pt x="516239" y="173214"/>
                    <a:pt x="509136" y="184883"/>
                    <a:pt x="503112" y="198645"/>
                  </a:cubicBezTo>
                  <a:cubicBezTo>
                    <a:pt x="506663" y="200040"/>
                    <a:pt x="510976" y="202133"/>
                    <a:pt x="515542" y="203402"/>
                  </a:cubicBezTo>
                  <a:cubicBezTo>
                    <a:pt x="537738" y="209300"/>
                    <a:pt x="560062" y="215007"/>
                    <a:pt x="582322" y="220652"/>
                  </a:cubicBezTo>
                  <a:cubicBezTo>
                    <a:pt x="584859" y="221286"/>
                    <a:pt x="587713" y="221603"/>
                    <a:pt x="590186" y="220969"/>
                  </a:cubicBezTo>
                  <a:cubicBezTo>
                    <a:pt x="613397" y="215198"/>
                    <a:pt x="636545" y="209236"/>
                    <a:pt x="659693" y="203148"/>
                  </a:cubicBezTo>
                  <a:cubicBezTo>
                    <a:pt x="663562" y="202133"/>
                    <a:pt x="667303" y="200358"/>
                    <a:pt x="671172" y="198836"/>
                  </a:cubicBezTo>
                  <a:cubicBezTo>
                    <a:pt x="665401" y="186025"/>
                    <a:pt x="657917" y="174609"/>
                    <a:pt x="655317" y="162179"/>
                  </a:cubicBezTo>
                  <a:cubicBezTo>
                    <a:pt x="652654" y="149432"/>
                    <a:pt x="654747" y="135670"/>
                    <a:pt x="654747" y="122225"/>
                  </a:cubicBezTo>
                  <a:cubicBezTo>
                    <a:pt x="649166" y="120196"/>
                    <a:pt x="644980" y="118610"/>
                    <a:pt x="640097" y="116835"/>
                  </a:cubicBezTo>
                  <a:lnTo>
                    <a:pt x="640097" y="91657"/>
                  </a:lnTo>
                  <a:cubicBezTo>
                    <a:pt x="644409" y="90452"/>
                    <a:pt x="648658" y="89311"/>
                    <a:pt x="653542" y="87979"/>
                  </a:cubicBezTo>
                  <a:cubicBezTo>
                    <a:pt x="656776" y="51386"/>
                    <a:pt x="676372" y="27858"/>
                    <a:pt x="711507" y="16569"/>
                  </a:cubicBezTo>
                  <a:cubicBezTo>
                    <a:pt x="712521" y="11749"/>
                    <a:pt x="713536" y="6930"/>
                    <a:pt x="714868" y="968"/>
                  </a:cubicBezTo>
                  <a:cubicBezTo>
                    <a:pt x="720005" y="651"/>
                    <a:pt x="724951" y="144"/>
                    <a:pt x="729898" y="144"/>
                  </a:cubicBezTo>
                  <a:cubicBezTo>
                    <a:pt x="740109" y="144"/>
                    <a:pt x="740489" y="144"/>
                    <a:pt x="743089" y="11052"/>
                  </a:cubicBezTo>
                  <a:cubicBezTo>
                    <a:pt x="744421" y="16696"/>
                    <a:pt x="748290" y="17774"/>
                    <a:pt x="752666" y="19423"/>
                  </a:cubicBezTo>
                  <a:cubicBezTo>
                    <a:pt x="772516" y="26906"/>
                    <a:pt x="787546" y="40098"/>
                    <a:pt x="795854" y="59758"/>
                  </a:cubicBezTo>
                  <a:cubicBezTo>
                    <a:pt x="799532" y="68509"/>
                    <a:pt x="801245" y="78212"/>
                    <a:pt x="804098" y="88486"/>
                  </a:cubicBezTo>
                  <a:cubicBezTo>
                    <a:pt x="807142" y="89184"/>
                    <a:pt x="811011" y="90008"/>
                    <a:pt x="815958" y="91150"/>
                  </a:cubicBezTo>
                  <a:lnTo>
                    <a:pt x="815958" y="117215"/>
                  </a:lnTo>
                  <a:cubicBezTo>
                    <a:pt x="812279" y="118230"/>
                    <a:pt x="808474" y="119371"/>
                    <a:pt x="804479" y="120450"/>
                  </a:cubicBezTo>
                  <a:cubicBezTo>
                    <a:pt x="803908" y="121591"/>
                    <a:pt x="802830" y="122796"/>
                    <a:pt x="802767" y="124001"/>
                  </a:cubicBezTo>
                  <a:cubicBezTo>
                    <a:pt x="802449" y="131802"/>
                    <a:pt x="801879" y="139666"/>
                    <a:pt x="802386" y="147466"/>
                  </a:cubicBezTo>
                  <a:cubicBezTo>
                    <a:pt x="803337" y="161989"/>
                    <a:pt x="799279" y="174673"/>
                    <a:pt x="790717" y="186279"/>
                  </a:cubicBezTo>
                  <a:cubicBezTo>
                    <a:pt x="788307" y="189576"/>
                    <a:pt x="786404" y="193255"/>
                    <a:pt x="784121" y="197060"/>
                  </a:cubicBezTo>
                  <a:cubicBezTo>
                    <a:pt x="793317" y="205431"/>
                    <a:pt x="805240" y="204163"/>
                    <a:pt x="815450" y="207714"/>
                  </a:cubicBezTo>
                  <a:cubicBezTo>
                    <a:pt x="828007" y="212027"/>
                    <a:pt x="841262" y="214373"/>
                    <a:pt x="854199" y="217608"/>
                  </a:cubicBezTo>
                  <a:cubicBezTo>
                    <a:pt x="878045" y="223569"/>
                    <a:pt x="891300" y="239551"/>
                    <a:pt x="891743" y="263967"/>
                  </a:cubicBezTo>
                  <a:cubicBezTo>
                    <a:pt x="892124" y="285593"/>
                    <a:pt x="891870" y="307282"/>
                    <a:pt x="891870" y="328971"/>
                  </a:cubicBezTo>
                  <a:cubicBezTo>
                    <a:pt x="891870" y="366325"/>
                    <a:pt x="891807" y="403616"/>
                    <a:pt x="891870" y="440969"/>
                  </a:cubicBezTo>
                  <a:cubicBezTo>
                    <a:pt x="891870" y="453843"/>
                    <a:pt x="888890" y="465576"/>
                    <a:pt x="880391" y="475533"/>
                  </a:cubicBezTo>
                  <a:cubicBezTo>
                    <a:pt x="871766" y="485616"/>
                    <a:pt x="860668" y="490309"/>
                    <a:pt x="847604" y="490753"/>
                  </a:cubicBezTo>
                  <a:cubicBezTo>
                    <a:pt x="842277" y="490944"/>
                    <a:pt x="836949" y="491261"/>
                    <a:pt x="829403" y="491578"/>
                  </a:cubicBezTo>
                  <a:close/>
                  <a:moveTo>
                    <a:pt x="222990" y="862516"/>
                  </a:moveTo>
                  <a:cubicBezTo>
                    <a:pt x="222990" y="854398"/>
                    <a:pt x="222990" y="848564"/>
                    <a:pt x="222990" y="842665"/>
                  </a:cubicBezTo>
                  <a:cubicBezTo>
                    <a:pt x="222990" y="662429"/>
                    <a:pt x="222990" y="482255"/>
                    <a:pt x="222990" y="302018"/>
                  </a:cubicBezTo>
                  <a:cubicBezTo>
                    <a:pt x="222990" y="296247"/>
                    <a:pt x="223561" y="290413"/>
                    <a:pt x="223941" y="283373"/>
                  </a:cubicBezTo>
                  <a:cubicBezTo>
                    <a:pt x="231868" y="283373"/>
                    <a:pt x="238210" y="283373"/>
                    <a:pt x="244616" y="283373"/>
                  </a:cubicBezTo>
                  <a:cubicBezTo>
                    <a:pt x="249626" y="283373"/>
                    <a:pt x="252289" y="285973"/>
                    <a:pt x="252416" y="290983"/>
                  </a:cubicBezTo>
                  <a:cubicBezTo>
                    <a:pt x="252543" y="294662"/>
                    <a:pt x="252543" y="298340"/>
                    <a:pt x="252543" y="302018"/>
                  </a:cubicBezTo>
                  <a:cubicBezTo>
                    <a:pt x="252543" y="346729"/>
                    <a:pt x="252543" y="391439"/>
                    <a:pt x="252543" y="436150"/>
                  </a:cubicBezTo>
                  <a:cubicBezTo>
                    <a:pt x="252543" y="454414"/>
                    <a:pt x="261866" y="462489"/>
                    <a:pt x="280511" y="460376"/>
                  </a:cubicBezTo>
                  <a:cubicBezTo>
                    <a:pt x="281272" y="460312"/>
                    <a:pt x="281969" y="459361"/>
                    <a:pt x="283238" y="458410"/>
                  </a:cubicBezTo>
                  <a:lnTo>
                    <a:pt x="283238" y="247097"/>
                  </a:lnTo>
                  <a:cubicBezTo>
                    <a:pt x="277276" y="245385"/>
                    <a:pt x="271632" y="243546"/>
                    <a:pt x="265861" y="242087"/>
                  </a:cubicBezTo>
                  <a:cubicBezTo>
                    <a:pt x="241825" y="235936"/>
                    <a:pt x="217663" y="230038"/>
                    <a:pt x="193627" y="223632"/>
                  </a:cubicBezTo>
                  <a:cubicBezTo>
                    <a:pt x="178279" y="219510"/>
                    <a:pt x="175235" y="210568"/>
                    <a:pt x="183860" y="196806"/>
                  </a:cubicBezTo>
                  <a:cubicBezTo>
                    <a:pt x="188997" y="188625"/>
                    <a:pt x="193754" y="180063"/>
                    <a:pt x="199842" y="172580"/>
                  </a:cubicBezTo>
                  <a:cubicBezTo>
                    <a:pt x="213160" y="156154"/>
                    <a:pt x="207769" y="138080"/>
                    <a:pt x="207389" y="118991"/>
                  </a:cubicBezTo>
                  <a:cubicBezTo>
                    <a:pt x="200793" y="118991"/>
                    <a:pt x="195783" y="118991"/>
                    <a:pt x="190773" y="118991"/>
                  </a:cubicBezTo>
                  <a:cubicBezTo>
                    <a:pt x="170479" y="118991"/>
                    <a:pt x="150185" y="118991"/>
                    <a:pt x="129954" y="118991"/>
                  </a:cubicBezTo>
                  <a:cubicBezTo>
                    <a:pt x="124500" y="118991"/>
                    <a:pt x="119363" y="119625"/>
                    <a:pt x="119109" y="126601"/>
                  </a:cubicBezTo>
                  <a:cubicBezTo>
                    <a:pt x="118475" y="143598"/>
                    <a:pt x="116826" y="160657"/>
                    <a:pt x="129510" y="175117"/>
                  </a:cubicBezTo>
                  <a:cubicBezTo>
                    <a:pt x="135535" y="181966"/>
                    <a:pt x="140228" y="190084"/>
                    <a:pt x="144858" y="198074"/>
                  </a:cubicBezTo>
                  <a:cubicBezTo>
                    <a:pt x="152024" y="210378"/>
                    <a:pt x="148282" y="219383"/>
                    <a:pt x="134774" y="223379"/>
                  </a:cubicBezTo>
                  <a:cubicBezTo>
                    <a:pt x="129066" y="225091"/>
                    <a:pt x="123232" y="226486"/>
                    <a:pt x="117397" y="227945"/>
                  </a:cubicBezTo>
                  <a:cubicBezTo>
                    <a:pt x="93298" y="234096"/>
                    <a:pt x="69199" y="240058"/>
                    <a:pt x="45163" y="246336"/>
                  </a:cubicBezTo>
                  <a:cubicBezTo>
                    <a:pt x="33874" y="249254"/>
                    <a:pt x="30957" y="253186"/>
                    <a:pt x="30133" y="264664"/>
                  </a:cubicBezTo>
                  <a:cubicBezTo>
                    <a:pt x="29942" y="266948"/>
                    <a:pt x="30069" y="269294"/>
                    <a:pt x="30069" y="271577"/>
                  </a:cubicBezTo>
                  <a:cubicBezTo>
                    <a:pt x="30069" y="326435"/>
                    <a:pt x="30069" y="381292"/>
                    <a:pt x="30069" y="436086"/>
                  </a:cubicBezTo>
                  <a:cubicBezTo>
                    <a:pt x="30069" y="440652"/>
                    <a:pt x="30259" y="445345"/>
                    <a:pt x="31147" y="449785"/>
                  </a:cubicBezTo>
                  <a:cubicBezTo>
                    <a:pt x="32352" y="455619"/>
                    <a:pt x="36094" y="460249"/>
                    <a:pt x="42246" y="460566"/>
                  </a:cubicBezTo>
                  <a:cubicBezTo>
                    <a:pt x="52583" y="461137"/>
                    <a:pt x="63047" y="460693"/>
                    <a:pt x="75033" y="460693"/>
                  </a:cubicBezTo>
                  <a:lnTo>
                    <a:pt x="75033" y="284198"/>
                  </a:lnTo>
                  <a:lnTo>
                    <a:pt x="104079" y="284198"/>
                  </a:lnTo>
                  <a:lnTo>
                    <a:pt x="104079" y="302652"/>
                  </a:lnTo>
                  <a:cubicBezTo>
                    <a:pt x="104079" y="482382"/>
                    <a:pt x="104079" y="662175"/>
                    <a:pt x="104079" y="841905"/>
                  </a:cubicBezTo>
                  <a:cubicBezTo>
                    <a:pt x="104079" y="845583"/>
                    <a:pt x="104269" y="849261"/>
                    <a:pt x="104079" y="852939"/>
                  </a:cubicBezTo>
                  <a:cubicBezTo>
                    <a:pt x="103699" y="860106"/>
                    <a:pt x="107313" y="862960"/>
                    <a:pt x="114099" y="862706"/>
                  </a:cubicBezTo>
                  <a:cubicBezTo>
                    <a:pt x="116382" y="862643"/>
                    <a:pt x="118729" y="862706"/>
                    <a:pt x="121012" y="862706"/>
                  </a:cubicBezTo>
                  <a:cubicBezTo>
                    <a:pt x="145682" y="862833"/>
                    <a:pt x="148790" y="859725"/>
                    <a:pt x="148790" y="834992"/>
                  </a:cubicBezTo>
                  <a:cubicBezTo>
                    <a:pt x="148790" y="742337"/>
                    <a:pt x="148790" y="649681"/>
                    <a:pt x="148790" y="557090"/>
                  </a:cubicBezTo>
                  <a:cubicBezTo>
                    <a:pt x="148790" y="534956"/>
                    <a:pt x="150438" y="533498"/>
                    <a:pt x="172381" y="536288"/>
                  </a:cubicBezTo>
                  <a:cubicBezTo>
                    <a:pt x="174094" y="536478"/>
                    <a:pt x="175743" y="537493"/>
                    <a:pt x="178787" y="538635"/>
                  </a:cubicBezTo>
                  <a:lnTo>
                    <a:pt x="178787" y="554807"/>
                  </a:lnTo>
                  <a:cubicBezTo>
                    <a:pt x="178787" y="647906"/>
                    <a:pt x="178787" y="741005"/>
                    <a:pt x="178787" y="834104"/>
                  </a:cubicBezTo>
                  <a:cubicBezTo>
                    <a:pt x="178787" y="838226"/>
                    <a:pt x="178660" y="842412"/>
                    <a:pt x="178914" y="846534"/>
                  </a:cubicBezTo>
                  <a:cubicBezTo>
                    <a:pt x="179611" y="856364"/>
                    <a:pt x="183543" y="861438"/>
                    <a:pt x="192929" y="862262"/>
                  </a:cubicBezTo>
                  <a:cubicBezTo>
                    <a:pt x="201998" y="863086"/>
                    <a:pt x="211194" y="862452"/>
                    <a:pt x="222926" y="862452"/>
                  </a:cubicBezTo>
                  <a:close/>
                  <a:moveTo>
                    <a:pt x="356614" y="285783"/>
                  </a:moveTo>
                  <a:cubicBezTo>
                    <a:pt x="360102" y="284578"/>
                    <a:pt x="361370" y="283880"/>
                    <a:pt x="362702" y="283690"/>
                  </a:cubicBezTo>
                  <a:cubicBezTo>
                    <a:pt x="385152" y="281217"/>
                    <a:pt x="386484" y="282358"/>
                    <a:pt x="386484" y="304428"/>
                  </a:cubicBezTo>
                  <a:cubicBezTo>
                    <a:pt x="386484" y="483333"/>
                    <a:pt x="386484" y="662175"/>
                    <a:pt x="386484" y="841080"/>
                  </a:cubicBezTo>
                  <a:cubicBezTo>
                    <a:pt x="386484" y="855838"/>
                    <a:pt x="393822" y="863086"/>
                    <a:pt x="408490" y="862833"/>
                  </a:cubicBezTo>
                  <a:cubicBezTo>
                    <a:pt x="426755" y="862516"/>
                    <a:pt x="431131" y="858140"/>
                    <a:pt x="431194" y="839685"/>
                  </a:cubicBezTo>
                  <a:cubicBezTo>
                    <a:pt x="431258" y="808800"/>
                    <a:pt x="431385" y="777915"/>
                    <a:pt x="431068" y="747030"/>
                  </a:cubicBezTo>
                  <a:cubicBezTo>
                    <a:pt x="431068" y="741195"/>
                    <a:pt x="429863" y="735170"/>
                    <a:pt x="428087" y="729526"/>
                  </a:cubicBezTo>
                  <a:cubicBezTo>
                    <a:pt x="409695" y="669785"/>
                    <a:pt x="412486" y="611313"/>
                    <a:pt x="438551" y="554426"/>
                  </a:cubicBezTo>
                  <a:cubicBezTo>
                    <a:pt x="442800" y="545230"/>
                    <a:pt x="443371" y="537366"/>
                    <a:pt x="440010" y="528171"/>
                  </a:cubicBezTo>
                  <a:cubicBezTo>
                    <a:pt x="429419" y="499251"/>
                    <a:pt x="419208" y="470142"/>
                    <a:pt x="408934" y="441096"/>
                  </a:cubicBezTo>
                  <a:cubicBezTo>
                    <a:pt x="406461" y="434184"/>
                    <a:pt x="403734" y="427207"/>
                    <a:pt x="402529" y="420041"/>
                  </a:cubicBezTo>
                  <a:cubicBezTo>
                    <a:pt x="400563" y="408182"/>
                    <a:pt x="407666" y="401459"/>
                    <a:pt x="419398" y="402855"/>
                  </a:cubicBezTo>
                  <a:cubicBezTo>
                    <a:pt x="422126" y="403172"/>
                    <a:pt x="424853" y="403869"/>
                    <a:pt x="427453" y="404757"/>
                  </a:cubicBezTo>
                  <a:cubicBezTo>
                    <a:pt x="442229" y="409957"/>
                    <a:pt x="456879" y="415412"/>
                    <a:pt x="471656" y="420548"/>
                  </a:cubicBezTo>
                  <a:cubicBezTo>
                    <a:pt x="481866" y="424163"/>
                    <a:pt x="492204" y="427461"/>
                    <a:pt x="504380" y="431520"/>
                  </a:cubicBezTo>
                  <a:cubicBezTo>
                    <a:pt x="504761" y="424417"/>
                    <a:pt x="505204" y="419534"/>
                    <a:pt x="505204" y="414650"/>
                  </a:cubicBezTo>
                  <a:cubicBezTo>
                    <a:pt x="505204" y="376853"/>
                    <a:pt x="505204" y="339055"/>
                    <a:pt x="505204" y="301257"/>
                  </a:cubicBezTo>
                  <a:cubicBezTo>
                    <a:pt x="505204" y="283500"/>
                    <a:pt x="506346" y="282422"/>
                    <a:pt x="523913" y="283373"/>
                  </a:cubicBezTo>
                  <a:cubicBezTo>
                    <a:pt x="525308" y="283436"/>
                    <a:pt x="526703" y="283373"/>
                    <a:pt x="528035" y="283563"/>
                  </a:cubicBezTo>
                  <a:cubicBezTo>
                    <a:pt x="532221" y="284007"/>
                    <a:pt x="534885" y="286100"/>
                    <a:pt x="535011" y="290539"/>
                  </a:cubicBezTo>
                  <a:cubicBezTo>
                    <a:pt x="535138" y="294218"/>
                    <a:pt x="535138" y="297896"/>
                    <a:pt x="535138" y="301574"/>
                  </a:cubicBezTo>
                  <a:cubicBezTo>
                    <a:pt x="535138" y="343050"/>
                    <a:pt x="535138" y="384590"/>
                    <a:pt x="535138" y="426066"/>
                  </a:cubicBezTo>
                  <a:cubicBezTo>
                    <a:pt x="535138" y="429300"/>
                    <a:pt x="534948" y="432535"/>
                    <a:pt x="535265" y="435769"/>
                  </a:cubicBezTo>
                  <a:cubicBezTo>
                    <a:pt x="536090" y="443760"/>
                    <a:pt x="538563" y="445472"/>
                    <a:pt x="546173" y="442555"/>
                  </a:cubicBezTo>
                  <a:cubicBezTo>
                    <a:pt x="553466" y="439764"/>
                    <a:pt x="560442" y="436150"/>
                    <a:pt x="567672" y="433169"/>
                  </a:cubicBezTo>
                  <a:cubicBezTo>
                    <a:pt x="579214" y="428412"/>
                    <a:pt x="579405" y="428476"/>
                    <a:pt x="579468" y="416299"/>
                  </a:cubicBezTo>
                  <a:cubicBezTo>
                    <a:pt x="579532" y="366959"/>
                    <a:pt x="579532" y="317619"/>
                    <a:pt x="579468" y="268343"/>
                  </a:cubicBezTo>
                  <a:cubicBezTo>
                    <a:pt x="579468" y="252805"/>
                    <a:pt x="577185" y="249951"/>
                    <a:pt x="562535" y="246146"/>
                  </a:cubicBezTo>
                  <a:cubicBezTo>
                    <a:pt x="533997" y="238789"/>
                    <a:pt x="505395" y="231750"/>
                    <a:pt x="476920" y="224140"/>
                  </a:cubicBezTo>
                  <a:cubicBezTo>
                    <a:pt x="459733" y="219510"/>
                    <a:pt x="456752" y="210822"/>
                    <a:pt x="466455" y="195728"/>
                  </a:cubicBezTo>
                  <a:cubicBezTo>
                    <a:pt x="471909" y="187230"/>
                    <a:pt x="477363" y="178605"/>
                    <a:pt x="483388" y="170487"/>
                  </a:cubicBezTo>
                  <a:cubicBezTo>
                    <a:pt x="488335" y="163828"/>
                    <a:pt x="490428" y="156662"/>
                    <a:pt x="490238" y="148544"/>
                  </a:cubicBezTo>
                  <a:cubicBezTo>
                    <a:pt x="490111" y="143027"/>
                    <a:pt x="490364" y="137446"/>
                    <a:pt x="490238" y="131928"/>
                  </a:cubicBezTo>
                  <a:cubicBezTo>
                    <a:pt x="489857" y="120069"/>
                    <a:pt x="489223" y="119245"/>
                    <a:pt x="477617" y="119181"/>
                  </a:cubicBezTo>
                  <a:cubicBezTo>
                    <a:pt x="456435" y="119054"/>
                    <a:pt x="435190" y="119054"/>
                    <a:pt x="414008" y="119181"/>
                  </a:cubicBezTo>
                  <a:cubicBezTo>
                    <a:pt x="410520" y="119181"/>
                    <a:pt x="406968" y="120069"/>
                    <a:pt x="401768" y="120830"/>
                  </a:cubicBezTo>
                  <a:cubicBezTo>
                    <a:pt x="401768" y="128948"/>
                    <a:pt x="402149" y="136241"/>
                    <a:pt x="401705" y="143471"/>
                  </a:cubicBezTo>
                  <a:cubicBezTo>
                    <a:pt x="400944" y="155013"/>
                    <a:pt x="403607" y="165097"/>
                    <a:pt x="411027" y="174292"/>
                  </a:cubicBezTo>
                  <a:cubicBezTo>
                    <a:pt x="416798" y="181459"/>
                    <a:pt x="421555" y="189449"/>
                    <a:pt x="426375" y="197250"/>
                  </a:cubicBezTo>
                  <a:cubicBezTo>
                    <a:pt x="434682" y="210631"/>
                    <a:pt x="431194" y="219637"/>
                    <a:pt x="415593" y="223759"/>
                  </a:cubicBezTo>
                  <a:cubicBezTo>
                    <a:pt x="387562" y="231179"/>
                    <a:pt x="359404" y="238092"/>
                    <a:pt x="331373" y="245448"/>
                  </a:cubicBezTo>
                  <a:cubicBezTo>
                    <a:pt x="313742" y="250078"/>
                    <a:pt x="312411" y="252044"/>
                    <a:pt x="312411" y="270182"/>
                  </a:cubicBezTo>
                  <a:cubicBezTo>
                    <a:pt x="312411" y="325991"/>
                    <a:pt x="312411" y="381736"/>
                    <a:pt x="312411" y="437545"/>
                  </a:cubicBezTo>
                  <a:cubicBezTo>
                    <a:pt x="312411" y="441223"/>
                    <a:pt x="312284" y="444965"/>
                    <a:pt x="312791" y="448580"/>
                  </a:cubicBezTo>
                  <a:cubicBezTo>
                    <a:pt x="313616" y="454604"/>
                    <a:pt x="317167" y="459551"/>
                    <a:pt x="322938" y="460312"/>
                  </a:cubicBezTo>
                  <a:cubicBezTo>
                    <a:pt x="333656" y="461707"/>
                    <a:pt x="344691" y="462722"/>
                    <a:pt x="356614" y="459234"/>
                  </a:cubicBezTo>
                  <a:lnTo>
                    <a:pt x="356614" y="285846"/>
                  </a:lnTo>
                  <a:close/>
                  <a:moveTo>
                    <a:pt x="638321" y="417060"/>
                  </a:moveTo>
                  <a:cubicBezTo>
                    <a:pt x="638638" y="410148"/>
                    <a:pt x="639082" y="405138"/>
                    <a:pt x="639145" y="400191"/>
                  </a:cubicBezTo>
                  <a:cubicBezTo>
                    <a:pt x="639209" y="367911"/>
                    <a:pt x="639145" y="335694"/>
                    <a:pt x="639145" y="303413"/>
                  </a:cubicBezTo>
                  <a:cubicBezTo>
                    <a:pt x="639145" y="282232"/>
                    <a:pt x="639399" y="281978"/>
                    <a:pt x="660962" y="283436"/>
                  </a:cubicBezTo>
                  <a:cubicBezTo>
                    <a:pt x="663118" y="283563"/>
                    <a:pt x="665211" y="284515"/>
                    <a:pt x="668699" y="285402"/>
                  </a:cubicBezTo>
                  <a:cubicBezTo>
                    <a:pt x="668952" y="329225"/>
                    <a:pt x="668572" y="372730"/>
                    <a:pt x="668889" y="414841"/>
                  </a:cubicBezTo>
                  <a:cubicBezTo>
                    <a:pt x="690769" y="419978"/>
                    <a:pt x="710936" y="423085"/>
                    <a:pt x="729898" y="429617"/>
                  </a:cubicBezTo>
                  <a:cubicBezTo>
                    <a:pt x="749114" y="436213"/>
                    <a:pt x="767252" y="446106"/>
                    <a:pt x="787546" y="455302"/>
                  </a:cubicBezTo>
                  <a:cubicBezTo>
                    <a:pt x="787546" y="426066"/>
                    <a:pt x="787546" y="398098"/>
                    <a:pt x="787546" y="370130"/>
                  </a:cubicBezTo>
                  <a:cubicBezTo>
                    <a:pt x="787546" y="341719"/>
                    <a:pt x="787292" y="313307"/>
                    <a:pt x="787800" y="284324"/>
                  </a:cubicBezTo>
                  <a:lnTo>
                    <a:pt x="816846" y="284324"/>
                  </a:lnTo>
                  <a:cubicBezTo>
                    <a:pt x="816846" y="290349"/>
                    <a:pt x="816846" y="295296"/>
                    <a:pt x="816846" y="300243"/>
                  </a:cubicBezTo>
                  <a:cubicBezTo>
                    <a:pt x="816846" y="348187"/>
                    <a:pt x="816846" y="396069"/>
                    <a:pt x="816846" y="444013"/>
                  </a:cubicBezTo>
                  <a:cubicBezTo>
                    <a:pt x="816846" y="449341"/>
                    <a:pt x="817480" y="454604"/>
                    <a:pt x="817924" y="461137"/>
                  </a:cubicBezTo>
                  <a:cubicBezTo>
                    <a:pt x="827183" y="461137"/>
                    <a:pt x="834920" y="461263"/>
                    <a:pt x="842657" y="461137"/>
                  </a:cubicBezTo>
                  <a:cubicBezTo>
                    <a:pt x="856419" y="460820"/>
                    <a:pt x="861429" y="455936"/>
                    <a:pt x="861936" y="441794"/>
                  </a:cubicBezTo>
                  <a:cubicBezTo>
                    <a:pt x="862254" y="433486"/>
                    <a:pt x="862063" y="425178"/>
                    <a:pt x="862063" y="416934"/>
                  </a:cubicBezTo>
                  <a:cubicBezTo>
                    <a:pt x="862063" y="367657"/>
                    <a:pt x="862127" y="318317"/>
                    <a:pt x="862063" y="269040"/>
                  </a:cubicBezTo>
                  <a:cubicBezTo>
                    <a:pt x="862063" y="253249"/>
                    <a:pt x="859209" y="249824"/>
                    <a:pt x="844116" y="245956"/>
                  </a:cubicBezTo>
                  <a:cubicBezTo>
                    <a:pt x="815197" y="238472"/>
                    <a:pt x="786151" y="231306"/>
                    <a:pt x="757232" y="223569"/>
                  </a:cubicBezTo>
                  <a:cubicBezTo>
                    <a:pt x="743470" y="219891"/>
                    <a:pt x="739918" y="210695"/>
                    <a:pt x="747021" y="198392"/>
                  </a:cubicBezTo>
                  <a:cubicBezTo>
                    <a:pt x="750700" y="192050"/>
                    <a:pt x="754568" y="185644"/>
                    <a:pt x="759325" y="180063"/>
                  </a:cubicBezTo>
                  <a:cubicBezTo>
                    <a:pt x="771564" y="165794"/>
                    <a:pt x="774735" y="149305"/>
                    <a:pt x="773086" y="131167"/>
                  </a:cubicBezTo>
                  <a:cubicBezTo>
                    <a:pt x="772135" y="120323"/>
                    <a:pt x="771818" y="119245"/>
                    <a:pt x="761037" y="119181"/>
                  </a:cubicBezTo>
                  <a:cubicBezTo>
                    <a:pt x="740743" y="118991"/>
                    <a:pt x="720512" y="119118"/>
                    <a:pt x="700218" y="119118"/>
                  </a:cubicBezTo>
                  <a:cubicBezTo>
                    <a:pt x="695335" y="119118"/>
                    <a:pt x="690388" y="119118"/>
                    <a:pt x="684236" y="119118"/>
                  </a:cubicBezTo>
                  <a:cubicBezTo>
                    <a:pt x="683539" y="139475"/>
                    <a:pt x="679163" y="158120"/>
                    <a:pt x="693115" y="174609"/>
                  </a:cubicBezTo>
                  <a:cubicBezTo>
                    <a:pt x="699013" y="181586"/>
                    <a:pt x="703579" y="189767"/>
                    <a:pt x="708399" y="197567"/>
                  </a:cubicBezTo>
                  <a:cubicBezTo>
                    <a:pt x="716390" y="210568"/>
                    <a:pt x="713155" y="219637"/>
                    <a:pt x="698759" y="223632"/>
                  </a:cubicBezTo>
                  <a:cubicBezTo>
                    <a:pt x="681002" y="228516"/>
                    <a:pt x="663118" y="232701"/>
                    <a:pt x="645297" y="237331"/>
                  </a:cubicBezTo>
                  <a:cubicBezTo>
                    <a:pt x="632930" y="240502"/>
                    <a:pt x="620627" y="243863"/>
                    <a:pt x="608133" y="247161"/>
                  </a:cubicBezTo>
                  <a:cubicBezTo>
                    <a:pt x="609782" y="305062"/>
                    <a:pt x="607816" y="361505"/>
                    <a:pt x="609338" y="419597"/>
                  </a:cubicBezTo>
                  <a:cubicBezTo>
                    <a:pt x="619549" y="418709"/>
                    <a:pt x="628047" y="418012"/>
                    <a:pt x="638258" y="417187"/>
                  </a:cubicBezTo>
                  <a:close/>
                  <a:moveTo>
                    <a:pt x="697554" y="506037"/>
                  </a:moveTo>
                  <a:cubicBezTo>
                    <a:pt x="688549" y="506037"/>
                    <a:pt x="681319" y="506037"/>
                    <a:pt x="674089" y="506037"/>
                  </a:cubicBezTo>
                  <a:cubicBezTo>
                    <a:pt x="656586" y="506037"/>
                    <a:pt x="639082" y="505847"/>
                    <a:pt x="621578" y="506101"/>
                  </a:cubicBezTo>
                  <a:cubicBezTo>
                    <a:pt x="610163" y="506228"/>
                    <a:pt x="609275" y="507432"/>
                    <a:pt x="608895" y="519038"/>
                  </a:cubicBezTo>
                  <a:cubicBezTo>
                    <a:pt x="608768" y="522273"/>
                    <a:pt x="608895" y="525507"/>
                    <a:pt x="608895" y="528741"/>
                  </a:cubicBezTo>
                  <a:cubicBezTo>
                    <a:pt x="608895" y="584487"/>
                    <a:pt x="608895" y="640232"/>
                    <a:pt x="608895" y="695977"/>
                  </a:cubicBezTo>
                  <a:cubicBezTo>
                    <a:pt x="608895" y="701304"/>
                    <a:pt x="608324" y="706632"/>
                    <a:pt x="607943" y="712847"/>
                  </a:cubicBezTo>
                  <a:cubicBezTo>
                    <a:pt x="594245" y="713544"/>
                    <a:pt x="581815" y="714115"/>
                    <a:pt x="569385" y="714749"/>
                  </a:cubicBezTo>
                  <a:cubicBezTo>
                    <a:pt x="568941" y="715827"/>
                    <a:pt x="568560" y="716906"/>
                    <a:pt x="568116" y="717984"/>
                  </a:cubicBezTo>
                  <a:cubicBezTo>
                    <a:pt x="596274" y="750898"/>
                    <a:pt x="624432" y="783876"/>
                    <a:pt x="652590" y="816727"/>
                  </a:cubicBezTo>
                  <a:cubicBezTo>
                    <a:pt x="655317" y="814951"/>
                    <a:pt x="656712" y="814444"/>
                    <a:pt x="657537" y="813429"/>
                  </a:cubicBezTo>
                  <a:cubicBezTo>
                    <a:pt x="683666" y="783052"/>
                    <a:pt x="709794" y="752674"/>
                    <a:pt x="735796" y="722169"/>
                  </a:cubicBezTo>
                  <a:cubicBezTo>
                    <a:pt x="737318" y="720394"/>
                    <a:pt x="737762" y="717667"/>
                    <a:pt x="739601" y="713100"/>
                  </a:cubicBezTo>
                  <a:lnTo>
                    <a:pt x="698189" y="713100"/>
                  </a:lnTo>
                  <a:lnTo>
                    <a:pt x="698189" y="643910"/>
                  </a:lnTo>
                  <a:cubicBezTo>
                    <a:pt x="698189" y="620889"/>
                    <a:pt x="698252" y="597805"/>
                    <a:pt x="698189" y="574784"/>
                  </a:cubicBezTo>
                  <a:cubicBezTo>
                    <a:pt x="698062" y="552397"/>
                    <a:pt x="698759" y="529946"/>
                    <a:pt x="697618" y="505847"/>
                  </a:cubicBezTo>
                  <a:close/>
                  <a:moveTo>
                    <a:pt x="461001" y="801189"/>
                  </a:moveTo>
                  <a:cubicBezTo>
                    <a:pt x="461001" y="816283"/>
                    <a:pt x="460621" y="833026"/>
                    <a:pt x="461192" y="849832"/>
                  </a:cubicBezTo>
                  <a:cubicBezTo>
                    <a:pt x="461445" y="856237"/>
                    <a:pt x="466075" y="861120"/>
                    <a:pt x="472607" y="861881"/>
                  </a:cubicBezTo>
                  <a:cubicBezTo>
                    <a:pt x="481169" y="862833"/>
                    <a:pt x="489920" y="862706"/>
                    <a:pt x="498609" y="862325"/>
                  </a:cubicBezTo>
                  <a:cubicBezTo>
                    <a:pt x="500702" y="862262"/>
                    <a:pt x="504063" y="859598"/>
                    <a:pt x="504443" y="857696"/>
                  </a:cubicBezTo>
                  <a:cubicBezTo>
                    <a:pt x="505712" y="850593"/>
                    <a:pt x="507361" y="842792"/>
                    <a:pt x="501082" y="837085"/>
                  </a:cubicBezTo>
                  <a:cubicBezTo>
                    <a:pt x="487954" y="825035"/>
                    <a:pt x="474573" y="813302"/>
                    <a:pt x="461065" y="801316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F8E66EB-6107-EF85-6BEB-1FD77B27BBDE}"/>
                </a:ext>
              </a:extLst>
            </p:cNvPr>
            <p:cNvSpPr/>
            <p:nvPr/>
          </p:nvSpPr>
          <p:spPr>
            <a:xfrm>
              <a:off x="-2971640" y="2526304"/>
              <a:ext cx="44753" cy="61420"/>
            </a:xfrm>
            <a:custGeom>
              <a:avLst/>
              <a:gdLst>
                <a:gd name="connsiteX0" fmla="*/ 188 w 44753"/>
                <a:gd name="connsiteY0" fmla="*/ 127 h 61420"/>
                <a:gd name="connsiteX1" fmla="*/ 40205 w 44753"/>
                <a:gd name="connsiteY1" fmla="*/ 35895 h 61420"/>
                <a:gd name="connsiteX2" fmla="*/ 43566 w 44753"/>
                <a:gd name="connsiteY2" fmla="*/ 56506 h 61420"/>
                <a:gd name="connsiteX3" fmla="*/ 37732 w 44753"/>
                <a:gd name="connsiteY3" fmla="*/ 61136 h 61420"/>
                <a:gd name="connsiteX4" fmla="*/ 11730 w 44753"/>
                <a:gd name="connsiteY4" fmla="*/ 60692 h 61420"/>
                <a:gd name="connsiteX5" fmla="*/ 314 w 44753"/>
                <a:gd name="connsiteY5" fmla="*/ 48642 h 61420"/>
                <a:gd name="connsiteX6" fmla="*/ 124 w 44753"/>
                <a:gd name="connsiteY6" fmla="*/ 0 h 61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4753" h="61420">
                  <a:moveTo>
                    <a:pt x="188" y="127"/>
                  </a:moveTo>
                  <a:cubicBezTo>
                    <a:pt x="13696" y="12176"/>
                    <a:pt x="27077" y="23846"/>
                    <a:pt x="40205" y="35895"/>
                  </a:cubicBezTo>
                  <a:cubicBezTo>
                    <a:pt x="46484" y="41666"/>
                    <a:pt x="44835" y="49403"/>
                    <a:pt x="43566" y="56506"/>
                  </a:cubicBezTo>
                  <a:cubicBezTo>
                    <a:pt x="43249" y="58409"/>
                    <a:pt x="39825" y="61073"/>
                    <a:pt x="37732" y="61136"/>
                  </a:cubicBezTo>
                  <a:cubicBezTo>
                    <a:pt x="29107" y="61516"/>
                    <a:pt x="20355" y="61643"/>
                    <a:pt x="11730" y="60692"/>
                  </a:cubicBezTo>
                  <a:cubicBezTo>
                    <a:pt x="5198" y="59994"/>
                    <a:pt x="568" y="55111"/>
                    <a:pt x="314" y="48642"/>
                  </a:cubicBezTo>
                  <a:cubicBezTo>
                    <a:pt x="-256" y="31900"/>
                    <a:pt x="124" y="15094"/>
                    <a:pt x="124" y="0"/>
                  </a:cubicBezTo>
                  <a:close/>
                </a:path>
              </a:pathLst>
            </a:custGeom>
            <a:grpFill/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0" name="Picture 4" descr="Doctor healthcare worker and medical expert talking about health insurance collaboration in surgery and communication about results at a clinic Expert employees working on research in hospital">
            <a:extLst>
              <a:ext uri="{FF2B5EF4-FFF2-40B4-BE49-F238E27FC236}">
                <a16:creationId xmlns:a16="http://schemas.microsoft.com/office/drawing/2014/main" id="{5FFE47ED-3560-92F4-3FE8-A2E5A818ED66}"/>
              </a:ext>
            </a:extLst>
          </p:cNvPr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 rotWithShape="1"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306710" y="1563759"/>
            <a:ext cx="742808" cy="742808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c 20" descr="Handshake with solid fill">
            <a:extLst>
              <a:ext uri="{FF2B5EF4-FFF2-40B4-BE49-F238E27FC236}">
                <a16:creationId xmlns:a16="http://schemas.microsoft.com/office/drawing/2014/main" id="{95894E80-5F54-FF94-11F9-A2C8FABF07ED}"/>
              </a:ext>
            </a:extLst>
          </p:cNvPr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11276082" y="5194259"/>
            <a:ext cx="631932" cy="63193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9E18C005-DD04-8EF6-7DC0-F8CE278CE8D4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4268616" y="1537169"/>
            <a:ext cx="107613" cy="4572000"/>
          </a:xfrm>
          <a:prstGeom prst="rect">
            <a:avLst/>
          </a:prstGeom>
          <a:solidFill>
            <a:srgbClr val="C7C7C7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7F8B387B-63A8-239C-14E6-949F48229656}"/>
              </a:ext>
            </a:extLst>
          </p:cNvPr>
          <p:cNvSpPr/>
          <p:nvPr>
            <p:custDataLst>
              <p:tags r:id="rId36"/>
            </p:custDataLst>
          </p:nvPr>
        </p:nvSpPr>
        <p:spPr>
          <a:xfrm>
            <a:off x="4322422" y="1436940"/>
            <a:ext cx="3693580" cy="996446"/>
          </a:xfrm>
          <a:prstGeom prst="roundRect">
            <a:avLst>
              <a:gd name="adj" fmla="val 0"/>
            </a:avLst>
          </a:prstGeom>
          <a:noFill/>
          <a:ln>
            <a:solidFill>
              <a:srgbClr val="C7C7C7"/>
            </a:solidFill>
          </a:ln>
          <a:effectLst/>
        </p:spPr>
        <p:txBody>
          <a:bodyPr rIns="640080" rtlCol="0" anchor="b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mentalism is not solving the problem.</a:t>
            </a:r>
            <a:endParaRPr kumimoji="0" lang="en-IN" sz="2000" b="1" i="0" u="none" strike="noStrike" kern="0" cap="none" spc="0" normalizeH="0" baseline="0" noProof="0">
              <a:ln>
                <a:noFill/>
              </a:ln>
              <a:solidFill>
                <a:srgbClr val="1BC0D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60E917E-9FEC-5D3D-52F6-9839A0696591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4285213" y="2550163"/>
            <a:ext cx="3767328" cy="548640"/>
          </a:xfrm>
          <a:prstGeom prst="rect">
            <a:avLst/>
          </a:prstGeom>
          <a:noFill/>
        </p:spPr>
        <p:txBody>
          <a:bodyPr wrap="square" lIns="182880" anchor="ctr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</a:rPr>
              <a:t>Regulato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ising Costs </a:t>
            </a: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 Payment Cuts</a:t>
            </a: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öhne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6553B6F-7447-8332-34AE-648D65FF18F2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4285213" y="3307596"/>
            <a:ext cx="3767328" cy="9144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yers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er away from high-cost providers.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ve out of network.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ase prior authorizations and denials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167252-8808-BEC5-22B4-14688ABA252D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4285212" y="4430789"/>
            <a:ext cx="3823583" cy="7315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ployer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ontract with providers/narrow network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E68EF33-C5D7-4E69-8B84-9FC1009ED7AE}"/>
              </a:ext>
            </a:extLst>
          </p:cNvPr>
          <p:cNvSpPr/>
          <p:nvPr>
            <p:custDataLst>
              <p:tags r:id="rId40"/>
            </p:custDataLst>
          </p:nvPr>
        </p:nvSpPr>
        <p:spPr>
          <a:xfrm>
            <a:off x="4285213" y="5371103"/>
            <a:ext cx="3767328" cy="7315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182880" rtlCol="0" anchor="ctr">
            <a:no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sruptors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onsumer-centric models</a:t>
            </a:r>
          </a:p>
          <a:p>
            <a:pPr marL="285750" marR="0" lvl="1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herry-picking favorable patient grou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s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B50837D-A365-C7E1-AD39-AA06473D0278}"/>
              </a:ext>
            </a:extLst>
          </p:cNvPr>
          <p:cNvSpPr/>
          <p:nvPr>
            <p:custDataLst>
              <p:tags r:id="rId41"/>
            </p:custDataLst>
          </p:nvPr>
        </p:nvSpPr>
        <p:spPr>
          <a:xfrm>
            <a:off x="4276702" y="2650295"/>
            <a:ext cx="91440" cy="91440"/>
          </a:xfrm>
          <a:prstGeom prst="ellipse">
            <a:avLst/>
          </a:prstGeom>
          <a:solidFill>
            <a:srgbClr val="1BC0D3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468F966C-0C29-C8EB-F3C2-79E6B946A6BE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4276702" y="3417369"/>
            <a:ext cx="91440" cy="91440"/>
          </a:xfrm>
          <a:prstGeom prst="ellipse">
            <a:avLst/>
          </a:prstGeom>
          <a:solidFill>
            <a:srgbClr val="1BC0D3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59D62C71-E5FC-3EFD-A8C3-67BB045959E5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4276702" y="4570104"/>
            <a:ext cx="91440" cy="91440"/>
          </a:xfrm>
          <a:prstGeom prst="ellipse">
            <a:avLst/>
          </a:prstGeom>
          <a:solidFill>
            <a:srgbClr val="1BC0D3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63BB158-2631-9539-FD48-B6F91151FA42}"/>
              </a:ext>
            </a:extLst>
          </p:cNvPr>
          <p:cNvSpPr/>
          <p:nvPr>
            <p:custDataLst>
              <p:tags r:id="rId44"/>
            </p:custDataLst>
          </p:nvPr>
        </p:nvSpPr>
        <p:spPr>
          <a:xfrm>
            <a:off x="4276702" y="5489084"/>
            <a:ext cx="91440" cy="91440"/>
          </a:xfrm>
          <a:prstGeom prst="ellipse">
            <a:avLst/>
          </a:prstGeom>
          <a:solidFill>
            <a:srgbClr val="1BC0D3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3" name="Picture 6" descr="Worried doctor reading medical reports of his patient on a computer and thinking of type of treatment during medical appointment">
            <a:extLst>
              <a:ext uri="{FF2B5EF4-FFF2-40B4-BE49-F238E27FC236}">
                <a16:creationId xmlns:a16="http://schemas.microsoft.com/office/drawing/2014/main" id="{C6CB5F3F-2D6B-6F82-A49F-60EBA56601CA}"/>
              </a:ext>
            </a:extLst>
          </p:cNvPr>
          <p:cNvPicPr>
            <a:picLocks noChangeAspect="1" noChangeArrowheads="1"/>
          </p:cNvPicPr>
          <p:nvPr>
            <p:custDataLst>
              <p:tags r:id="rId45"/>
            </p:custDataLst>
          </p:nvPr>
        </p:nvPicPr>
        <p:blipFill rotWithShape="1"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23752" y="1563759"/>
            <a:ext cx="742808" cy="742808"/>
          </a:xfrm>
          <a:prstGeom prst="ellipse">
            <a:avLst/>
          </a:prstGeom>
          <a:ln w="63500" cap="rnd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16162-7C23-6160-6528-7A36BCD43902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46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386317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E7FAF1-D99F-4056-A910-B8F9F63D3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16" imgH="416" progId="TCLayout.ActiveDocument.1">
                  <p:embed/>
                </p:oleObj>
              </mc:Choice>
              <mc:Fallback>
                <p:oleObj name="think-cell Slide" r:id="rId19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E7FAF1-D99F-4056-A910-B8F9F63D3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5ED95542-4560-8A77-1C86-7890903EDB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/>
          <a:lstStyle/>
          <a:p>
            <a:r>
              <a:rPr lang="en-US" b="0"/>
              <a:t>Health Status Driving Need for Care Transformatio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936790F-D4B9-BB21-38D2-37639AF777CE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00.109\693646(pptx)-E1 1-7-25</a:t>
            </a:r>
          </a:p>
        </p:txBody>
      </p: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88E96E07-D6EA-E03B-27EC-40689CD04DA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1488149" y="6228775"/>
            <a:ext cx="445704" cy="445704"/>
          </a:xfrm>
          <a:prstGeom prst="rect">
            <a:avLst/>
          </a:prstGeom>
          <a:solidFill>
            <a:srgbClr val="020C4A"/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algn="ctr">
              <a:defRPr sz="1600">
                <a:solidFill>
                  <a:schemeClr val="bg1"/>
                </a:solidFill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CC7194-A4D0-457B-9D3E-53681723AFF7}" type="slidenum"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893A2D-DF06-456F-9F0B-F4AFA7520A47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CC7194-A4D0-457B-9D3E-53681723AFF7}" type="slidenum">
              <a:rPr kumimoji="0" 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A642696-776F-0FFF-9A86-E23897F527F0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439706" y="1979629"/>
            <a:ext cx="2733108" cy="3945464"/>
            <a:chOff x="5883141" y="2360598"/>
            <a:chExt cx="2908534" cy="2973033"/>
          </a:xfrm>
        </p:grpSpPr>
        <p:sp>
          <p:nvSpPr>
            <p:cNvPr id="6" name="Right Triangle 5">
              <a:extLst>
                <a:ext uri="{FF2B5EF4-FFF2-40B4-BE49-F238E27FC236}">
                  <a16:creationId xmlns:a16="http://schemas.microsoft.com/office/drawing/2014/main" id="{D8CC02AB-FAC2-ED55-89CD-751EF368992C}"/>
                </a:ext>
              </a:extLst>
            </p:cNvPr>
            <p:cNvSpPr/>
            <p:nvPr/>
          </p:nvSpPr>
          <p:spPr>
            <a:xfrm flipH="1">
              <a:off x="5883141" y="2360598"/>
              <a:ext cx="2908534" cy="2973033"/>
            </a:xfrm>
            <a:prstGeom prst="rtTriangle">
              <a:avLst/>
            </a:prstGeom>
            <a:gradFill>
              <a:gsLst>
                <a:gs pos="0">
                  <a:srgbClr val="0D5CAB">
                    <a:lumMod val="75000"/>
                  </a:srgbClr>
                </a:gs>
                <a:gs pos="100000">
                  <a:srgbClr val="0D5CAB"/>
                </a:gs>
              </a:gsLst>
              <a:lin ang="14400000" scaled="0"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Right Triangle 6">
              <a:extLst>
                <a:ext uri="{FF2B5EF4-FFF2-40B4-BE49-F238E27FC236}">
                  <a16:creationId xmlns:a16="http://schemas.microsoft.com/office/drawing/2014/main" id="{80C92172-9576-F09B-E140-E1832C4DBFC4}"/>
                </a:ext>
              </a:extLst>
            </p:cNvPr>
            <p:cNvSpPr/>
            <p:nvPr/>
          </p:nvSpPr>
          <p:spPr>
            <a:xfrm flipH="1">
              <a:off x="7307211" y="2378469"/>
              <a:ext cx="1484461" cy="1483177"/>
            </a:xfrm>
            <a:prstGeom prst="rtTriangle">
              <a:avLst/>
            </a:prstGeom>
            <a:solidFill>
              <a:srgbClr val="020C4A">
                <a:lumMod val="25000"/>
                <a:lumOff val="7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16AC6D01-E7A6-74C1-310D-71C4DC19276D}"/>
                </a:ext>
              </a:extLst>
            </p:cNvPr>
            <p:cNvSpPr/>
            <p:nvPr/>
          </p:nvSpPr>
          <p:spPr>
            <a:xfrm flipH="1">
              <a:off x="8089408" y="2378467"/>
              <a:ext cx="702265" cy="689030"/>
            </a:xfrm>
            <a:prstGeom prst="rtTriangle">
              <a:avLst/>
            </a:prstGeom>
            <a:solidFill>
              <a:srgbClr val="0D5CAB">
                <a:lumMod val="20000"/>
                <a:lumOff val="8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7EE4635E-DB99-7649-B5AF-C8198982B102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5439106" y="1389492"/>
          <a:ext cx="6752892" cy="4535601"/>
        </p:xfrm>
        <a:graphic>
          <a:graphicData uri="http://schemas.openxmlformats.org/drawingml/2006/table">
            <a:tbl>
              <a:tblPr bandRow="1"/>
              <a:tblGrid>
                <a:gridCol w="2799980">
                  <a:extLst>
                    <a:ext uri="{9D8B030D-6E8A-4147-A177-3AD203B41FA5}">
                      <a16:colId xmlns:a16="http://schemas.microsoft.com/office/drawing/2014/main" val="3929970422"/>
                    </a:ext>
                  </a:extLst>
                </a:gridCol>
                <a:gridCol w="988228">
                  <a:extLst>
                    <a:ext uri="{9D8B030D-6E8A-4147-A177-3AD203B41FA5}">
                      <a16:colId xmlns:a16="http://schemas.microsoft.com/office/drawing/2014/main" val="2215060002"/>
                    </a:ext>
                  </a:extLst>
                </a:gridCol>
                <a:gridCol w="988228">
                  <a:extLst>
                    <a:ext uri="{9D8B030D-6E8A-4147-A177-3AD203B41FA5}">
                      <a16:colId xmlns:a16="http://schemas.microsoft.com/office/drawing/2014/main" val="2696596258"/>
                    </a:ext>
                  </a:extLst>
                </a:gridCol>
                <a:gridCol w="988228">
                  <a:extLst>
                    <a:ext uri="{9D8B030D-6E8A-4147-A177-3AD203B41FA5}">
                      <a16:colId xmlns:a16="http://schemas.microsoft.com/office/drawing/2014/main" val="1684382180"/>
                    </a:ext>
                  </a:extLst>
                </a:gridCol>
                <a:gridCol w="988228">
                  <a:extLst>
                    <a:ext uri="{9D8B030D-6E8A-4147-A177-3AD203B41FA5}">
                      <a16:colId xmlns:a16="http://schemas.microsoft.com/office/drawing/2014/main" val="3005340416"/>
                    </a:ext>
                  </a:extLst>
                </a:gridCol>
              </a:tblGrid>
              <a:tr h="5957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1400" b="1">
                          <a:solidFill>
                            <a:schemeClr val="bg1"/>
                          </a:solidFill>
                          <a:latin typeface="+mn-lt"/>
                        </a:rPr>
                        <a:t>Stratum</a:t>
                      </a:r>
                    </a:p>
                  </a:txBody>
                  <a:tcPr anchor="b">
                    <a:lnL w="12700" cmpd="sng">
                      <a:noFill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0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Current % of Population</a:t>
                      </a:r>
                    </a:p>
                  </a:txBody>
                  <a:tcPr anchor="b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0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Current % of Spend</a:t>
                      </a:r>
                      <a:endParaRPr lang="en-US" sz="1200" b="1" baseline="3000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b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0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2035 % of Population</a:t>
                      </a:r>
                    </a:p>
                  </a:txBody>
                  <a:tcPr anchor="b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0C4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bg1"/>
                          </a:solidFill>
                          <a:latin typeface="+mn-lt"/>
                        </a:rPr>
                        <a:t>2035 % of Spend</a:t>
                      </a:r>
                    </a:p>
                  </a:txBody>
                  <a:tcPr anchor="b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0C4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94265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High-Cost Terminal/Irreversible</a:t>
                      </a:r>
                    </a:p>
                  </a:txBody>
                  <a:tcPr marT="82296" marB="82296" anchor="ctr">
                    <a:lnL w="12700" cmpd="sng">
                      <a:noFill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2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26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3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1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5167991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High-Cost Episodic/High Acuity</a:t>
                      </a:r>
                    </a:p>
                  </a:txBody>
                  <a:tcPr marT="82296" marB="82296" anchor="ctr">
                    <a:lnL w="12700" cmpd="sng">
                      <a:noFill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24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9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423497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Moderate-Cost Multi-Chronic</a:t>
                      </a:r>
                    </a:p>
                  </a:txBody>
                  <a:tcPr marT="82296" marB="82296" anchor="ctr">
                    <a:lnL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5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252E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9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252E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8696205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1400" b="1">
                          <a:solidFill>
                            <a:schemeClr val="tx1"/>
                          </a:solidFill>
                          <a:latin typeface="+mn-lt"/>
                        </a:rPr>
                        <a:t> Moderate-Cost Stable Chronic</a:t>
                      </a:r>
                    </a:p>
                  </a:txBody>
                  <a:tcPr marT="82296" marB="82296" anchor="ctr">
                    <a:lnL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6%</a:t>
                      </a:r>
                      <a:endParaRPr lang="en-US" sz="1400">
                        <a:solidFill>
                          <a:schemeClr val="tx1"/>
                        </a:solidFill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18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252E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  <a:cs typeface="Times New Roman" panose="02020603050405020304" pitchFamily="18" charset="0"/>
                        </a:rPr>
                        <a:t>20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252E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024709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1400" b="1">
                          <a:solidFill>
                            <a:schemeClr val="bg1"/>
                          </a:solidFill>
                          <a:latin typeface="+mn-lt"/>
                        </a:rPr>
                        <a:t>Lower-Cost/Episodic</a:t>
                      </a:r>
                    </a:p>
                  </a:txBody>
                  <a:tcPr marT="82296" marB="82296" anchor="ctr">
                    <a:lnL w="12700" cmpd="sng">
                      <a:noFill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4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D9253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060825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r"/>
                      <a:r>
                        <a:rPr lang="en-US" sz="1400" b="1">
                          <a:solidFill>
                            <a:schemeClr val="bg1"/>
                          </a:solidFill>
                          <a:latin typeface="+mn-lt"/>
                        </a:rPr>
                        <a:t>Well At-Risk</a:t>
                      </a:r>
                    </a:p>
                  </a:txBody>
                  <a:tcPr marT="82296" marB="82296" anchor="ctr">
                    <a:lnL w="12700" cmpd="sng">
                      <a:noFill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0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3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4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3840999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1400" b="1">
                          <a:solidFill>
                            <a:schemeClr val="bg1"/>
                          </a:solidFill>
                          <a:latin typeface="+mn-lt"/>
                        </a:rPr>
                        <a:t>Well</a:t>
                      </a:r>
                    </a:p>
                  </a:txBody>
                  <a:tcPr marT="82296" marB="82296" anchor="ctr">
                    <a:lnL w="12700" cmpd="sng">
                      <a:noFill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2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C7C7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4890246"/>
                  </a:ext>
                </a:extLst>
              </a:tr>
              <a:tr h="4924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/>
                      <a:r>
                        <a:rPr lang="en-US" sz="1400" b="1">
                          <a:solidFill>
                            <a:schemeClr val="bg1"/>
                          </a:solidFill>
                          <a:latin typeface="+mn-lt"/>
                        </a:rPr>
                        <a:t>Not Accessing Care</a:t>
                      </a:r>
                    </a:p>
                  </a:txBody>
                  <a:tcPr marT="82296" marB="82296" anchor="ctr">
                    <a:lnL w="12700" cmpd="sng">
                      <a:noFill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15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7C8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1400">
                          <a:solidFill>
                            <a:schemeClr val="tx1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-</a:t>
                      </a:r>
                    </a:p>
                  </a:txBody>
                  <a:tcPr marT="82296" marB="82296"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102943"/>
                  </a:ext>
                </a:extLst>
              </a:tr>
            </a:tbl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EBC6C19D-BDB0-B34F-6366-58F8E7237942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3236694"/>
            <a:ext cx="4927916" cy="2688400"/>
          </a:xfrm>
          <a:prstGeom prst="rect">
            <a:avLst/>
          </a:prstGeom>
          <a:solidFill>
            <a:srgbClr val="C7C7C7">
              <a:lumMod val="40000"/>
              <a:lumOff val="60000"/>
            </a:srgbClr>
          </a:solidFill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Arial" charset="0"/>
              <a:cs typeface="Arial" charset="0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B27D025-06F3-148A-0B01-9CDC74015F21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046547" y="3528919"/>
            <a:ext cx="2406120" cy="2238314"/>
          </a:xfrm>
          <a:custGeom>
            <a:avLst/>
            <a:gdLst>
              <a:gd name="connsiteX0" fmla="*/ 1203060 w 2406120"/>
              <a:gd name="connsiteY0" fmla="*/ 0 h 2238314"/>
              <a:gd name="connsiteX1" fmla="*/ 2406120 w 2406120"/>
              <a:gd name="connsiteY1" fmla="*/ 1203060 h 2238314"/>
              <a:gd name="connsiteX2" fmla="*/ 1875703 w 2406120"/>
              <a:gd name="connsiteY2" fmla="*/ 2200657 h 2238314"/>
              <a:gd name="connsiteX3" fmla="*/ 1813716 w 2406120"/>
              <a:gd name="connsiteY3" fmla="*/ 2238314 h 2238314"/>
              <a:gd name="connsiteX4" fmla="*/ 592404 w 2406120"/>
              <a:gd name="connsiteY4" fmla="*/ 2238314 h 2238314"/>
              <a:gd name="connsiteX5" fmla="*/ 530418 w 2406120"/>
              <a:gd name="connsiteY5" fmla="*/ 2200657 h 2238314"/>
              <a:gd name="connsiteX6" fmla="*/ 0 w 2406120"/>
              <a:gd name="connsiteY6" fmla="*/ 1203060 h 2238314"/>
              <a:gd name="connsiteX7" fmla="*/ 1203060 w 2406120"/>
              <a:gd name="connsiteY7" fmla="*/ 0 h 2238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06120" h="2238314">
                <a:moveTo>
                  <a:pt x="1203060" y="0"/>
                </a:moveTo>
                <a:cubicBezTo>
                  <a:pt x="1867492" y="0"/>
                  <a:pt x="2406120" y="538628"/>
                  <a:pt x="2406120" y="1203060"/>
                </a:cubicBezTo>
                <a:cubicBezTo>
                  <a:pt x="2406120" y="1618330"/>
                  <a:pt x="2195719" y="1984458"/>
                  <a:pt x="1875703" y="2200657"/>
                </a:cubicBezTo>
                <a:lnTo>
                  <a:pt x="1813716" y="2238314"/>
                </a:lnTo>
                <a:lnTo>
                  <a:pt x="592404" y="2238314"/>
                </a:lnTo>
                <a:lnTo>
                  <a:pt x="530418" y="2200657"/>
                </a:lnTo>
                <a:cubicBezTo>
                  <a:pt x="210402" y="1984458"/>
                  <a:pt x="0" y="1618330"/>
                  <a:pt x="0" y="1203060"/>
                </a:cubicBezTo>
                <a:cubicBezTo>
                  <a:pt x="0" y="538628"/>
                  <a:pt x="538628" y="0"/>
                  <a:pt x="1203060" y="0"/>
                </a:cubicBezTo>
                <a:close/>
              </a:path>
            </a:pathLst>
          </a:custGeom>
          <a:gradFill>
            <a:gsLst>
              <a:gs pos="0">
                <a:srgbClr val="4DA6D1"/>
              </a:gs>
              <a:gs pos="100000">
                <a:srgbClr val="0D5CAB"/>
              </a:gs>
            </a:gsLst>
            <a:lin ang="144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FFE60F-6187-DACA-ED8B-FE0F3EE53C82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1389491"/>
            <a:ext cx="4927916" cy="1864669"/>
          </a:xfrm>
          <a:prstGeom prst="rect">
            <a:avLst/>
          </a:prstGeom>
          <a:solidFill>
            <a:srgbClr val="C7C7C7">
              <a:lumMod val="40000"/>
              <a:lumOff val="60000"/>
            </a:srgbClr>
          </a:solidFill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Arial" charset="0"/>
              <a:cs typeface="Arial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99B70B0-7C75-979F-8C2D-0590E27E7F45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20810" y="1434885"/>
            <a:ext cx="4807105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9538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The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rogressive multi-chronic and stable-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chronic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population base will almost double by 2035,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driving up demand for subspecialty services.</a:t>
            </a:r>
          </a:p>
          <a:p>
            <a:pPr marL="109538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These patients will require care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78CAE69-C8F3-18EE-09C4-0E2DB309A86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109792" y="3051326"/>
            <a:ext cx="4129196" cy="2411466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marL="1095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coordination across the continuum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or they will overwhelm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</a:b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delivery networks and </a:t>
            </a:r>
            <a:b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</a:b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drive costs up through </a:t>
            </a:r>
            <a:b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</a:b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testing and treatment.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DBD859EE-12CC-70F3-FEE8-6F950A7FE050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3353156" y="4001657"/>
            <a:ext cx="1792902" cy="1470284"/>
            <a:chOff x="-3973845" y="2361948"/>
            <a:chExt cx="3020972" cy="2477375"/>
          </a:xfrm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6854B62-32DD-C528-2227-CF9FCC0FAF08}"/>
                </a:ext>
              </a:extLst>
            </p:cNvPr>
            <p:cNvSpPr/>
            <p:nvPr/>
          </p:nvSpPr>
          <p:spPr>
            <a:xfrm>
              <a:off x="-3053207" y="2454011"/>
              <a:ext cx="1179695" cy="2085116"/>
            </a:xfrm>
            <a:custGeom>
              <a:avLst/>
              <a:gdLst>
                <a:gd name="connsiteX0" fmla="*/ 0 w 1179695"/>
                <a:gd name="connsiteY0" fmla="*/ 0 h 2085116"/>
                <a:gd name="connsiteX1" fmla="*/ 1179695 w 1179695"/>
                <a:gd name="connsiteY1" fmla="*/ 0 h 2085116"/>
                <a:gd name="connsiteX2" fmla="*/ 1179695 w 1179695"/>
                <a:gd name="connsiteY2" fmla="*/ 2085117 h 2085116"/>
                <a:gd name="connsiteX3" fmla="*/ 0 w 1179695"/>
                <a:gd name="connsiteY3" fmla="*/ 2085117 h 2085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695" h="2085116">
                  <a:moveTo>
                    <a:pt x="0" y="0"/>
                  </a:moveTo>
                  <a:lnTo>
                    <a:pt x="1179695" y="0"/>
                  </a:lnTo>
                  <a:lnTo>
                    <a:pt x="1179695" y="2085117"/>
                  </a:lnTo>
                  <a:lnTo>
                    <a:pt x="0" y="2085117"/>
                  </a:lnTo>
                  <a:close/>
                </a:path>
              </a:pathLst>
            </a:custGeom>
            <a:solidFill>
              <a:srgbClr val="EBEBE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F374608-A22D-ED0B-DE52-F6F9E89CE7E7}"/>
                </a:ext>
              </a:extLst>
            </p:cNvPr>
            <p:cNvSpPr/>
            <p:nvPr/>
          </p:nvSpPr>
          <p:spPr>
            <a:xfrm>
              <a:off x="-3020985" y="3880753"/>
              <a:ext cx="1115251" cy="92051"/>
            </a:xfrm>
            <a:custGeom>
              <a:avLst/>
              <a:gdLst>
                <a:gd name="connsiteX0" fmla="*/ 11502 w 1115251"/>
                <a:gd name="connsiteY0" fmla="*/ 0 h 92051"/>
                <a:gd name="connsiteX1" fmla="*/ 1103749 w 1115251"/>
                <a:gd name="connsiteY1" fmla="*/ 0 h 92051"/>
                <a:gd name="connsiteX2" fmla="*/ 1115251 w 1115251"/>
                <a:gd name="connsiteY2" fmla="*/ 11502 h 92051"/>
                <a:gd name="connsiteX3" fmla="*/ 1115251 w 1115251"/>
                <a:gd name="connsiteY3" fmla="*/ 80549 h 92051"/>
                <a:gd name="connsiteX4" fmla="*/ 1103749 w 1115251"/>
                <a:gd name="connsiteY4" fmla="*/ 92051 h 92051"/>
                <a:gd name="connsiteX5" fmla="*/ 11502 w 1115251"/>
                <a:gd name="connsiteY5" fmla="*/ 92051 h 92051"/>
                <a:gd name="connsiteX6" fmla="*/ 0 w 1115251"/>
                <a:gd name="connsiteY6" fmla="*/ 80549 h 92051"/>
                <a:gd name="connsiteX7" fmla="*/ 0 w 1115251"/>
                <a:gd name="connsiteY7" fmla="*/ 11502 h 92051"/>
                <a:gd name="connsiteX8" fmla="*/ 11502 w 1115251"/>
                <a:gd name="connsiteY8" fmla="*/ 0 h 92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15251" h="92051">
                  <a:moveTo>
                    <a:pt x="11502" y="0"/>
                  </a:moveTo>
                  <a:lnTo>
                    <a:pt x="1103749" y="0"/>
                  </a:lnTo>
                  <a:cubicBezTo>
                    <a:pt x="1110083" y="0"/>
                    <a:pt x="1115251" y="5180"/>
                    <a:pt x="1115251" y="11502"/>
                  </a:cubicBezTo>
                  <a:lnTo>
                    <a:pt x="1115251" y="80549"/>
                  </a:lnTo>
                  <a:cubicBezTo>
                    <a:pt x="1115251" y="86883"/>
                    <a:pt x="1110071" y="92051"/>
                    <a:pt x="1103749" y="92051"/>
                  </a:cubicBezTo>
                  <a:lnTo>
                    <a:pt x="11502" y="92051"/>
                  </a:lnTo>
                  <a:cubicBezTo>
                    <a:pt x="5168" y="92051"/>
                    <a:pt x="0" y="86871"/>
                    <a:pt x="0" y="80549"/>
                  </a:cubicBezTo>
                  <a:lnTo>
                    <a:pt x="0" y="11502"/>
                  </a:lnTo>
                  <a:cubicBezTo>
                    <a:pt x="0" y="5168"/>
                    <a:pt x="5180" y="0"/>
                    <a:pt x="11502" y="0"/>
                  </a:cubicBezTo>
                </a:path>
              </a:pathLst>
            </a:custGeom>
            <a:solidFill>
              <a:srgbClr val="0D5CA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40F0523-DAD1-5278-4447-5500C742A1AC}"/>
                </a:ext>
              </a:extLst>
            </p:cNvPr>
            <p:cNvSpPr/>
            <p:nvPr/>
          </p:nvSpPr>
          <p:spPr>
            <a:xfrm>
              <a:off x="-3021692" y="3960223"/>
              <a:ext cx="1148191" cy="578904"/>
            </a:xfrm>
            <a:custGeom>
              <a:avLst/>
              <a:gdLst>
                <a:gd name="connsiteX0" fmla="*/ 1148180 w 1148191"/>
                <a:gd name="connsiteY0" fmla="*/ 55139 h 578904"/>
                <a:gd name="connsiteX1" fmla="*/ 1115970 w 1148191"/>
                <a:gd name="connsiteY1" fmla="*/ 1078 h 578904"/>
                <a:gd name="connsiteX2" fmla="*/ 1104468 w 1148191"/>
                <a:gd name="connsiteY2" fmla="*/ 12580 h 578904"/>
                <a:gd name="connsiteX3" fmla="*/ 12221 w 1148191"/>
                <a:gd name="connsiteY3" fmla="*/ 12580 h 578904"/>
                <a:gd name="connsiteX4" fmla="*/ 719 w 1148191"/>
                <a:gd name="connsiteY4" fmla="*/ 1078 h 578904"/>
                <a:gd name="connsiteX5" fmla="*/ 345020 w 1148191"/>
                <a:gd name="connsiteY5" fmla="*/ 578905 h 578904"/>
                <a:gd name="connsiteX6" fmla="*/ 1148192 w 1148191"/>
                <a:gd name="connsiteY6" fmla="*/ 578905 h 578904"/>
                <a:gd name="connsiteX7" fmla="*/ 1148192 w 1148191"/>
                <a:gd name="connsiteY7" fmla="*/ 55139 h 578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48191" h="578904">
                  <a:moveTo>
                    <a:pt x="1148180" y="55139"/>
                  </a:moveTo>
                  <a:lnTo>
                    <a:pt x="1115970" y="1078"/>
                  </a:lnTo>
                  <a:cubicBezTo>
                    <a:pt x="1112728" y="-4355"/>
                    <a:pt x="1110790" y="12580"/>
                    <a:pt x="1104468" y="12580"/>
                  </a:cubicBezTo>
                  <a:lnTo>
                    <a:pt x="12221" y="12580"/>
                  </a:lnTo>
                  <a:cubicBezTo>
                    <a:pt x="5887" y="12580"/>
                    <a:pt x="-2523" y="-4367"/>
                    <a:pt x="719" y="1078"/>
                  </a:cubicBezTo>
                  <a:lnTo>
                    <a:pt x="345020" y="578905"/>
                  </a:lnTo>
                  <a:lnTo>
                    <a:pt x="1148192" y="578905"/>
                  </a:lnTo>
                  <a:lnTo>
                    <a:pt x="1148192" y="55139"/>
                  </a:lnTo>
                  <a:close/>
                </a:path>
              </a:pathLst>
            </a:custGeom>
            <a:solidFill>
              <a:srgbClr val="B8B8B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4273F723-010E-D42D-B573-BF4EB36D9EAB}"/>
                </a:ext>
              </a:extLst>
            </p:cNvPr>
            <p:cNvSpPr/>
            <p:nvPr/>
          </p:nvSpPr>
          <p:spPr>
            <a:xfrm>
              <a:off x="-2889743" y="4493097"/>
              <a:ext cx="852780" cy="46031"/>
            </a:xfrm>
            <a:custGeom>
              <a:avLst/>
              <a:gdLst>
                <a:gd name="connsiteX0" fmla="*/ 5757 w 852780"/>
                <a:gd name="connsiteY0" fmla="*/ 0 h 46031"/>
                <a:gd name="connsiteX1" fmla="*/ 847023 w 852780"/>
                <a:gd name="connsiteY1" fmla="*/ 0 h 46031"/>
                <a:gd name="connsiteX2" fmla="*/ 852780 w 852780"/>
                <a:gd name="connsiteY2" fmla="*/ 5757 h 46031"/>
                <a:gd name="connsiteX3" fmla="*/ 852780 w 852780"/>
                <a:gd name="connsiteY3" fmla="*/ 40274 h 46031"/>
                <a:gd name="connsiteX4" fmla="*/ 847023 w 852780"/>
                <a:gd name="connsiteY4" fmla="*/ 46031 h 46031"/>
                <a:gd name="connsiteX5" fmla="*/ 5757 w 852780"/>
                <a:gd name="connsiteY5" fmla="*/ 46031 h 46031"/>
                <a:gd name="connsiteX6" fmla="*/ 0 w 852780"/>
                <a:gd name="connsiteY6" fmla="*/ 40274 h 46031"/>
                <a:gd name="connsiteX7" fmla="*/ 0 w 852780"/>
                <a:gd name="connsiteY7" fmla="*/ 5757 h 46031"/>
                <a:gd name="connsiteX8" fmla="*/ 5757 w 852780"/>
                <a:gd name="connsiteY8" fmla="*/ 0 h 46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2780" h="46031">
                  <a:moveTo>
                    <a:pt x="5757" y="0"/>
                  </a:moveTo>
                  <a:lnTo>
                    <a:pt x="847023" y="0"/>
                  </a:lnTo>
                  <a:cubicBezTo>
                    <a:pt x="850184" y="0"/>
                    <a:pt x="852780" y="2584"/>
                    <a:pt x="852780" y="5757"/>
                  </a:cubicBezTo>
                  <a:lnTo>
                    <a:pt x="852780" y="40274"/>
                  </a:lnTo>
                  <a:cubicBezTo>
                    <a:pt x="852780" y="43435"/>
                    <a:pt x="850196" y="46031"/>
                    <a:pt x="847023" y="46031"/>
                  </a:cubicBezTo>
                  <a:lnTo>
                    <a:pt x="5757" y="46031"/>
                  </a:lnTo>
                  <a:cubicBezTo>
                    <a:pt x="2596" y="46031"/>
                    <a:pt x="0" y="43447"/>
                    <a:pt x="0" y="40274"/>
                  </a:cubicBezTo>
                  <a:lnTo>
                    <a:pt x="0" y="5757"/>
                  </a:lnTo>
                  <a:cubicBezTo>
                    <a:pt x="0" y="2596"/>
                    <a:pt x="2584" y="0"/>
                    <a:pt x="5757" y="0"/>
                  </a:cubicBezTo>
                </a:path>
              </a:pathLst>
            </a:custGeom>
            <a:solidFill>
              <a:srgbClr val="E6E6E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46BE7C4-5762-9A2B-B76F-3861AD6B6F22}"/>
                </a:ext>
              </a:extLst>
            </p:cNvPr>
            <p:cNvSpPr/>
            <p:nvPr/>
          </p:nvSpPr>
          <p:spPr>
            <a:xfrm>
              <a:off x="-2864178" y="4447065"/>
              <a:ext cx="801626" cy="46031"/>
            </a:xfrm>
            <a:custGeom>
              <a:avLst/>
              <a:gdLst>
                <a:gd name="connsiteX0" fmla="*/ 5757 w 801626"/>
                <a:gd name="connsiteY0" fmla="*/ 0 h 46031"/>
                <a:gd name="connsiteX1" fmla="*/ 795870 w 801626"/>
                <a:gd name="connsiteY1" fmla="*/ 0 h 46031"/>
                <a:gd name="connsiteX2" fmla="*/ 801626 w 801626"/>
                <a:gd name="connsiteY2" fmla="*/ 5757 h 46031"/>
                <a:gd name="connsiteX3" fmla="*/ 801626 w 801626"/>
                <a:gd name="connsiteY3" fmla="*/ 40275 h 46031"/>
                <a:gd name="connsiteX4" fmla="*/ 795870 w 801626"/>
                <a:gd name="connsiteY4" fmla="*/ 46032 h 46031"/>
                <a:gd name="connsiteX5" fmla="*/ 5757 w 801626"/>
                <a:gd name="connsiteY5" fmla="*/ 46032 h 46031"/>
                <a:gd name="connsiteX6" fmla="*/ 0 w 801626"/>
                <a:gd name="connsiteY6" fmla="*/ 40275 h 46031"/>
                <a:gd name="connsiteX7" fmla="*/ 0 w 801626"/>
                <a:gd name="connsiteY7" fmla="*/ 5757 h 46031"/>
                <a:gd name="connsiteX8" fmla="*/ 5757 w 801626"/>
                <a:gd name="connsiteY8" fmla="*/ 0 h 46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01626" h="46031">
                  <a:moveTo>
                    <a:pt x="5757" y="0"/>
                  </a:moveTo>
                  <a:lnTo>
                    <a:pt x="795870" y="0"/>
                  </a:lnTo>
                  <a:cubicBezTo>
                    <a:pt x="799031" y="0"/>
                    <a:pt x="801626" y="2584"/>
                    <a:pt x="801626" y="5757"/>
                  </a:cubicBezTo>
                  <a:lnTo>
                    <a:pt x="801626" y="40275"/>
                  </a:lnTo>
                  <a:cubicBezTo>
                    <a:pt x="801626" y="43436"/>
                    <a:pt x="799042" y="46032"/>
                    <a:pt x="795870" y="46032"/>
                  </a:cubicBezTo>
                  <a:lnTo>
                    <a:pt x="5757" y="46032"/>
                  </a:lnTo>
                  <a:cubicBezTo>
                    <a:pt x="2596" y="46032"/>
                    <a:pt x="0" y="43447"/>
                    <a:pt x="0" y="40275"/>
                  </a:cubicBezTo>
                  <a:lnTo>
                    <a:pt x="0" y="5757"/>
                  </a:lnTo>
                  <a:cubicBezTo>
                    <a:pt x="0" y="2596"/>
                    <a:pt x="2584" y="0"/>
                    <a:pt x="5757" y="0"/>
                  </a:cubicBezTo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C8FB9720-A081-D9F5-3035-5DCAD75F583B}"/>
                </a:ext>
              </a:extLst>
            </p:cNvPr>
            <p:cNvSpPr/>
            <p:nvPr/>
          </p:nvSpPr>
          <p:spPr>
            <a:xfrm>
              <a:off x="-2831783" y="4401045"/>
              <a:ext cx="736847" cy="46031"/>
            </a:xfrm>
            <a:custGeom>
              <a:avLst/>
              <a:gdLst>
                <a:gd name="connsiteX0" fmla="*/ 5757 w 736847"/>
                <a:gd name="connsiteY0" fmla="*/ 0 h 46031"/>
                <a:gd name="connsiteX1" fmla="*/ 731091 w 736847"/>
                <a:gd name="connsiteY1" fmla="*/ 0 h 46031"/>
                <a:gd name="connsiteX2" fmla="*/ 736848 w 736847"/>
                <a:gd name="connsiteY2" fmla="*/ 5757 h 46031"/>
                <a:gd name="connsiteX3" fmla="*/ 736848 w 736847"/>
                <a:gd name="connsiteY3" fmla="*/ 40274 h 46031"/>
                <a:gd name="connsiteX4" fmla="*/ 731091 w 736847"/>
                <a:gd name="connsiteY4" fmla="*/ 46031 h 46031"/>
                <a:gd name="connsiteX5" fmla="*/ 5757 w 736847"/>
                <a:gd name="connsiteY5" fmla="*/ 46031 h 46031"/>
                <a:gd name="connsiteX6" fmla="*/ 0 w 736847"/>
                <a:gd name="connsiteY6" fmla="*/ 40274 h 46031"/>
                <a:gd name="connsiteX7" fmla="*/ 0 w 736847"/>
                <a:gd name="connsiteY7" fmla="*/ 5757 h 46031"/>
                <a:gd name="connsiteX8" fmla="*/ 5757 w 736847"/>
                <a:gd name="connsiteY8" fmla="*/ 0 h 46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6847" h="46031">
                  <a:moveTo>
                    <a:pt x="5757" y="0"/>
                  </a:moveTo>
                  <a:lnTo>
                    <a:pt x="731091" y="0"/>
                  </a:lnTo>
                  <a:cubicBezTo>
                    <a:pt x="734252" y="0"/>
                    <a:pt x="736848" y="2584"/>
                    <a:pt x="736848" y="5757"/>
                  </a:cubicBezTo>
                  <a:lnTo>
                    <a:pt x="736848" y="40274"/>
                  </a:lnTo>
                  <a:cubicBezTo>
                    <a:pt x="736848" y="43435"/>
                    <a:pt x="734264" y="46031"/>
                    <a:pt x="731091" y="46031"/>
                  </a:cubicBezTo>
                  <a:lnTo>
                    <a:pt x="5757" y="46031"/>
                  </a:lnTo>
                  <a:cubicBezTo>
                    <a:pt x="2596" y="46031"/>
                    <a:pt x="0" y="43447"/>
                    <a:pt x="0" y="40274"/>
                  </a:cubicBezTo>
                  <a:lnTo>
                    <a:pt x="0" y="5757"/>
                  </a:lnTo>
                  <a:cubicBezTo>
                    <a:pt x="0" y="2596"/>
                    <a:pt x="2584" y="0"/>
                    <a:pt x="5757" y="0"/>
                  </a:cubicBezTo>
                </a:path>
              </a:pathLst>
            </a:custGeom>
            <a:solidFill>
              <a:srgbClr val="E6E6E6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23BB8B17-DAE7-B947-2107-F3982EC725F4}"/>
                </a:ext>
              </a:extLst>
            </p:cNvPr>
            <p:cNvSpPr/>
            <p:nvPr/>
          </p:nvSpPr>
          <p:spPr>
            <a:xfrm>
              <a:off x="-2795985" y="4355014"/>
              <a:ext cx="665251" cy="46031"/>
            </a:xfrm>
            <a:custGeom>
              <a:avLst/>
              <a:gdLst>
                <a:gd name="connsiteX0" fmla="*/ 5757 w 665251"/>
                <a:gd name="connsiteY0" fmla="*/ 0 h 46031"/>
                <a:gd name="connsiteX1" fmla="*/ 659495 w 665251"/>
                <a:gd name="connsiteY1" fmla="*/ 0 h 46031"/>
                <a:gd name="connsiteX2" fmla="*/ 665251 w 665251"/>
                <a:gd name="connsiteY2" fmla="*/ 5757 h 46031"/>
                <a:gd name="connsiteX3" fmla="*/ 665251 w 665251"/>
                <a:gd name="connsiteY3" fmla="*/ 40274 h 46031"/>
                <a:gd name="connsiteX4" fmla="*/ 659495 w 665251"/>
                <a:gd name="connsiteY4" fmla="*/ 46031 h 46031"/>
                <a:gd name="connsiteX5" fmla="*/ 5757 w 665251"/>
                <a:gd name="connsiteY5" fmla="*/ 46031 h 46031"/>
                <a:gd name="connsiteX6" fmla="*/ 0 w 665251"/>
                <a:gd name="connsiteY6" fmla="*/ 40274 h 46031"/>
                <a:gd name="connsiteX7" fmla="*/ 0 w 665251"/>
                <a:gd name="connsiteY7" fmla="*/ 5757 h 46031"/>
                <a:gd name="connsiteX8" fmla="*/ 5757 w 665251"/>
                <a:gd name="connsiteY8" fmla="*/ 0 h 46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5251" h="46031">
                  <a:moveTo>
                    <a:pt x="5757" y="0"/>
                  </a:moveTo>
                  <a:lnTo>
                    <a:pt x="659495" y="0"/>
                  </a:lnTo>
                  <a:cubicBezTo>
                    <a:pt x="662656" y="0"/>
                    <a:pt x="665251" y="2584"/>
                    <a:pt x="665251" y="5757"/>
                  </a:cubicBezTo>
                  <a:lnTo>
                    <a:pt x="665251" y="40274"/>
                  </a:lnTo>
                  <a:cubicBezTo>
                    <a:pt x="665251" y="43435"/>
                    <a:pt x="662667" y="46031"/>
                    <a:pt x="659495" y="46031"/>
                  </a:cubicBezTo>
                  <a:lnTo>
                    <a:pt x="5757" y="46031"/>
                  </a:lnTo>
                  <a:cubicBezTo>
                    <a:pt x="2596" y="46031"/>
                    <a:pt x="0" y="43447"/>
                    <a:pt x="0" y="40274"/>
                  </a:cubicBezTo>
                  <a:lnTo>
                    <a:pt x="0" y="5757"/>
                  </a:lnTo>
                  <a:cubicBezTo>
                    <a:pt x="0" y="2596"/>
                    <a:pt x="2584" y="0"/>
                    <a:pt x="5757" y="0"/>
                  </a:cubicBezTo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DA73422-7FA1-7266-1C37-C4429F9B22D1}"/>
                </a:ext>
              </a:extLst>
            </p:cNvPr>
            <p:cNvSpPr/>
            <p:nvPr/>
          </p:nvSpPr>
          <p:spPr>
            <a:xfrm>
              <a:off x="-2742743" y="3972804"/>
              <a:ext cx="562574" cy="382210"/>
            </a:xfrm>
            <a:custGeom>
              <a:avLst/>
              <a:gdLst>
                <a:gd name="connsiteX0" fmla="*/ 0 w 562574"/>
                <a:gd name="connsiteY0" fmla="*/ 0 h 382210"/>
                <a:gd name="connsiteX1" fmla="*/ 562575 w 562574"/>
                <a:gd name="connsiteY1" fmla="*/ 0 h 382210"/>
                <a:gd name="connsiteX2" fmla="*/ 562575 w 562574"/>
                <a:gd name="connsiteY2" fmla="*/ 382210 h 382210"/>
                <a:gd name="connsiteX3" fmla="*/ 0 w 562574"/>
                <a:gd name="connsiteY3" fmla="*/ 382210 h 38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2574" h="382210">
                  <a:moveTo>
                    <a:pt x="0" y="0"/>
                  </a:moveTo>
                  <a:lnTo>
                    <a:pt x="562575" y="0"/>
                  </a:lnTo>
                  <a:lnTo>
                    <a:pt x="562575" y="382210"/>
                  </a:lnTo>
                  <a:lnTo>
                    <a:pt x="0" y="382210"/>
                  </a:lnTo>
                  <a:close/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8A1D193-4CE0-741B-64A9-7BBEF0F5708F}"/>
                </a:ext>
              </a:extLst>
            </p:cNvPr>
            <p:cNvSpPr/>
            <p:nvPr/>
          </p:nvSpPr>
          <p:spPr>
            <a:xfrm>
              <a:off x="-2449746" y="3987721"/>
              <a:ext cx="247415" cy="367293"/>
            </a:xfrm>
            <a:custGeom>
              <a:avLst/>
              <a:gdLst>
                <a:gd name="connsiteX0" fmla="*/ 0 w 247415"/>
                <a:gd name="connsiteY0" fmla="*/ 0 h 367293"/>
                <a:gd name="connsiteX1" fmla="*/ 247416 w 247415"/>
                <a:gd name="connsiteY1" fmla="*/ 0 h 367293"/>
                <a:gd name="connsiteX2" fmla="*/ 247416 w 247415"/>
                <a:gd name="connsiteY2" fmla="*/ 367293 h 367293"/>
                <a:gd name="connsiteX3" fmla="*/ 0 w 247415"/>
                <a:gd name="connsiteY3" fmla="*/ 367293 h 367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15" h="367293">
                  <a:moveTo>
                    <a:pt x="0" y="0"/>
                  </a:moveTo>
                  <a:lnTo>
                    <a:pt x="247416" y="0"/>
                  </a:lnTo>
                  <a:lnTo>
                    <a:pt x="247416" y="367293"/>
                  </a:lnTo>
                  <a:lnTo>
                    <a:pt x="0" y="367293"/>
                  </a:lnTo>
                  <a:close/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5B3A4F14-4AEC-B29E-EF0E-83A3251FBF1C}"/>
                </a:ext>
              </a:extLst>
            </p:cNvPr>
            <p:cNvSpPr/>
            <p:nvPr/>
          </p:nvSpPr>
          <p:spPr>
            <a:xfrm>
              <a:off x="-2492143" y="4153088"/>
              <a:ext cx="10186" cy="46031"/>
            </a:xfrm>
            <a:custGeom>
              <a:avLst/>
              <a:gdLst>
                <a:gd name="connsiteX0" fmla="*/ 0 w 10186"/>
                <a:gd name="connsiteY0" fmla="*/ 0 h 46031"/>
                <a:gd name="connsiteX1" fmla="*/ 10187 w 10186"/>
                <a:gd name="connsiteY1" fmla="*/ 0 h 46031"/>
                <a:gd name="connsiteX2" fmla="*/ 10187 w 10186"/>
                <a:gd name="connsiteY2" fmla="*/ 46031 h 46031"/>
                <a:gd name="connsiteX3" fmla="*/ 0 w 10186"/>
                <a:gd name="connsiteY3" fmla="*/ 46031 h 46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6" h="46031">
                  <a:moveTo>
                    <a:pt x="0" y="0"/>
                  </a:moveTo>
                  <a:lnTo>
                    <a:pt x="10187" y="0"/>
                  </a:lnTo>
                  <a:lnTo>
                    <a:pt x="10187" y="46031"/>
                  </a:lnTo>
                  <a:lnTo>
                    <a:pt x="0" y="46031"/>
                  </a:lnTo>
                  <a:close/>
                </a:path>
              </a:pathLst>
            </a:custGeom>
            <a:solidFill>
              <a:srgbClr val="808080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64B3E1BC-645B-A455-75ED-A15C15073922}"/>
                </a:ext>
              </a:extLst>
            </p:cNvPr>
            <p:cNvSpPr/>
            <p:nvPr/>
          </p:nvSpPr>
          <p:spPr>
            <a:xfrm>
              <a:off x="-2431149" y="4153088"/>
              <a:ext cx="10186" cy="46031"/>
            </a:xfrm>
            <a:custGeom>
              <a:avLst/>
              <a:gdLst>
                <a:gd name="connsiteX0" fmla="*/ 0 w 10186"/>
                <a:gd name="connsiteY0" fmla="*/ 0 h 46031"/>
                <a:gd name="connsiteX1" fmla="*/ 10187 w 10186"/>
                <a:gd name="connsiteY1" fmla="*/ 0 h 46031"/>
                <a:gd name="connsiteX2" fmla="*/ 10187 w 10186"/>
                <a:gd name="connsiteY2" fmla="*/ 46031 h 46031"/>
                <a:gd name="connsiteX3" fmla="*/ 0 w 10186"/>
                <a:gd name="connsiteY3" fmla="*/ 46031 h 46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6" h="46031">
                  <a:moveTo>
                    <a:pt x="0" y="0"/>
                  </a:moveTo>
                  <a:lnTo>
                    <a:pt x="10187" y="0"/>
                  </a:lnTo>
                  <a:lnTo>
                    <a:pt x="10187" y="46031"/>
                  </a:lnTo>
                  <a:lnTo>
                    <a:pt x="0" y="46031"/>
                  </a:lnTo>
                  <a:close/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38F5D82A-DBFD-5654-630E-B6FC264B8529}"/>
                </a:ext>
              </a:extLst>
            </p:cNvPr>
            <p:cNvSpPr/>
            <p:nvPr/>
          </p:nvSpPr>
          <p:spPr>
            <a:xfrm>
              <a:off x="-2719243" y="3987721"/>
              <a:ext cx="247415" cy="367293"/>
            </a:xfrm>
            <a:custGeom>
              <a:avLst/>
              <a:gdLst>
                <a:gd name="connsiteX0" fmla="*/ 0 w 247415"/>
                <a:gd name="connsiteY0" fmla="*/ 0 h 367293"/>
                <a:gd name="connsiteX1" fmla="*/ 247416 w 247415"/>
                <a:gd name="connsiteY1" fmla="*/ 0 h 367293"/>
                <a:gd name="connsiteX2" fmla="*/ 247416 w 247415"/>
                <a:gd name="connsiteY2" fmla="*/ 367293 h 367293"/>
                <a:gd name="connsiteX3" fmla="*/ 0 w 247415"/>
                <a:gd name="connsiteY3" fmla="*/ 367293 h 367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415" h="367293">
                  <a:moveTo>
                    <a:pt x="0" y="0"/>
                  </a:moveTo>
                  <a:lnTo>
                    <a:pt x="247416" y="0"/>
                  </a:lnTo>
                  <a:lnTo>
                    <a:pt x="247416" y="367293"/>
                  </a:lnTo>
                  <a:lnTo>
                    <a:pt x="0" y="367293"/>
                  </a:lnTo>
                  <a:close/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B75B2FF-4A4C-8498-AB4F-BBFAF4E5E5B5}"/>
                </a:ext>
              </a:extLst>
            </p:cNvPr>
            <p:cNvSpPr/>
            <p:nvPr/>
          </p:nvSpPr>
          <p:spPr>
            <a:xfrm>
              <a:off x="-2497588" y="4156064"/>
              <a:ext cx="10186" cy="46031"/>
            </a:xfrm>
            <a:custGeom>
              <a:avLst/>
              <a:gdLst>
                <a:gd name="connsiteX0" fmla="*/ 0 w 10186"/>
                <a:gd name="connsiteY0" fmla="*/ 0 h 46031"/>
                <a:gd name="connsiteX1" fmla="*/ 10187 w 10186"/>
                <a:gd name="connsiteY1" fmla="*/ 0 h 46031"/>
                <a:gd name="connsiteX2" fmla="*/ 10187 w 10186"/>
                <a:gd name="connsiteY2" fmla="*/ 46031 h 46031"/>
                <a:gd name="connsiteX3" fmla="*/ 0 w 10186"/>
                <a:gd name="connsiteY3" fmla="*/ 46031 h 46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86" h="46031">
                  <a:moveTo>
                    <a:pt x="0" y="0"/>
                  </a:moveTo>
                  <a:lnTo>
                    <a:pt x="10187" y="0"/>
                  </a:lnTo>
                  <a:lnTo>
                    <a:pt x="10187" y="46031"/>
                  </a:lnTo>
                  <a:lnTo>
                    <a:pt x="0" y="46031"/>
                  </a:lnTo>
                  <a:close/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DE634D2E-4971-95D1-012F-54D642ABBF55}"/>
                </a:ext>
              </a:extLst>
            </p:cNvPr>
            <p:cNvSpPr/>
            <p:nvPr/>
          </p:nvSpPr>
          <p:spPr>
            <a:xfrm>
              <a:off x="-1873511" y="2831468"/>
              <a:ext cx="553103" cy="1707659"/>
            </a:xfrm>
            <a:custGeom>
              <a:avLst/>
              <a:gdLst>
                <a:gd name="connsiteX0" fmla="*/ 0 w 553103"/>
                <a:gd name="connsiteY0" fmla="*/ 0 h 1707659"/>
                <a:gd name="connsiteX1" fmla="*/ 553103 w 553103"/>
                <a:gd name="connsiteY1" fmla="*/ 0 h 1707659"/>
                <a:gd name="connsiteX2" fmla="*/ 553103 w 553103"/>
                <a:gd name="connsiteY2" fmla="*/ 1707660 h 1707659"/>
                <a:gd name="connsiteX3" fmla="*/ 0 w 553103"/>
                <a:gd name="connsiteY3" fmla="*/ 1707660 h 1707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3103" h="1707659">
                  <a:moveTo>
                    <a:pt x="0" y="0"/>
                  </a:moveTo>
                  <a:lnTo>
                    <a:pt x="553103" y="0"/>
                  </a:lnTo>
                  <a:lnTo>
                    <a:pt x="553103" y="1707660"/>
                  </a:lnTo>
                  <a:lnTo>
                    <a:pt x="0" y="1707660"/>
                  </a:lnTo>
                  <a:close/>
                </a:path>
              </a:pathLst>
            </a:custGeom>
            <a:solidFill>
              <a:srgbClr val="D9D9D9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80F389C1-4BFC-031F-B42B-8034F58E186A}"/>
                </a:ext>
              </a:extLst>
            </p:cNvPr>
            <p:cNvSpPr/>
            <p:nvPr/>
          </p:nvSpPr>
          <p:spPr>
            <a:xfrm>
              <a:off x="-3606310" y="2831468"/>
              <a:ext cx="553103" cy="1707659"/>
            </a:xfrm>
            <a:custGeom>
              <a:avLst/>
              <a:gdLst>
                <a:gd name="connsiteX0" fmla="*/ 0 w 553103"/>
                <a:gd name="connsiteY0" fmla="*/ 0 h 1707659"/>
                <a:gd name="connsiteX1" fmla="*/ 553103 w 553103"/>
                <a:gd name="connsiteY1" fmla="*/ 0 h 1707659"/>
                <a:gd name="connsiteX2" fmla="*/ 553103 w 553103"/>
                <a:gd name="connsiteY2" fmla="*/ 1707660 h 1707659"/>
                <a:gd name="connsiteX3" fmla="*/ 0 w 553103"/>
                <a:gd name="connsiteY3" fmla="*/ 1707660 h 1707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3103" h="1707659">
                  <a:moveTo>
                    <a:pt x="0" y="0"/>
                  </a:moveTo>
                  <a:lnTo>
                    <a:pt x="553103" y="0"/>
                  </a:lnTo>
                  <a:lnTo>
                    <a:pt x="553103" y="1707660"/>
                  </a:lnTo>
                  <a:lnTo>
                    <a:pt x="0" y="1707660"/>
                  </a:lnTo>
                  <a:close/>
                </a:path>
              </a:pathLst>
            </a:custGeom>
            <a:solidFill>
              <a:srgbClr val="D9D9D9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AE6329A7-1B0E-6E85-7B61-EB2F14D7B556}"/>
                </a:ext>
              </a:extLst>
            </p:cNvPr>
            <p:cNvSpPr/>
            <p:nvPr/>
          </p:nvSpPr>
          <p:spPr>
            <a:xfrm>
              <a:off x="-2964120" y="3972804"/>
              <a:ext cx="58260" cy="566324"/>
            </a:xfrm>
            <a:custGeom>
              <a:avLst/>
              <a:gdLst>
                <a:gd name="connsiteX0" fmla="*/ 0 w 58260"/>
                <a:gd name="connsiteY0" fmla="*/ 0 h 566324"/>
                <a:gd name="connsiteX1" fmla="*/ 58260 w 58260"/>
                <a:gd name="connsiteY1" fmla="*/ 0 h 566324"/>
                <a:gd name="connsiteX2" fmla="*/ 58260 w 58260"/>
                <a:gd name="connsiteY2" fmla="*/ 566324 h 566324"/>
                <a:gd name="connsiteX3" fmla="*/ 0 w 58260"/>
                <a:gd name="connsiteY3" fmla="*/ 566324 h 566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0" h="566324">
                  <a:moveTo>
                    <a:pt x="0" y="0"/>
                  </a:moveTo>
                  <a:lnTo>
                    <a:pt x="58260" y="0"/>
                  </a:lnTo>
                  <a:lnTo>
                    <a:pt x="58260" y="566324"/>
                  </a:lnTo>
                  <a:lnTo>
                    <a:pt x="0" y="566324"/>
                  </a:lnTo>
                  <a:close/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271305C-BA8D-CEEF-3472-E947D6790818}"/>
                </a:ext>
              </a:extLst>
            </p:cNvPr>
            <p:cNvSpPr/>
            <p:nvPr/>
          </p:nvSpPr>
          <p:spPr>
            <a:xfrm>
              <a:off x="-2020858" y="3972804"/>
              <a:ext cx="58260" cy="566324"/>
            </a:xfrm>
            <a:custGeom>
              <a:avLst/>
              <a:gdLst>
                <a:gd name="connsiteX0" fmla="*/ 0 w 58260"/>
                <a:gd name="connsiteY0" fmla="*/ 0 h 566324"/>
                <a:gd name="connsiteX1" fmla="*/ 58260 w 58260"/>
                <a:gd name="connsiteY1" fmla="*/ 0 h 566324"/>
                <a:gd name="connsiteX2" fmla="*/ 58260 w 58260"/>
                <a:gd name="connsiteY2" fmla="*/ 566324 h 566324"/>
                <a:gd name="connsiteX3" fmla="*/ 0 w 58260"/>
                <a:gd name="connsiteY3" fmla="*/ 566324 h 566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8260" h="566324">
                  <a:moveTo>
                    <a:pt x="0" y="0"/>
                  </a:moveTo>
                  <a:lnTo>
                    <a:pt x="58260" y="0"/>
                  </a:lnTo>
                  <a:lnTo>
                    <a:pt x="58260" y="566324"/>
                  </a:lnTo>
                  <a:lnTo>
                    <a:pt x="0" y="566324"/>
                  </a:lnTo>
                  <a:close/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FEA5F7A-D720-5721-A4D3-B9104AA92E04}"/>
                </a:ext>
              </a:extLst>
            </p:cNvPr>
            <p:cNvSpPr/>
            <p:nvPr/>
          </p:nvSpPr>
          <p:spPr>
            <a:xfrm>
              <a:off x="-3077572" y="2361948"/>
              <a:ext cx="1228425" cy="92051"/>
            </a:xfrm>
            <a:custGeom>
              <a:avLst/>
              <a:gdLst>
                <a:gd name="connsiteX0" fmla="*/ 11502 w 1228425"/>
                <a:gd name="connsiteY0" fmla="*/ 0 h 92051"/>
                <a:gd name="connsiteX1" fmla="*/ 1216924 w 1228425"/>
                <a:gd name="connsiteY1" fmla="*/ 0 h 92051"/>
                <a:gd name="connsiteX2" fmla="*/ 1228426 w 1228425"/>
                <a:gd name="connsiteY2" fmla="*/ 11502 h 92051"/>
                <a:gd name="connsiteX3" fmla="*/ 1228426 w 1228425"/>
                <a:gd name="connsiteY3" fmla="*/ 80549 h 92051"/>
                <a:gd name="connsiteX4" fmla="*/ 1216924 w 1228425"/>
                <a:gd name="connsiteY4" fmla="*/ 92051 h 92051"/>
                <a:gd name="connsiteX5" fmla="*/ 11502 w 1228425"/>
                <a:gd name="connsiteY5" fmla="*/ 92051 h 92051"/>
                <a:gd name="connsiteX6" fmla="*/ 0 w 1228425"/>
                <a:gd name="connsiteY6" fmla="*/ 80549 h 92051"/>
                <a:gd name="connsiteX7" fmla="*/ 0 w 1228425"/>
                <a:gd name="connsiteY7" fmla="*/ 11502 h 92051"/>
                <a:gd name="connsiteX8" fmla="*/ 11502 w 1228425"/>
                <a:gd name="connsiteY8" fmla="*/ 0 h 92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28425" h="92051">
                  <a:moveTo>
                    <a:pt x="11502" y="0"/>
                  </a:moveTo>
                  <a:lnTo>
                    <a:pt x="1216924" y="0"/>
                  </a:lnTo>
                  <a:cubicBezTo>
                    <a:pt x="1223258" y="0"/>
                    <a:pt x="1228426" y="5180"/>
                    <a:pt x="1228426" y="11502"/>
                  </a:cubicBezTo>
                  <a:lnTo>
                    <a:pt x="1228426" y="80549"/>
                  </a:lnTo>
                  <a:cubicBezTo>
                    <a:pt x="1228426" y="86883"/>
                    <a:pt x="1223246" y="92051"/>
                    <a:pt x="1216924" y="92051"/>
                  </a:cubicBezTo>
                  <a:lnTo>
                    <a:pt x="11502" y="92051"/>
                  </a:lnTo>
                  <a:cubicBezTo>
                    <a:pt x="5168" y="92051"/>
                    <a:pt x="0" y="86871"/>
                    <a:pt x="0" y="80549"/>
                  </a:cubicBezTo>
                  <a:lnTo>
                    <a:pt x="0" y="11502"/>
                  </a:lnTo>
                  <a:cubicBezTo>
                    <a:pt x="0" y="5168"/>
                    <a:pt x="5180" y="0"/>
                    <a:pt x="11502" y="0"/>
                  </a:cubicBezTo>
                </a:path>
              </a:pathLst>
            </a:custGeom>
            <a:solidFill>
              <a:srgbClr val="0D5CA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E9D552CF-0641-01A0-189B-59C19754D9B5}"/>
                </a:ext>
              </a:extLst>
            </p:cNvPr>
            <p:cNvSpPr/>
            <p:nvPr/>
          </p:nvSpPr>
          <p:spPr>
            <a:xfrm>
              <a:off x="-3637055" y="2739417"/>
              <a:ext cx="583859" cy="92051"/>
            </a:xfrm>
            <a:custGeom>
              <a:avLst/>
              <a:gdLst>
                <a:gd name="connsiteX0" fmla="*/ 11502 w 583859"/>
                <a:gd name="connsiteY0" fmla="*/ 0 h 92051"/>
                <a:gd name="connsiteX1" fmla="*/ 583860 w 583859"/>
                <a:gd name="connsiteY1" fmla="*/ 0 h 92051"/>
                <a:gd name="connsiteX2" fmla="*/ 583860 w 583859"/>
                <a:gd name="connsiteY2" fmla="*/ 92051 h 92051"/>
                <a:gd name="connsiteX3" fmla="*/ 11502 w 583859"/>
                <a:gd name="connsiteY3" fmla="*/ 92051 h 92051"/>
                <a:gd name="connsiteX4" fmla="*/ 0 w 583859"/>
                <a:gd name="connsiteY4" fmla="*/ 80549 h 92051"/>
                <a:gd name="connsiteX5" fmla="*/ 0 w 583859"/>
                <a:gd name="connsiteY5" fmla="*/ 11502 h 92051"/>
                <a:gd name="connsiteX6" fmla="*/ 11502 w 583859"/>
                <a:gd name="connsiteY6" fmla="*/ 0 h 92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859" h="92051">
                  <a:moveTo>
                    <a:pt x="11502" y="0"/>
                  </a:moveTo>
                  <a:lnTo>
                    <a:pt x="583860" y="0"/>
                  </a:lnTo>
                  <a:lnTo>
                    <a:pt x="583860" y="92051"/>
                  </a:lnTo>
                  <a:lnTo>
                    <a:pt x="11502" y="92051"/>
                  </a:lnTo>
                  <a:cubicBezTo>
                    <a:pt x="5168" y="92051"/>
                    <a:pt x="0" y="86871"/>
                    <a:pt x="0" y="80549"/>
                  </a:cubicBezTo>
                  <a:lnTo>
                    <a:pt x="0" y="11502"/>
                  </a:lnTo>
                  <a:cubicBezTo>
                    <a:pt x="0" y="5169"/>
                    <a:pt x="5180" y="0"/>
                    <a:pt x="11502" y="0"/>
                  </a:cubicBezTo>
                </a:path>
              </a:pathLst>
            </a:custGeom>
            <a:solidFill>
              <a:srgbClr val="0D5CA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FAFE2DD9-C822-571F-F83C-3B2DE11F8116}"/>
                </a:ext>
              </a:extLst>
            </p:cNvPr>
            <p:cNvSpPr/>
            <p:nvPr/>
          </p:nvSpPr>
          <p:spPr>
            <a:xfrm>
              <a:off x="-1873523" y="2739417"/>
              <a:ext cx="583860" cy="92051"/>
            </a:xfrm>
            <a:custGeom>
              <a:avLst/>
              <a:gdLst>
                <a:gd name="connsiteX0" fmla="*/ 572358 w 583860"/>
                <a:gd name="connsiteY0" fmla="*/ 0 h 92051"/>
                <a:gd name="connsiteX1" fmla="*/ 0 w 583860"/>
                <a:gd name="connsiteY1" fmla="*/ 0 h 92051"/>
                <a:gd name="connsiteX2" fmla="*/ 0 w 583860"/>
                <a:gd name="connsiteY2" fmla="*/ 92051 h 92051"/>
                <a:gd name="connsiteX3" fmla="*/ 572358 w 583860"/>
                <a:gd name="connsiteY3" fmla="*/ 92051 h 92051"/>
                <a:gd name="connsiteX4" fmla="*/ 583860 w 583860"/>
                <a:gd name="connsiteY4" fmla="*/ 80549 h 92051"/>
                <a:gd name="connsiteX5" fmla="*/ 583860 w 583860"/>
                <a:gd name="connsiteY5" fmla="*/ 11502 h 92051"/>
                <a:gd name="connsiteX6" fmla="*/ 572358 w 583860"/>
                <a:gd name="connsiteY6" fmla="*/ 0 h 92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860" h="92051">
                  <a:moveTo>
                    <a:pt x="572358" y="0"/>
                  </a:moveTo>
                  <a:lnTo>
                    <a:pt x="0" y="0"/>
                  </a:lnTo>
                  <a:lnTo>
                    <a:pt x="0" y="92051"/>
                  </a:lnTo>
                  <a:lnTo>
                    <a:pt x="572358" y="92051"/>
                  </a:lnTo>
                  <a:cubicBezTo>
                    <a:pt x="578691" y="92051"/>
                    <a:pt x="583860" y="86871"/>
                    <a:pt x="583860" y="80549"/>
                  </a:cubicBezTo>
                  <a:lnTo>
                    <a:pt x="583860" y="11502"/>
                  </a:lnTo>
                  <a:cubicBezTo>
                    <a:pt x="583860" y="5169"/>
                    <a:pt x="578680" y="0"/>
                    <a:pt x="572358" y="0"/>
                  </a:cubicBezTo>
                </a:path>
              </a:pathLst>
            </a:custGeom>
            <a:solidFill>
              <a:srgbClr val="0D5CAB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B72FD244-811C-63D3-A0E0-103188593FF3}"/>
                </a:ext>
              </a:extLst>
            </p:cNvPr>
            <p:cNvSpPr/>
            <p:nvPr/>
          </p:nvSpPr>
          <p:spPr>
            <a:xfrm>
              <a:off x="-3606310" y="2831468"/>
              <a:ext cx="553103" cy="32210"/>
            </a:xfrm>
            <a:custGeom>
              <a:avLst/>
              <a:gdLst>
                <a:gd name="connsiteX0" fmla="*/ 0 w 553103"/>
                <a:gd name="connsiteY0" fmla="*/ 0 h 32210"/>
                <a:gd name="connsiteX1" fmla="*/ 553103 w 553103"/>
                <a:gd name="connsiteY1" fmla="*/ 0 h 32210"/>
                <a:gd name="connsiteX2" fmla="*/ 553103 w 553103"/>
                <a:gd name="connsiteY2" fmla="*/ 32210 h 32210"/>
                <a:gd name="connsiteX3" fmla="*/ 0 w 553103"/>
                <a:gd name="connsiteY3" fmla="*/ 32210 h 3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3103" h="32210">
                  <a:moveTo>
                    <a:pt x="0" y="0"/>
                  </a:moveTo>
                  <a:lnTo>
                    <a:pt x="553103" y="0"/>
                  </a:lnTo>
                  <a:lnTo>
                    <a:pt x="553103" y="32210"/>
                  </a:lnTo>
                  <a:lnTo>
                    <a:pt x="0" y="32210"/>
                  </a:lnTo>
                  <a:close/>
                </a:path>
              </a:pathLst>
            </a:custGeom>
            <a:solidFill>
              <a:srgbClr val="B5B5B5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748B3675-BDD8-D930-57BD-96C07214FB51}"/>
                </a:ext>
              </a:extLst>
            </p:cNvPr>
            <p:cNvSpPr/>
            <p:nvPr/>
          </p:nvSpPr>
          <p:spPr>
            <a:xfrm>
              <a:off x="-1873511" y="2831468"/>
              <a:ext cx="553103" cy="32210"/>
            </a:xfrm>
            <a:custGeom>
              <a:avLst/>
              <a:gdLst>
                <a:gd name="connsiteX0" fmla="*/ 0 w 553103"/>
                <a:gd name="connsiteY0" fmla="*/ 0 h 32210"/>
                <a:gd name="connsiteX1" fmla="*/ 553103 w 553103"/>
                <a:gd name="connsiteY1" fmla="*/ 0 h 32210"/>
                <a:gd name="connsiteX2" fmla="*/ 553103 w 553103"/>
                <a:gd name="connsiteY2" fmla="*/ 32210 h 32210"/>
                <a:gd name="connsiteX3" fmla="*/ 0 w 553103"/>
                <a:gd name="connsiteY3" fmla="*/ 32210 h 3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3103" h="32210">
                  <a:moveTo>
                    <a:pt x="0" y="0"/>
                  </a:moveTo>
                  <a:lnTo>
                    <a:pt x="553103" y="0"/>
                  </a:lnTo>
                  <a:lnTo>
                    <a:pt x="553103" y="32210"/>
                  </a:lnTo>
                  <a:lnTo>
                    <a:pt x="0" y="32210"/>
                  </a:lnTo>
                  <a:close/>
                </a:path>
              </a:pathLst>
            </a:custGeom>
            <a:solidFill>
              <a:srgbClr val="B5B5B5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6C058580-3853-1E16-3D56-9B66F4377D63}"/>
                </a:ext>
              </a:extLst>
            </p:cNvPr>
            <p:cNvSpPr/>
            <p:nvPr/>
          </p:nvSpPr>
          <p:spPr>
            <a:xfrm>
              <a:off x="-3053207" y="2454000"/>
              <a:ext cx="1179695" cy="32210"/>
            </a:xfrm>
            <a:custGeom>
              <a:avLst/>
              <a:gdLst>
                <a:gd name="connsiteX0" fmla="*/ 0 w 1179695"/>
                <a:gd name="connsiteY0" fmla="*/ 0 h 32210"/>
                <a:gd name="connsiteX1" fmla="*/ 1179695 w 1179695"/>
                <a:gd name="connsiteY1" fmla="*/ 0 h 32210"/>
                <a:gd name="connsiteX2" fmla="*/ 1179695 w 1179695"/>
                <a:gd name="connsiteY2" fmla="*/ 32211 h 32210"/>
                <a:gd name="connsiteX3" fmla="*/ 0 w 1179695"/>
                <a:gd name="connsiteY3" fmla="*/ 32211 h 32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79695" h="32210">
                  <a:moveTo>
                    <a:pt x="0" y="0"/>
                  </a:moveTo>
                  <a:lnTo>
                    <a:pt x="1179695" y="0"/>
                  </a:lnTo>
                  <a:lnTo>
                    <a:pt x="1179695" y="32211"/>
                  </a:lnTo>
                  <a:lnTo>
                    <a:pt x="0" y="32211"/>
                  </a:lnTo>
                  <a:close/>
                </a:path>
              </a:pathLst>
            </a:custGeom>
            <a:solidFill>
              <a:srgbClr val="B8B8B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48166B9-9286-4966-88EA-8BA3FC191A6B}"/>
                </a:ext>
              </a:extLst>
            </p:cNvPr>
            <p:cNvSpPr/>
            <p:nvPr/>
          </p:nvSpPr>
          <p:spPr>
            <a:xfrm>
              <a:off x="-1764121" y="2911394"/>
              <a:ext cx="334309" cy="367281"/>
            </a:xfrm>
            <a:custGeom>
              <a:avLst/>
              <a:gdLst>
                <a:gd name="connsiteX0" fmla="*/ 32418 w 334309"/>
                <a:gd name="connsiteY0" fmla="*/ 367282 h 367281"/>
                <a:gd name="connsiteX1" fmla="*/ 301892 w 334309"/>
                <a:gd name="connsiteY1" fmla="*/ 367282 h 367281"/>
                <a:gd name="connsiteX2" fmla="*/ 334310 w 334309"/>
                <a:gd name="connsiteY2" fmla="*/ 343297 h 367281"/>
                <a:gd name="connsiteX3" fmla="*/ 334310 w 334309"/>
                <a:gd name="connsiteY3" fmla="*/ 23985 h 367281"/>
                <a:gd name="connsiteX4" fmla="*/ 301892 w 334309"/>
                <a:gd name="connsiteY4" fmla="*/ 0 h 367281"/>
                <a:gd name="connsiteX5" fmla="*/ 32418 w 334309"/>
                <a:gd name="connsiteY5" fmla="*/ 0 h 367281"/>
                <a:gd name="connsiteX6" fmla="*/ 0 w 334309"/>
                <a:gd name="connsiteY6" fmla="*/ 23985 h 367281"/>
                <a:gd name="connsiteX7" fmla="*/ 0 w 334309"/>
                <a:gd name="connsiteY7" fmla="*/ 343297 h 367281"/>
                <a:gd name="connsiteX8" fmla="*/ 32418 w 334309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09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6BC59DF-B578-1659-20A8-5C791F282089}"/>
                </a:ext>
              </a:extLst>
            </p:cNvPr>
            <p:cNvSpPr/>
            <p:nvPr/>
          </p:nvSpPr>
          <p:spPr>
            <a:xfrm>
              <a:off x="-1764121" y="3362294"/>
              <a:ext cx="334309" cy="367281"/>
            </a:xfrm>
            <a:custGeom>
              <a:avLst/>
              <a:gdLst>
                <a:gd name="connsiteX0" fmla="*/ 32418 w 334309"/>
                <a:gd name="connsiteY0" fmla="*/ 367282 h 367281"/>
                <a:gd name="connsiteX1" fmla="*/ 301892 w 334309"/>
                <a:gd name="connsiteY1" fmla="*/ 367282 h 367281"/>
                <a:gd name="connsiteX2" fmla="*/ 334310 w 334309"/>
                <a:gd name="connsiteY2" fmla="*/ 343297 h 367281"/>
                <a:gd name="connsiteX3" fmla="*/ 334310 w 334309"/>
                <a:gd name="connsiteY3" fmla="*/ 23985 h 367281"/>
                <a:gd name="connsiteX4" fmla="*/ 301892 w 334309"/>
                <a:gd name="connsiteY4" fmla="*/ 0 h 367281"/>
                <a:gd name="connsiteX5" fmla="*/ 32418 w 334309"/>
                <a:gd name="connsiteY5" fmla="*/ 0 h 367281"/>
                <a:gd name="connsiteX6" fmla="*/ 0 w 334309"/>
                <a:gd name="connsiteY6" fmla="*/ 23985 h 367281"/>
                <a:gd name="connsiteX7" fmla="*/ 0 w 334309"/>
                <a:gd name="connsiteY7" fmla="*/ 343297 h 367281"/>
                <a:gd name="connsiteX8" fmla="*/ 32418 w 334309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09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7855812-27ED-CC36-9F82-D0837ABD1F48}"/>
                </a:ext>
              </a:extLst>
            </p:cNvPr>
            <p:cNvSpPr/>
            <p:nvPr/>
          </p:nvSpPr>
          <p:spPr>
            <a:xfrm>
              <a:off x="-1764121" y="3813182"/>
              <a:ext cx="334309" cy="367281"/>
            </a:xfrm>
            <a:custGeom>
              <a:avLst/>
              <a:gdLst>
                <a:gd name="connsiteX0" fmla="*/ 32418 w 334309"/>
                <a:gd name="connsiteY0" fmla="*/ 367282 h 367281"/>
                <a:gd name="connsiteX1" fmla="*/ 301892 w 334309"/>
                <a:gd name="connsiteY1" fmla="*/ 367282 h 367281"/>
                <a:gd name="connsiteX2" fmla="*/ 334310 w 334309"/>
                <a:gd name="connsiteY2" fmla="*/ 343297 h 367281"/>
                <a:gd name="connsiteX3" fmla="*/ 334310 w 334309"/>
                <a:gd name="connsiteY3" fmla="*/ 23985 h 367281"/>
                <a:gd name="connsiteX4" fmla="*/ 301892 w 334309"/>
                <a:gd name="connsiteY4" fmla="*/ 0 h 367281"/>
                <a:gd name="connsiteX5" fmla="*/ 32418 w 334309"/>
                <a:gd name="connsiteY5" fmla="*/ 0 h 367281"/>
                <a:gd name="connsiteX6" fmla="*/ 0 w 334309"/>
                <a:gd name="connsiteY6" fmla="*/ 23985 h 367281"/>
                <a:gd name="connsiteX7" fmla="*/ 0 w 334309"/>
                <a:gd name="connsiteY7" fmla="*/ 343297 h 367281"/>
                <a:gd name="connsiteX8" fmla="*/ 32418 w 334309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09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EE4A89D-8B66-B73E-D34B-E0C84EFE18C8}"/>
                </a:ext>
              </a:extLst>
            </p:cNvPr>
            <p:cNvSpPr/>
            <p:nvPr/>
          </p:nvSpPr>
          <p:spPr>
            <a:xfrm>
              <a:off x="-3496907" y="2911394"/>
              <a:ext cx="334310" cy="367281"/>
            </a:xfrm>
            <a:custGeom>
              <a:avLst/>
              <a:gdLst>
                <a:gd name="connsiteX0" fmla="*/ 32418 w 334310"/>
                <a:gd name="connsiteY0" fmla="*/ 367282 h 367281"/>
                <a:gd name="connsiteX1" fmla="*/ 301892 w 334310"/>
                <a:gd name="connsiteY1" fmla="*/ 367282 h 367281"/>
                <a:gd name="connsiteX2" fmla="*/ 334310 w 334310"/>
                <a:gd name="connsiteY2" fmla="*/ 343297 h 367281"/>
                <a:gd name="connsiteX3" fmla="*/ 334310 w 334310"/>
                <a:gd name="connsiteY3" fmla="*/ 23985 h 367281"/>
                <a:gd name="connsiteX4" fmla="*/ 301892 w 334310"/>
                <a:gd name="connsiteY4" fmla="*/ 0 h 367281"/>
                <a:gd name="connsiteX5" fmla="*/ 32418 w 334310"/>
                <a:gd name="connsiteY5" fmla="*/ 0 h 367281"/>
                <a:gd name="connsiteX6" fmla="*/ 0 w 334310"/>
                <a:gd name="connsiteY6" fmla="*/ 23985 h 367281"/>
                <a:gd name="connsiteX7" fmla="*/ 0 w 334310"/>
                <a:gd name="connsiteY7" fmla="*/ 343297 h 367281"/>
                <a:gd name="connsiteX8" fmla="*/ 32418 w 334310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10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3EF17C0-0BF2-1EF5-56E1-97C175351821}"/>
                </a:ext>
              </a:extLst>
            </p:cNvPr>
            <p:cNvSpPr/>
            <p:nvPr/>
          </p:nvSpPr>
          <p:spPr>
            <a:xfrm>
              <a:off x="-3496907" y="3362294"/>
              <a:ext cx="334310" cy="367281"/>
            </a:xfrm>
            <a:custGeom>
              <a:avLst/>
              <a:gdLst>
                <a:gd name="connsiteX0" fmla="*/ 32418 w 334310"/>
                <a:gd name="connsiteY0" fmla="*/ 367282 h 367281"/>
                <a:gd name="connsiteX1" fmla="*/ 301892 w 334310"/>
                <a:gd name="connsiteY1" fmla="*/ 367282 h 367281"/>
                <a:gd name="connsiteX2" fmla="*/ 334310 w 334310"/>
                <a:gd name="connsiteY2" fmla="*/ 343297 h 367281"/>
                <a:gd name="connsiteX3" fmla="*/ 334310 w 334310"/>
                <a:gd name="connsiteY3" fmla="*/ 23985 h 367281"/>
                <a:gd name="connsiteX4" fmla="*/ 301892 w 334310"/>
                <a:gd name="connsiteY4" fmla="*/ 0 h 367281"/>
                <a:gd name="connsiteX5" fmla="*/ 32418 w 334310"/>
                <a:gd name="connsiteY5" fmla="*/ 0 h 367281"/>
                <a:gd name="connsiteX6" fmla="*/ 0 w 334310"/>
                <a:gd name="connsiteY6" fmla="*/ 23985 h 367281"/>
                <a:gd name="connsiteX7" fmla="*/ 0 w 334310"/>
                <a:gd name="connsiteY7" fmla="*/ 343297 h 367281"/>
                <a:gd name="connsiteX8" fmla="*/ 32418 w 334310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10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171DD017-F9AF-9CBE-D29D-5ACC3B53834F}"/>
                </a:ext>
              </a:extLst>
            </p:cNvPr>
            <p:cNvSpPr/>
            <p:nvPr/>
          </p:nvSpPr>
          <p:spPr>
            <a:xfrm>
              <a:off x="-3496907" y="3813182"/>
              <a:ext cx="334310" cy="367281"/>
            </a:xfrm>
            <a:custGeom>
              <a:avLst/>
              <a:gdLst>
                <a:gd name="connsiteX0" fmla="*/ 32418 w 334310"/>
                <a:gd name="connsiteY0" fmla="*/ 367282 h 367281"/>
                <a:gd name="connsiteX1" fmla="*/ 301892 w 334310"/>
                <a:gd name="connsiteY1" fmla="*/ 367282 h 367281"/>
                <a:gd name="connsiteX2" fmla="*/ 334310 w 334310"/>
                <a:gd name="connsiteY2" fmla="*/ 343297 h 367281"/>
                <a:gd name="connsiteX3" fmla="*/ 334310 w 334310"/>
                <a:gd name="connsiteY3" fmla="*/ 23985 h 367281"/>
                <a:gd name="connsiteX4" fmla="*/ 301892 w 334310"/>
                <a:gd name="connsiteY4" fmla="*/ 0 h 367281"/>
                <a:gd name="connsiteX5" fmla="*/ 32418 w 334310"/>
                <a:gd name="connsiteY5" fmla="*/ 0 h 367281"/>
                <a:gd name="connsiteX6" fmla="*/ 0 w 334310"/>
                <a:gd name="connsiteY6" fmla="*/ 23985 h 367281"/>
                <a:gd name="connsiteX7" fmla="*/ 0 w 334310"/>
                <a:gd name="connsiteY7" fmla="*/ 343297 h 367281"/>
                <a:gd name="connsiteX8" fmla="*/ 32418 w 334310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10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C572856D-6931-6C15-F088-713F1C05EAA4}"/>
                </a:ext>
              </a:extLst>
            </p:cNvPr>
            <p:cNvSpPr/>
            <p:nvPr/>
          </p:nvSpPr>
          <p:spPr>
            <a:xfrm>
              <a:off x="-2628103" y="3495981"/>
              <a:ext cx="360982" cy="369854"/>
            </a:xfrm>
            <a:custGeom>
              <a:avLst/>
              <a:gdLst>
                <a:gd name="connsiteX0" fmla="*/ 165759 w 360982"/>
                <a:gd name="connsiteY0" fmla="*/ 0 h 369854"/>
                <a:gd name="connsiteX1" fmla="*/ 360983 w 360982"/>
                <a:gd name="connsiteY1" fmla="*/ 189363 h 369854"/>
                <a:gd name="connsiteX2" fmla="*/ 180491 w 360982"/>
                <a:gd name="connsiteY2" fmla="*/ 369855 h 369854"/>
                <a:gd name="connsiteX3" fmla="*/ 50842 w 360982"/>
                <a:gd name="connsiteY3" fmla="*/ 324885 h 369854"/>
                <a:gd name="connsiteX4" fmla="*/ 0 w 360982"/>
                <a:gd name="connsiteY4" fmla="*/ 189363 h 369854"/>
                <a:gd name="connsiteX5" fmla="*/ 165759 w 360982"/>
                <a:gd name="connsiteY5" fmla="*/ 0 h 369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0982" h="369854">
                  <a:moveTo>
                    <a:pt x="165759" y="0"/>
                  </a:moveTo>
                  <a:cubicBezTo>
                    <a:pt x="265436" y="0"/>
                    <a:pt x="360983" y="89686"/>
                    <a:pt x="360983" y="189363"/>
                  </a:cubicBezTo>
                  <a:cubicBezTo>
                    <a:pt x="360983" y="289040"/>
                    <a:pt x="280180" y="369855"/>
                    <a:pt x="180491" y="369855"/>
                  </a:cubicBezTo>
                  <a:cubicBezTo>
                    <a:pt x="134806" y="369855"/>
                    <a:pt x="82637" y="352873"/>
                    <a:pt x="50842" y="324885"/>
                  </a:cubicBezTo>
                  <a:cubicBezTo>
                    <a:pt x="13267" y="291809"/>
                    <a:pt x="0" y="243355"/>
                    <a:pt x="0" y="189363"/>
                  </a:cubicBezTo>
                  <a:cubicBezTo>
                    <a:pt x="0" y="89686"/>
                    <a:pt x="66071" y="0"/>
                    <a:pt x="165759" y="0"/>
                  </a:cubicBezTo>
                </a:path>
              </a:pathLst>
            </a:custGeom>
            <a:solidFill>
              <a:srgbClr val="B8B8B8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8450EEF9-F794-86ED-28C4-CC36E5DCF161}"/>
                </a:ext>
              </a:extLst>
            </p:cNvPr>
            <p:cNvSpPr/>
            <p:nvPr/>
          </p:nvSpPr>
          <p:spPr>
            <a:xfrm>
              <a:off x="-2649607" y="3495854"/>
              <a:ext cx="360982" cy="360982"/>
            </a:xfrm>
            <a:custGeom>
              <a:avLst/>
              <a:gdLst>
                <a:gd name="connsiteX0" fmla="*/ 180491 w 360982"/>
                <a:gd name="connsiteY0" fmla="*/ 0 h 360982"/>
                <a:gd name="connsiteX1" fmla="*/ 360983 w 360982"/>
                <a:gd name="connsiteY1" fmla="*/ 180491 h 360982"/>
                <a:gd name="connsiteX2" fmla="*/ 180491 w 360982"/>
                <a:gd name="connsiteY2" fmla="*/ 360983 h 360982"/>
                <a:gd name="connsiteX3" fmla="*/ 0 w 360982"/>
                <a:gd name="connsiteY3" fmla="*/ 180491 h 360982"/>
                <a:gd name="connsiteX4" fmla="*/ 180491 w 360982"/>
                <a:gd name="connsiteY4" fmla="*/ 0 h 360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982" h="360982">
                  <a:moveTo>
                    <a:pt x="180491" y="0"/>
                  </a:moveTo>
                  <a:cubicBezTo>
                    <a:pt x="280168" y="0"/>
                    <a:pt x="360983" y="80803"/>
                    <a:pt x="360983" y="180491"/>
                  </a:cubicBezTo>
                  <a:cubicBezTo>
                    <a:pt x="360983" y="280180"/>
                    <a:pt x="280180" y="360983"/>
                    <a:pt x="180491" y="360983"/>
                  </a:cubicBezTo>
                  <a:cubicBezTo>
                    <a:pt x="80803" y="360983"/>
                    <a:pt x="0" y="280180"/>
                    <a:pt x="0" y="180491"/>
                  </a:cubicBezTo>
                  <a:cubicBezTo>
                    <a:pt x="0" y="80803"/>
                    <a:pt x="80803" y="0"/>
                    <a:pt x="180491" y="0"/>
                  </a:cubicBezTo>
                </a:path>
              </a:pathLst>
            </a:custGeom>
            <a:solidFill>
              <a:srgbClr val="FF0000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6BF1793-81C2-969A-B8AD-A91D11A03991}"/>
                </a:ext>
              </a:extLst>
            </p:cNvPr>
            <p:cNvSpPr/>
            <p:nvPr/>
          </p:nvSpPr>
          <p:spPr>
            <a:xfrm>
              <a:off x="-2596631" y="3548842"/>
              <a:ext cx="255018" cy="255018"/>
            </a:xfrm>
            <a:custGeom>
              <a:avLst/>
              <a:gdLst>
                <a:gd name="connsiteX0" fmla="*/ 85371 w 255018"/>
                <a:gd name="connsiteY0" fmla="*/ 255018 h 255018"/>
                <a:gd name="connsiteX1" fmla="*/ 169647 w 255018"/>
                <a:gd name="connsiteY1" fmla="*/ 255018 h 255018"/>
                <a:gd name="connsiteX2" fmla="*/ 179788 w 255018"/>
                <a:gd name="connsiteY2" fmla="*/ 238359 h 255018"/>
                <a:gd name="connsiteX3" fmla="*/ 179788 w 255018"/>
                <a:gd name="connsiteY3" fmla="*/ 179787 h 255018"/>
                <a:gd name="connsiteX4" fmla="*/ 238360 w 255018"/>
                <a:gd name="connsiteY4" fmla="*/ 179787 h 255018"/>
                <a:gd name="connsiteX5" fmla="*/ 255018 w 255018"/>
                <a:gd name="connsiteY5" fmla="*/ 169647 h 255018"/>
                <a:gd name="connsiteX6" fmla="*/ 255018 w 255018"/>
                <a:gd name="connsiteY6" fmla="*/ 85371 h 255018"/>
                <a:gd name="connsiteX7" fmla="*/ 238360 w 255018"/>
                <a:gd name="connsiteY7" fmla="*/ 75231 h 255018"/>
                <a:gd name="connsiteX8" fmla="*/ 179788 w 255018"/>
                <a:gd name="connsiteY8" fmla="*/ 75231 h 255018"/>
                <a:gd name="connsiteX9" fmla="*/ 179788 w 255018"/>
                <a:gd name="connsiteY9" fmla="*/ 16659 h 255018"/>
                <a:gd name="connsiteX10" fmla="*/ 169647 w 255018"/>
                <a:gd name="connsiteY10" fmla="*/ 0 h 255018"/>
                <a:gd name="connsiteX11" fmla="*/ 85371 w 255018"/>
                <a:gd name="connsiteY11" fmla="*/ 0 h 255018"/>
                <a:gd name="connsiteX12" fmla="*/ 75231 w 255018"/>
                <a:gd name="connsiteY12" fmla="*/ 16659 h 255018"/>
                <a:gd name="connsiteX13" fmla="*/ 75231 w 255018"/>
                <a:gd name="connsiteY13" fmla="*/ 75231 h 255018"/>
                <a:gd name="connsiteX14" fmla="*/ 16659 w 255018"/>
                <a:gd name="connsiteY14" fmla="*/ 75231 h 255018"/>
                <a:gd name="connsiteX15" fmla="*/ 0 w 255018"/>
                <a:gd name="connsiteY15" fmla="*/ 85371 h 255018"/>
                <a:gd name="connsiteX16" fmla="*/ 0 w 255018"/>
                <a:gd name="connsiteY16" fmla="*/ 169647 h 255018"/>
                <a:gd name="connsiteX17" fmla="*/ 16659 w 255018"/>
                <a:gd name="connsiteY17" fmla="*/ 179787 h 255018"/>
                <a:gd name="connsiteX18" fmla="*/ 75231 w 255018"/>
                <a:gd name="connsiteY18" fmla="*/ 179787 h 255018"/>
                <a:gd name="connsiteX19" fmla="*/ 75231 w 255018"/>
                <a:gd name="connsiteY19" fmla="*/ 238359 h 255018"/>
                <a:gd name="connsiteX20" fmla="*/ 85371 w 255018"/>
                <a:gd name="connsiteY20" fmla="*/ 255018 h 255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55018" h="255018">
                  <a:moveTo>
                    <a:pt x="85371" y="255018"/>
                  </a:moveTo>
                  <a:lnTo>
                    <a:pt x="169647" y="255018"/>
                  </a:lnTo>
                  <a:cubicBezTo>
                    <a:pt x="175219" y="255018"/>
                    <a:pt x="179788" y="247520"/>
                    <a:pt x="179788" y="238359"/>
                  </a:cubicBezTo>
                  <a:lnTo>
                    <a:pt x="179788" y="179787"/>
                  </a:lnTo>
                  <a:lnTo>
                    <a:pt x="238360" y="179787"/>
                  </a:lnTo>
                  <a:cubicBezTo>
                    <a:pt x="247520" y="179787"/>
                    <a:pt x="255018" y="175231"/>
                    <a:pt x="255018" y="169647"/>
                  </a:cubicBezTo>
                  <a:lnTo>
                    <a:pt x="255018" y="85371"/>
                  </a:lnTo>
                  <a:cubicBezTo>
                    <a:pt x="255018" y="79799"/>
                    <a:pt x="247520" y="75231"/>
                    <a:pt x="238360" y="75231"/>
                  </a:cubicBezTo>
                  <a:lnTo>
                    <a:pt x="179788" y="75231"/>
                  </a:lnTo>
                  <a:lnTo>
                    <a:pt x="179788" y="16659"/>
                  </a:lnTo>
                  <a:cubicBezTo>
                    <a:pt x="179788" y="7499"/>
                    <a:pt x="175231" y="0"/>
                    <a:pt x="169647" y="0"/>
                  </a:cubicBezTo>
                  <a:lnTo>
                    <a:pt x="85371" y="0"/>
                  </a:lnTo>
                  <a:cubicBezTo>
                    <a:pt x="79799" y="0"/>
                    <a:pt x="75231" y="7499"/>
                    <a:pt x="75231" y="16659"/>
                  </a:cubicBezTo>
                  <a:lnTo>
                    <a:pt x="75231" y="75231"/>
                  </a:lnTo>
                  <a:lnTo>
                    <a:pt x="16659" y="75231"/>
                  </a:lnTo>
                  <a:cubicBezTo>
                    <a:pt x="7499" y="75231"/>
                    <a:pt x="0" y="79788"/>
                    <a:pt x="0" y="85371"/>
                  </a:cubicBezTo>
                  <a:lnTo>
                    <a:pt x="0" y="169647"/>
                  </a:lnTo>
                  <a:cubicBezTo>
                    <a:pt x="0" y="175219"/>
                    <a:pt x="7499" y="179787"/>
                    <a:pt x="16659" y="179787"/>
                  </a:cubicBezTo>
                  <a:lnTo>
                    <a:pt x="75231" y="179787"/>
                  </a:lnTo>
                  <a:lnTo>
                    <a:pt x="75231" y="238359"/>
                  </a:lnTo>
                  <a:cubicBezTo>
                    <a:pt x="75231" y="247520"/>
                    <a:pt x="79788" y="255018"/>
                    <a:pt x="85371" y="255018"/>
                  </a:cubicBezTo>
                </a:path>
              </a:pathLst>
            </a:custGeom>
            <a:solidFill>
              <a:srgbClr val="FFFFFF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70AE33A-6C98-3435-FE5E-3A27C2AAFA2D}"/>
                </a:ext>
              </a:extLst>
            </p:cNvPr>
            <p:cNvSpPr/>
            <p:nvPr/>
          </p:nvSpPr>
          <p:spPr>
            <a:xfrm>
              <a:off x="-2897807" y="2544113"/>
              <a:ext cx="334309" cy="367281"/>
            </a:xfrm>
            <a:custGeom>
              <a:avLst/>
              <a:gdLst>
                <a:gd name="connsiteX0" fmla="*/ 32418 w 334309"/>
                <a:gd name="connsiteY0" fmla="*/ 367282 h 367281"/>
                <a:gd name="connsiteX1" fmla="*/ 301892 w 334309"/>
                <a:gd name="connsiteY1" fmla="*/ 367282 h 367281"/>
                <a:gd name="connsiteX2" fmla="*/ 334310 w 334309"/>
                <a:gd name="connsiteY2" fmla="*/ 343297 h 367281"/>
                <a:gd name="connsiteX3" fmla="*/ 334310 w 334309"/>
                <a:gd name="connsiteY3" fmla="*/ 23985 h 367281"/>
                <a:gd name="connsiteX4" fmla="*/ 301892 w 334309"/>
                <a:gd name="connsiteY4" fmla="*/ 0 h 367281"/>
                <a:gd name="connsiteX5" fmla="*/ 32418 w 334309"/>
                <a:gd name="connsiteY5" fmla="*/ 0 h 367281"/>
                <a:gd name="connsiteX6" fmla="*/ 0 w 334309"/>
                <a:gd name="connsiteY6" fmla="*/ 23985 h 367281"/>
                <a:gd name="connsiteX7" fmla="*/ 0 w 334309"/>
                <a:gd name="connsiteY7" fmla="*/ 343297 h 367281"/>
                <a:gd name="connsiteX8" fmla="*/ 32418 w 334309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09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8CBDF5F7-F4FE-EC17-7356-20C4FFEBC41C}"/>
                </a:ext>
              </a:extLst>
            </p:cNvPr>
            <p:cNvSpPr/>
            <p:nvPr/>
          </p:nvSpPr>
          <p:spPr>
            <a:xfrm>
              <a:off x="-2363221" y="2544113"/>
              <a:ext cx="334310" cy="367281"/>
            </a:xfrm>
            <a:custGeom>
              <a:avLst/>
              <a:gdLst>
                <a:gd name="connsiteX0" fmla="*/ 32418 w 334310"/>
                <a:gd name="connsiteY0" fmla="*/ 367282 h 367281"/>
                <a:gd name="connsiteX1" fmla="*/ 301892 w 334310"/>
                <a:gd name="connsiteY1" fmla="*/ 367282 h 367281"/>
                <a:gd name="connsiteX2" fmla="*/ 334310 w 334310"/>
                <a:gd name="connsiteY2" fmla="*/ 343297 h 367281"/>
                <a:gd name="connsiteX3" fmla="*/ 334310 w 334310"/>
                <a:gd name="connsiteY3" fmla="*/ 23985 h 367281"/>
                <a:gd name="connsiteX4" fmla="*/ 301892 w 334310"/>
                <a:gd name="connsiteY4" fmla="*/ 0 h 367281"/>
                <a:gd name="connsiteX5" fmla="*/ 32418 w 334310"/>
                <a:gd name="connsiteY5" fmla="*/ 0 h 367281"/>
                <a:gd name="connsiteX6" fmla="*/ 0 w 334310"/>
                <a:gd name="connsiteY6" fmla="*/ 23985 h 367281"/>
                <a:gd name="connsiteX7" fmla="*/ 0 w 334310"/>
                <a:gd name="connsiteY7" fmla="*/ 343297 h 367281"/>
                <a:gd name="connsiteX8" fmla="*/ 32418 w 334310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10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8650B296-504B-36E0-2704-A5B012EAFBBA}"/>
                </a:ext>
              </a:extLst>
            </p:cNvPr>
            <p:cNvSpPr/>
            <p:nvPr/>
          </p:nvSpPr>
          <p:spPr>
            <a:xfrm>
              <a:off x="-2897807" y="3021258"/>
              <a:ext cx="334309" cy="367281"/>
            </a:xfrm>
            <a:custGeom>
              <a:avLst/>
              <a:gdLst>
                <a:gd name="connsiteX0" fmla="*/ 32418 w 334309"/>
                <a:gd name="connsiteY0" fmla="*/ 367282 h 367281"/>
                <a:gd name="connsiteX1" fmla="*/ 301892 w 334309"/>
                <a:gd name="connsiteY1" fmla="*/ 367282 h 367281"/>
                <a:gd name="connsiteX2" fmla="*/ 334310 w 334309"/>
                <a:gd name="connsiteY2" fmla="*/ 343297 h 367281"/>
                <a:gd name="connsiteX3" fmla="*/ 334310 w 334309"/>
                <a:gd name="connsiteY3" fmla="*/ 23985 h 367281"/>
                <a:gd name="connsiteX4" fmla="*/ 301892 w 334309"/>
                <a:gd name="connsiteY4" fmla="*/ 0 h 367281"/>
                <a:gd name="connsiteX5" fmla="*/ 32418 w 334309"/>
                <a:gd name="connsiteY5" fmla="*/ 0 h 367281"/>
                <a:gd name="connsiteX6" fmla="*/ 0 w 334309"/>
                <a:gd name="connsiteY6" fmla="*/ 23985 h 367281"/>
                <a:gd name="connsiteX7" fmla="*/ 0 w 334309"/>
                <a:gd name="connsiteY7" fmla="*/ 343297 h 367281"/>
                <a:gd name="connsiteX8" fmla="*/ 32418 w 334309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09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4E78217-F690-0019-2F54-12AA893341E0}"/>
                </a:ext>
              </a:extLst>
            </p:cNvPr>
            <p:cNvSpPr/>
            <p:nvPr/>
          </p:nvSpPr>
          <p:spPr>
            <a:xfrm>
              <a:off x="-2363221" y="3021258"/>
              <a:ext cx="334310" cy="367281"/>
            </a:xfrm>
            <a:custGeom>
              <a:avLst/>
              <a:gdLst>
                <a:gd name="connsiteX0" fmla="*/ 32418 w 334310"/>
                <a:gd name="connsiteY0" fmla="*/ 367282 h 367281"/>
                <a:gd name="connsiteX1" fmla="*/ 301892 w 334310"/>
                <a:gd name="connsiteY1" fmla="*/ 367282 h 367281"/>
                <a:gd name="connsiteX2" fmla="*/ 334310 w 334310"/>
                <a:gd name="connsiteY2" fmla="*/ 343297 h 367281"/>
                <a:gd name="connsiteX3" fmla="*/ 334310 w 334310"/>
                <a:gd name="connsiteY3" fmla="*/ 23985 h 367281"/>
                <a:gd name="connsiteX4" fmla="*/ 301892 w 334310"/>
                <a:gd name="connsiteY4" fmla="*/ 0 h 367281"/>
                <a:gd name="connsiteX5" fmla="*/ 32418 w 334310"/>
                <a:gd name="connsiteY5" fmla="*/ 0 h 367281"/>
                <a:gd name="connsiteX6" fmla="*/ 0 w 334310"/>
                <a:gd name="connsiteY6" fmla="*/ 23985 h 367281"/>
                <a:gd name="connsiteX7" fmla="*/ 0 w 334310"/>
                <a:gd name="connsiteY7" fmla="*/ 343297 h 367281"/>
                <a:gd name="connsiteX8" fmla="*/ 32418 w 334310"/>
                <a:gd name="connsiteY8" fmla="*/ 367282 h 36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310" h="367281">
                  <a:moveTo>
                    <a:pt x="32418" y="367282"/>
                  </a:moveTo>
                  <a:lnTo>
                    <a:pt x="301892" y="367282"/>
                  </a:lnTo>
                  <a:cubicBezTo>
                    <a:pt x="319716" y="367282"/>
                    <a:pt x="334310" y="356484"/>
                    <a:pt x="334310" y="343297"/>
                  </a:cubicBezTo>
                  <a:lnTo>
                    <a:pt x="334310" y="23985"/>
                  </a:lnTo>
                  <a:cubicBezTo>
                    <a:pt x="334310" y="10787"/>
                    <a:pt x="319728" y="0"/>
                    <a:pt x="301892" y="0"/>
                  </a:cubicBezTo>
                  <a:lnTo>
                    <a:pt x="32418" y="0"/>
                  </a:lnTo>
                  <a:cubicBezTo>
                    <a:pt x="14594" y="0"/>
                    <a:pt x="0" y="10798"/>
                    <a:pt x="0" y="23985"/>
                  </a:cubicBezTo>
                  <a:lnTo>
                    <a:pt x="0" y="343297"/>
                  </a:lnTo>
                  <a:cubicBezTo>
                    <a:pt x="0" y="356495"/>
                    <a:pt x="14582" y="367282"/>
                    <a:pt x="32418" y="367282"/>
                  </a:cubicBezTo>
                </a:path>
              </a:pathLst>
            </a:custGeom>
            <a:solidFill>
              <a:srgbClr val="4DA6D1"/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F7AE5C57-142D-7FF0-4BC2-AD0B47D9FA32}"/>
                </a:ext>
              </a:extLst>
            </p:cNvPr>
            <p:cNvSpPr/>
            <p:nvPr/>
          </p:nvSpPr>
          <p:spPr>
            <a:xfrm>
              <a:off x="-3973845" y="4539128"/>
              <a:ext cx="3020972" cy="300195"/>
            </a:xfrm>
            <a:custGeom>
              <a:avLst/>
              <a:gdLst>
                <a:gd name="connsiteX0" fmla="*/ 35406 w 3020972"/>
                <a:gd name="connsiteY0" fmla="*/ 0 h 300195"/>
                <a:gd name="connsiteX1" fmla="*/ 2985567 w 3020972"/>
                <a:gd name="connsiteY1" fmla="*/ 0 h 300195"/>
                <a:gd name="connsiteX2" fmla="*/ 3020973 w 3020972"/>
                <a:gd name="connsiteY2" fmla="*/ 35406 h 300195"/>
                <a:gd name="connsiteX3" fmla="*/ 3020973 w 3020972"/>
                <a:gd name="connsiteY3" fmla="*/ 264790 h 300195"/>
                <a:gd name="connsiteX4" fmla="*/ 2985567 w 3020972"/>
                <a:gd name="connsiteY4" fmla="*/ 300196 h 300195"/>
                <a:gd name="connsiteX5" fmla="*/ 35406 w 3020972"/>
                <a:gd name="connsiteY5" fmla="*/ 300196 h 300195"/>
                <a:gd name="connsiteX6" fmla="*/ 0 w 3020972"/>
                <a:gd name="connsiteY6" fmla="*/ 264790 h 300195"/>
                <a:gd name="connsiteX7" fmla="*/ 0 w 3020972"/>
                <a:gd name="connsiteY7" fmla="*/ 35406 h 300195"/>
                <a:gd name="connsiteX8" fmla="*/ 35406 w 3020972"/>
                <a:gd name="connsiteY8" fmla="*/ 0 h 300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20972" h="300195">
                  <a:moveTo>
                    <a:pt x="35406" y="0"/>
                  </a:moveTo>
                  <a:lnTo>
                    <a:pt x="2985567" y="0"/>
                  </a:lnTo>
                  <a:cubicBezTo>
                    <a:pt x="3005041" y="0"/>
                    <a:pt x="3020973" y="15932"/>
                    <a:pt x="3020973" y="35406"/>
                  </a:cubicBezTo>
                  <a:lnTo>
                    <a:pt x="3020973" y="264790"/>
                  </a:lnTo>
                  <a:cubicBezTo>
                    <a:pt x="3020973" y="284264"/>
                    <a:pt x="3005041" y="300196"/>
                    <a:pt x="2985567" y="300196"/>
                  </a:cubicBezTo>
                  <a:lnTo>
                    <a:pt x="35406" y="300196"/>
                  </a:lnTo>
                  <a:cubicBezTo>
                    <a:pt x="15932" y="300196"/>
                    <a:pt x="0" y="284264"/>
                    <a:pt x="0" y="264790"/>
                  </a:cubicBezTo>
                  <a:lnTo>
                    <a:pt x="0" y="35406"/>
                  </a:lnTo>
                  <a:cubicBezTo>
                    <a:pt x="0" y="15932"/>
                    <a:pt x="15932" y="0"/>
                    <a:pt x="35406" y="0"/>
                  </a:cubicBezTo>
                </a:path>
              </a:pathLst>
            </a:custGeom>
            <a:solidFill>
              <a:srgbClr val="0D5CAB">
                <a:lumMod val="75000"/>
              </a:srgbClr>
            </a:solidFill>
            <a:ln w="115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05" name="TextBox 104">
            <a:extLst>
              <a:ext uri="{FF2B5EF4-FFF2-40B4-BE49-F238E27FC236}">
                <a16:creationId xmlns:a16="http://schemas.microsoft.com/office/drawing/2014/main" id="{782A040C-BFA9-4EA8-B8E6-2AAF81432BDF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95583" y="5933640"/>
            <a:ext cx="20313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ECG analysis of claims data.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EC047A8-C324-B38E-6654-2A63E75A49EB}"/>
              </a:ext>
            </a:extLst>
          </p:cNvPr>
          <p:cNvGrpSpPr/>
          <p:nvPr>
            <p:custDataLst>
              <p:tags r:id="rId16"/>
            </p:custDataLst>
          </p:nvPr>
        </p:nvGrpSpPr>
        <p:grpSpPr>
          <a:xfrm>
            <a:off x="3471191" y="3359902"/>
            <a:ext cx="1474985" cy="483525"/>
            <a:chOff x="3471191" y="3359902"/>
            <a:chExt cx="1474985" cy="483525"/>
          </a:xfrm>
        </p:grpSpPr>
        <p:sp>
          <p:nvSpPr>
            <p:cNvPr id="107" name="Isosceles Triangle 106">
              <a:extLst>
                <a:ext uri="{FF2B5EF4-FFF2-40B4-BE49-F238E27FC236}">
                  <a16:creationId xmlns:a16="http://schemas.microsoft.com/office/drawing/2014/main" id="{1D329C61-27AC-511A-868B-080F8A7EB3E0}"/>
                </a:ext>
              </a:extLst>
            </p:cNvPr>
            <p:cNvSpPr/>
            <p:nvPr/>
          </p:nvSpPr>
          <p:spPr>
            <a:xfrm rot="10800000">
              <a:off x="3489453" y="3497257"/>
              <a:ext cx="1456723" cy="346170"/>
            </a:xfrm>
            <a:prstGeom prst="triangle">
              <a:avLst/>
            </a:prstGeom>
            <a:solidFill>
              <a:srgbClr val="E9E9E9"/>
            </a:solidFill>
            <a:ln w="12700" cap="flat" cmpd="sng" algn="ctr">
              <a:noFill/>
              <a:prstDash val="solid"/>
              <a:miter lim="800000"/>
            </a:ln>
            <a:effectLst>
              <a:outerShdw blurRad="177800" dist="38100" dir="5400000" algn="t" rotWithShape="0">
                <a:prstClr val="black">
                  <a:alpha val="29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4020E5FF-729B-7A8D-ED58-B1A1DEA48870}"/>
                </a:ext>
              </a:extLst>
            </p:cNvPr>
            <p:cNvSpPr/>
            <p:nvPr/>
          </p:nvSpPr>
          <p:spPr>
            <a:xfrm>
              <a:off x="3471191" y="3359902"/>
              <a:ext cx="1456724" cy="135395"/>
            </a:xfrm>
            <a:prstGeom prst="rect">
              <a:avLst/>
            </a:prstGeom>
            <a:solidFill>
              <a:srgbClr val="E9E9E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010082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>
            <a:extLst>
              <a:ext uri="{FF2B5EF4-FFF2-40B4-BE49-F238E27FC236}">
                <a16:creationId xmlns:a16="http://schemas.microsoft.com/office/drawing/2014/main" id="{0825A425-EE09-348A-274F-AB1F249195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-2908"/>
            <a:ext cx="12192000" cy="60608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38" name="Picture 2237" descr="A blue background with circles and symbols&#10;&#10;Description automatically generated">
            <a:extLst>
              <a:ext uri="{FF2B5EF4-FFF2-40B4-BE49-F238E27FC236}">
                <a16:creationId xmlns:a16="http://schemas.microsoft.com/office/drawing/2014/main" id="{03A48552-ED2B-A52F-3672-AF5F83BA846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29">
            <a:alphaModFix amt="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057900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7666EDD9-6E5E-C59E-85F5-4F0D07938F7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623140" y="2807271"/>
            <a:ext cx="828486" cy="271020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31482BC-7F0D-CDE3-EEC1-B69315E4A36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487408" y="2807271"/>
            <a:ext cx="828486" cy="271020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24D401-2E0A-E023-E662-836FD1EA411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351675" y="2807271"/>
            <a:ext cx="4745845" cy="271020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3D3BF44-DE3B-16E9-0D7C-1F9B29F9B8A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88245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D3BF44-DE3B-16E9-0D7C-1F9B29F9B8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EEEC3B-603B-96CA-6BB0-5CEE9E5B044A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288000" y="6928874"/>
            <a:ext cx="4144041" cy="125069"/>
          </a:xfrm>
        </p:spPr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4952E1-81B8-8A38-13E1-A6BA53B96699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9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22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6089A3-38B2-CBC0-40B5-34F54DE35645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The remaining margin opportunity is almost entirely within the clinical realm.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CBB13FA-E27D-7810-08DE-1B93F927D4D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9143240" y="2731712"/>
            <a:ext cx="2790613" cy="1576148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2575" marR="0" lvl="1" indent="-2825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Program Growth</a:t>
            </a:r>
          </a:p>
          <a:p>
            <a:pPr marL="282575" lvl="1" indent="-282575">
              <a:buClrTx/>
              <a:defRPr/>
            </a:pPr>
            <a:r>
              <a:rPr lang="en-US" sz="1600">
                <a:solidFill>
                  <a:prstClr val="white"/>
                </a:solidFill>
                <a:latin typeface="Calibri"/>
                <a:cs typeface="Calibri"/>
              </a:rPr>
              <a:t>Provider Network Leakage Mitigation</a:t>
            </a:r>
            <a:endParaRPr lang="en-US" sz="1600">
              <a:solidFill>
                <a:prstClr val="white"/>
              </a:solidFill>
              <a:latin typeface="Calibri"/>
            </a:endParaRPr>
          </a:p>
          <a:p>
            <a:pPr marL="282575" marR="0" lvl="1" indent="-282575" algn="l" defTabSz="9144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ss and Throughput</a:t>
            </a:r>
            <a:endParaRPr lang="en-US">
              <a:solidFill>
                <a:prstClr val="white"/>
              </a:solidFill>
              <a:ea typeface="+mn-ea"/>
              <a:cs typeface="+mn-cs"/>
            </a:endParaRPr>
          </a:p>
          <a:p>
            <a:pPr marL="282575" marR="0" lvl="1" indent="-2825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Standardization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282575" marR="0" lvl="1" indent="-2825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Portfolio Rationalization</a:t>
            </a: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282575" marR="0" lvl="1" indent="-2825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D5CA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7ED8A9B-590C-EEB5-8757-AC863DF3026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8449559" y="2333864"/>
            <a:ext cx="3582947" cy="2743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D5CAB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ical Performance Driver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6D9CC81-FED5-E235-73C1-D86A49F9F0D4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3902696" y="1515385"/>
            <a:ext cx="3506772" cy="1029877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kforce and Labor</a:t>
            </a:r>
          </a:p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armacy</a:t>
            </a:r>
          </a:p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ly Chain</a:t>
            </a:r>
          </a:p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ntralized and Shared Services</a:t>
            </a:r>
          </a:p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D86AB4F-B7FF-49F5-6F71-CDB1E76E84F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902696" y="1132486"/>
            <a:ext cx="3381735" cy="2743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st Performance Driver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1B9C8A5-BC78-50BB-BA92-E3A9DC648BC7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10022" y="2731712"/>
            <a:ext cx="2355056" cy="111754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2575" lvl="1" indent="-282575">
              <a:buClrTx/>
              <a:defRPr/>
            </a:pPr>
            <a:r>
              <a:rPr lang="en-US" sz="1600">
                <a:solidFill>
                  <a:prstClr val="white"/>
                </a:solidFill>
                <a:latin typeface="Calibri"/>
                <a:cs typeface="Calibri"/>
              </a:rPr>
              <a:t>Payer Contracting and Compliance</a:t>
            </a:r>
          </a:p>
          <a:p>
            <a:pPr marL="282575" lvl="1" indent="-282575">
              <a:buClrTx/>
              <a:defRPr/>
            </a:pPr>
            <a:r>
              <a:rPr lang="en-US" sz="1600">
                <a:solidFill>
                  <a:prstClr val="white"/>
                </a:solidFill>
                <a:latin typeface="Calibri"/>
                <a:cs typeface="Calibri"/>
              </a:rPr>
              <a:t>Revenue Cycle/Denials Management</a:t>
            </a:r>
          </a:p>
          <a:p>
            <a:pPr marL="282575" lvl="1" indent="-282575">
              <a:buClrTx/>
              <a:defRPr/>
            </a:pPr>
            <a:r>
              <a:rPr lang="en-US" sz="1600">
                <a:solidFill>
                  <a:prstClr val="white"/>
                </a:solidFill>
                <a:latin typeface="Calibri"/>
                <a:cs typeface="Calibri"/>
              </a:rPr>
              <a:t>Coding and Documentation</a:t>
            </a:r>
          </a:p>
          <a:p>
            <a:pPr marL="282575" marR="0" lvl="1" indent="-28257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4DA6D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4FDB3CA-EA22-CAAA-A2BC-6B42F255C35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258146" y="2333864"/>
            <a:ext cx="3229262" cy="2743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enue Performance Drivers</a:t>
            </a:r>
          </a:p>
        </p:txBody>
      </p:sp>
      <p:pic>
        <p:nvPicPr>
          <p:cNvPr id="47" name="Picture 46" descr="One Dollar Bill Clipart Images | Free Download | PNG Transparent Background  - Pngtree">
            <a:extLst>
              <a:ext uri="{FF2B5EF4-FFF2-40B4-BE49-F238E27FC236}">
                <a16:creationId xmlns:a16="http://schemas.microsoft.com/office/drawing/2014/main" id="{9E904CFD-256B-B17C-E777-8E2B2EF435EB}"/>
              </a:ext>
            </a:extLst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3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3493" y="2812282"/>
            <a:ext cx="828486" cy="2710206"/>
          </a:xfrm>
          <a:custGeom>
            <a:avLst/>
            <a:gdLst>
              <a:gd name="connsiteX0" fmla="*/ 0 w 828486"/>
              <a:gd name="connsiteY0" fmla="*/ 0 h 2710206"/>
              <a:gd name="connsiteX1" fmla="*/ 828486 w 828486"/>
              <a:gd name="connsiteY1" fmla="*/ 0 h 2710206"/>
              <a:gd name="connsiteX2" fmla="*/ 828486 w 828486"/>
              <a:gd name="connsiteY2" fmla="*/ 2710206 h 2710206"/>
              <a:gd name="connsiteX3" fmla="*/ 0 w 828486"/>
              <a:gd name="connsiteY3" fmla="*/ 2710206 h 2710206"/>
              <a:gd name="connsiteX4" fmla="*/ 0 w 828486"/>
              <a:gd name="connsiteY4" fmla="*/ 0 h 2710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8486" h="2710206">
                <a:moveTo>
                  <a:pt x="0" y="0"/>
                </a:moveTo>
                <a:lnTo>
                  <a:pt x="828486" y="0"/>
                </a:lnTo>
                <a:lnTo>
                  <a:pt x="828486" y="2710206"/>
                </a:lnTo>
                <a:lnTo>
                  <a:pt x="0" y="2710206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 descr="One Dollar Bill Clipart Images | Free Download | PNG Transparent Background  - Pngtree">
            <a:extLst>
              <a:ext uri="{FF2B5EF4-FFF2-40B4-BE49-F238E27FC236}">
                <a16:creationId xmlns:a16="http://schemas.microsoft.com/office/drawing/2014/main" id="{843B5342-9FCC-8B06-28E3-33DA58465D28}"/>
              </a:ext>
            </a:extLst>
          </p:cNvPr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3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7346" y="2812282"/>
            <a:ext cx="808611" cy="2710206"/>
          </a:xfrm>
          <a:custGeom>
            <a:avLst/>
            <a:gdLst>
              <a:gd name="connsiteX0" fmla="*/ 0 w 808611"/>
              <a:gd name="connsiteY0" fmla="*/ 0 h 2710206"/>
              <a:gd name="connsiteX1" fmla="*/ 808611 w 808611"/>
              <a:gd name="connsiteY1" fmla="*/ 0 h 2710206"/>
              <a:gd name="connsiteX2" fmla="*/ 808611 w 808611"/>
              <a:gd name="connsiteY2" fmla="*/ 2710206 h 2710206"/>
              <a:gd name="connsiteX3" fmla="*/ 0 w 808611"/>
              <a:gd name="connsiteY3" fmla="*/ 2710206 h 2710206"/>
              <a:gd name="connsiteX4" fmla="*/ 0 w 808611"/>
              <a:gd name="connsiteY4" fmla="*/ 0 h 2710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8611" h="2710206">
                <a:moveTo>
                  <a:pt x="0" y="0"/>
                </a:moveTo>
                <a:lnTo>
                  <a:pt x="808611" y="0"/>
                </a:lnTo>
                <a:lnTo>
                  <a:pt x="808611" y="2710206"/>
                </a:lnTo>
                <a:lnTo>
                  <a:pt x="0" y="2710206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 descr="One Dollar Bill Clipart Images | Free Download | PNG Transparent Background  - Pngtree">
            <a:extLst>
              <a:ext uri="{FF2B5EF4-FFF2-40B4-BE49-F238E27FC236}">
                <a16:creationId xmlns:a16="http://schemas.microsoft.com/office/drawing/2014/main" id="{0799020E-7743-C7E9-793E-ABC1BF4CD87B}"/>
              </a:ext>
            </a:extLst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1676" y="2812282"/>
            <a:ext cx="4745845" cy="2710206"/>
          </a:xfrm>
          <a:custGeom>
            <a:avLst/>
            <a:gdLst>
              <a:gd name="connsiteX0" fmla="*/ 0 w 4745845"/>
              <a:gd name="connsiteY0" fmla="*/ 0 h 2710206"/>
              <a:gd name="connsiteX1" fmla="*/ 4745845 w 4745845"/>
              <a:gd name="connsiteY1" fmla="*/ 0 h 2710206"/>
              <a:gd name="connsiteX2" fmla="*/ 4745845 w 4745845"/>
              <a:gd name="connsiteY2" fmla="*/ 2710206 h 2710206"/>
              <a:gd name="connsiteX3" fmla="*/ 0 w 4745845"/>
              <a:gd name="connsiteY3" fmla="*/ 2710206 h 2710206"/>
              <a:gd name="connsiteX4" fmla="*/ 0 w 4745845"/>
              <a:gd name="connsiteY4" fmla="*/ 0 h 2710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45845" h="2710206">
                <a:moveTo>
                  <a:pt x="0" y="0"/>
                </a:moveTo>
                <a:lnTo>
                  <a:pt x="4745845" y="0"/>
                </a:lnTo>
                <a:lnTo>
                  <a:pt x="4745845" y="2710206"/>
                </a:lnTo>
                <a:lnTo>
                  <a:pt x="0" y="2710206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D7EB830C-A77D-3230-88BC-ED0051E89764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8449560" y="2646688"/>
            <a:ext cx="3154836" cy="348791"/>
          </a:xfrm>
          <a:custGeom>
            <a:avLst/>
            <a:gdLst>
              <a:gd name="connsiteX0" fmla="*/ 0 w 3742441"/>
              <a:gd name="connsiteY0" fmla="*/ 348791 h 348791"/>
              <a:gd name="connsiteX1" fmla="*/ 0 w 3742441"/>
              <a:gd name="connsiteY1" fmla="*/ 0 h 348791"/>
              <a:gd name="connsiteX2" fmla="*/ 3742441 w 3742441"/>
              <a:gd name="connsiteY2" fmla="*/ 0 h 34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2441" h="348791">
                <a:moveTo>
                  <a:pt x="0" y="348791"/>
                </a:moveTo>
                <a:lnTo>
                  <a:pt x="0" y="0"/>
                </a:lnTo>
                <a:lnTo>
                  <a:pt x="3742441" y="0"/>
                </a:lnTo>
              </a:path>
            </a:pathLst>
          </a:cu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B06F561C-1D97-BFA8-A11B-C1F5EA0216AD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 flipH="1">
            <a:off x="266699" y="2646688"/>
            <a:ext cx="2770683" cy="348791"/>
          </a:xfrm>
          <a:custGeom>
            <a:avLst/>
            <a:gdLst>
              <a:gd name="connsiteX0" fmla="*/ 0 w 3742441"/>
              <a:gd name="connsiteY0" fmla="*/ 348791 h 348791"/>
              <a:gd name="connsiteX1" fmla="*/ 0 w 3742441"/>
              <a:gd name="connsiteY1" fmla="*/ 0 h 348791"/>
              <a:gd name="connsiteX2" fmla="*/ 3742441 w 3742441"/>
              <a:gd name="connsiteY2" fmla="*/ 0 h 348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42441" h="348791">
                <a:moveTo>
                  <a:pt x="0" y="348791"/>
                </a:moveTo>
                <a:lnTo>
                  <a:pt x="0" y="0"/>
                </a:lnTo>
                <a:lnTo>
                  <a:pt x="3742441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C04C1AB7-BC75-2F72-FE95-68553024424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3902697" y="1415720"/>
            <a:ext cx="3431357" cy="1579759"/>
          </a:xfrm>
          <a:custGeom>
            <a:avLst/>
            <a:gdLst>
              <a:gd name="connsiteX0" fmla="*/ 0 w 3431357"/>
              <a:gd name="connsiteY0" fmla="*/ 1527142 h 1527142"/>
              <a:gd name="connsiteX1" fmla="*/ 0 w 3431357"/>
              <a:gd name="connsiteY1" fmla="*/ 0 h 1527142"/>
              <a:gd name="connsiteX2" fmla="*/ 3431357 w 3431357"/>
              <a:gd name="connsiteY2" fmla="*/ 0 h 1527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31357" h="1527142">
                <a:moveTo>
                  <a:pt x="0" y="1527142"/>
                </a:moveTo>
                <a:lnTo>
                  <a:pt x="0" y="0"/>
                </a:lnTo>
                <a:lnTo>
                  <a:pt x="3431357" y="0"/>
                </a:lnTo>
              </a:path>
            </a:pathLst>
          </a:cu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069D7ECA-679F-2244-1CB5-FE32DE3EE888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8383573" y="2920861"/>
            <a:ext cx="137160" cy="13716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0CD4AE0-C62A-1904-05CE-F8F2CB2B942E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3831839" y="2920861"/>
            <a:ext cx="137160" cy="137160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71A544C-475B-BB45-7213-1CE262B51B97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2965019" y="2920861"/>
            <a:ext cx="137160" cy="13716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7ECF79CC-54DB-4158-028B-94D8AB38E36C}"/>
              </a:ext>
            </a:extLst>
          </p:cNvPr>
          <p:cNvGrpSpPr/>
          <p:nvPr>
            <p:custDataLst>
              <p:tags r:id="rId26"/>
            </p:custDataLst>
          </p:nvPr>
        </p:nvGrpSpPr>
        <p:grpSpPr>
          <a:xfrm>
            <a:off x="7488215" y="3720577"/>
            <a:ext cx="1396878" cy="1550063"/>
            <a:chOff x="12413485" y="3429000"/>
            <a:chExt cx="1883228" cy="2089748"/>
          </a:xfrm>
        </p:grpSpPr>
        <p:sp>
          <p:nvSpPr>
            <p:cNvPr id="2078" name="Cross 2077">
              <a:extLst>
                <a:ext uri="{FF2B5EF4-FFF2-40B4-BE49-F238E27FC236}">
                  <a16:creationId xmlns:a16="http://schemas.microsoft.com/office/drawing/2014/main" id="{602632D3-0950-5F6A-F2B6-1B2F0B79C59E}"/>
                </a:ext>
              </a:extLst>
            </p:cNvPr>
            <p:cNvSpPr/>
            <p:nvPr/>
          </p:nvSpPr>
          <p:spPr>
            <a:xfrm>
              <a:off x="12631918" y="3631818"/>
              <a:ext cx="1600058" cy="1600058"/>
            </a:xfrm>
            <a:prstGeom prst="plus">
              <a:avLst>
                <a:gd name="adj" fmla="val 33248"/>
              </a:avLst>
            </a:prstGeom>
            <a:gradFill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9" name="Cross 2078">
              <a:extLst>
                <a:ext uri="{FF2B5EF4-FFF2-40B4-BE49-F238E27FC236}">
                  <a16:creationId xmlns:a16="http://schemas.microsoft.com/office/drawing/2014/main" id="{B0A74995-5E46-01BD-42C4-D8B0D8C7667D}"/>
                </a:ext>
              </a:extLst>
            </p:cNvPr>
            <p:cNvSpPr/>
            <p:nvPr/>
          </p:nvSpPr>
          <p:spPr>
            <a:xfrm>
              <a:off x="12532483" y="3730503"/>
              <a:ext cx="1600058" cy="1600058"/>
            </a:xfrm>
            <a:prstGeom prst="plus">
              <a:avLst>
                <a:gd name="adj" fmla="val 33248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0" name="Rectangle 2079">
              <a:extLst>
                <a:ext uri="{FF2B5EF4-FFF2-40B4-BE49-F238E27FC236}">
                  <a16:creationId xmlns:a16="http://schemas.microsoft.com/office/drawing/2014/main" id="{8680061B-5402-6EE6-A134-9F9447C23018}"/>
                </a:ext>
              </a:extLst>
            </p:cNvPr>
            <p:cNvSpPr/>
            <p:nvPr/>
          </p:nvSpPr>
          <p:spPr>
            <a:xfrm>
              <a:off x="13821654" y="3953058"/>
              <a:ext cx="475059" cy="475059"/>
            </a:xfrm>
            <a:prstGeom prst="rect">
              <a:avLst/>
            </a:prstGeom>
            <a:solidFill>
              <a:schemeClr val="accent3">
                <a:alpha val="3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1" name="Rectangle 2080">
              <a:extLst>
                <a:ext uri="{FF2B5EF4-FFF2-40B4-BE49-F238E27FC236}">
                  <a16:creationId xmlns:a16="http://schemas.microsoft.com/office/drawing/2014/main" id="{2185DF03-5483-27D6-5A38-CB87E59AD1A4}"/>
                </a:ext>
              </a:extLst>
            </p:cNvPr>
            <p:cNvSpPr/>
            <p:nvPr/>
          </p:nvSpPr>
          <p:spPr>
            <a:xfrm>
              <a:off x="12893300" y="3429000"/>
              <a:ext cx="475059" cy="475059"/>
            </a:xfrm>
            <a:prstGeom prst="rect">
              <a:avLst/>
            </a:prstGeom>
            <a:solidFill>
              <a:schemeClr val="accent3">
                <a:alpha val="3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2" name="Rectangle 2081">
              <a:extLst>
                <a:ext uri="{FF2B5EF4-FFF2-40B4-BE49-F238E27FC236}">
                  <a16:creationId xmlns:a16="http://schemas.microsoft.com/office/drawing/2014/main" id="{4701AF2C-41BC-E79B-2A30-4A41F11A33A0}"/>
                </a:ext>
              </a:extLst>
            </p:cNvPr>
            <p:cNvSpPr/>
            <p:nvPr/>
          </p:nvSpPr>
          <p:spPr>
            <a:xfrm>
              <a:off x="12413485" y="4530532"/>
              <a:ext cx="475059" cy="475059"/>
            </a:xfrm>
            <a:prstGeom prst="rect">
              <a:avLst/>
            </a:prstGeom>
            <a:solidFill>
              <a:schemeClr val="accent3">
                <a:alpha val="3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3" name="Rectangle 2082">
              <a:extLst>
                <a:ext uri="{FF2B5EF4-FFF2-40B4-BE49-F238E27FC236}">
                  <a16:creationId xmlns:a16="http://schemas.microsoft.com/office/drawing/2014/main" id="{4946B816-147D-87A9-0E5E-348F367BB707}"/>
                </a:ext>
              </a:extLst>
            </p:cNvPr>
            <p:cNvSpPr/>
            <p:nvPr/>
          </p:nvSpPr>
          <p:spPr>
            <a:xfrm>
              <a:off x="13483099" y="5043689"/>
              <a:ext cx="475059" cy="475059"/>
            </a:xfrm>
            <a:prstGeom prst="rect">
              <a:avLst/>
            </a:prstGeom>
            <a:solidFill>
              <a:schemeClr val="accent3">
                <a:alpha val="30196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295516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8E785BA-DE0F-C63B-D040-73585EC661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E785BA-DE0F-C63B-D040-73585EC66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4ECF96-6578-2419-3475-A38AF3A855E4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23</a:t>
            </a:fld>
            <a:endParaRPr lang="en-US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012424-E760-06EF-FF53-BC812D811D24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1035698" y="1257300"/>
            <a:ext cx="10620496" cy="1899541"/>
          </a:xfrm>
        </p:spPr>
        <p:txBody>
          <a:bodyPr/>
          <a:lstStyle/>
          <a:p>
            <a:r>
              <a:rPr lang="en-US"/>
              <a:t>Brand Expansion and Redefini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46755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9A7E9932-8F45-C01D-2B3F-78481A1B521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397191" y="1161588"/>
            <a:ext cx="6794810" cy="56964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2701346-3190-40D3-1E32-8AF337315A7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7683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622" imgH="623" progId="TCLayout.ActiveDocument.1">
                  <p:embed/>
                </p:oleObj>
              </mc:Choice>
              <mc:Fallback>
                <p:oleObj name="think-cell Slide" r:id="rId22" imgW="622" imgH="62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701346-3190-40D3-1E32-8AF337315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44AF63-716A-FF72-6A4F-66F06B6B41D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6D693E9-4BB8-904E-D3F7-3C4D461D57CB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 anchor="ctr"/>
          <a:lstStyle/>
          <a:p>
            <a:r>
              <a:rPr lang="en-US"/>
              <a:t>Strategic Differentiator: Brand Expansion and Redefini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837141-BE97-ACE1-6875-FF5FF3558DFF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>
          <a:noFill/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24</a:t>
            </a:fld>
            <a:endParaRPr lang="en-US" noProof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9EB2A6-0352-2CA1-9B0A-54C113895528}"/>
              </a:ext>
            </a:extLst>
          </p:cNvPr>
          <p:cNvSpPr>
            <a:spLocks noGrp="1"/>
          </p:cNvSpPr>
          <p:nvPr>
            <p:ph idx="4294967295"/>
            <p:custDataLst>
              <p:tags r:id="rId7"/>
            </p:custDataLst>
          </p:nvPr>
        </p:nvSpPr>
        <p:spPr>
          <a:xfrm>
            <a:off x="6335713" y="1716088"/>
            <a:ext cx="5856287" cy="687387"/>
          </a:xfrm>
          <a:noFill/>
        </p:spPr>
        <p:txBody>
          <a:bodyPr anchor="ctr"/>
          <a:lstStyle/>
          <a:p>
            <a:pPr marL="0" indent="0">
              <a:buNone/>
            </a:pPr>
            <a:r>
              <a:rPr lang="en-US" sz="3200">
                <a:solidFill>
                  <a:schemeClr val="accent3"/>
                </a:solidFill>
              </a:rPr>
              <a:t>The Reality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670E968-3EA8-9354-2F41-52F38C5A06E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-3808" y="1164367"/>
            <a:ext cx="6341599" cy="5696410"/>
          </a:xfrm>
          <a:custGeom>
            <a:avLst/>
            <a:gdLst>
              <a:gd name="connsiteX0" fmla="*/ 0 w 6341599"/>
              <a:gd name="connsiteY0" fmla="*/ 0 h 5696410"/>
              <a:gd name="connsiteX1" fmla="*/ 6341599 w 6341599"/>
              <a:gd name="connsiteY1" fmla="*/ 0 h 5696410"/>
              <a:gd name="connsiteX2" fmla="*/ 6338247 w 6341599"/>
              <a:gd name="connsiteY2" fmla="*/ 6721 h 5696410"/>
              <a:gd name="connsiteX3" fmla="*/ 5778536 w 6341599"/>
              <a:gd name="connsiteY3" fmla="*/ 2848204 h 5696410"/>
              <a:gd name="connsiteX4" fmla="*/ 6338247 w 6341599"/>
              <a:gd name="connsiteY4" fmla="*/ 5689687 h 5696410"/>
              <a:gd name="connsiteX5" fmla="*/ 6341599 w 6341599"/>
              <a:gd name="connsiteY5" fmla="*/ 5696410 h 5696410"/>
              <a:gd name="connsiteX6" fmla="*/ 0 w 6341599"/>
              <a:gd name="connsiteY6" fmla="*/ 5696410 h 5696410"/>
              <a:gd name="connsiteX7" fmla="*/ 0 w 6341599"/>
              <a:gd name="connsiteY7" fmla="*/ 0 h 5696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41599" h="5696410">
                <a:moveTo>
                  <a:pt x="0" y="0"/>
                </a:moveTo>
                <a:lnTo>
                  <a:pt x="6341599" y="0"/>
                </a:lnTo>
                <a:lnTo>
                  <a:pt x="6338247" y="6721"/>
                </a:lnTo>
                <a:cubicBezTo>
                  <a:pt x="5988584" y="778898"/>
                  <a:pt x="5778536" y="1768845"/>
                  <a:pt x="5778536" y="2848204"/>
                </a:cubicBezTo>
                <a:cubicBezTo>
                  <a:pt x="5778536" y="3927562"/>
                  <a:pt x="5988584" y="4917511"/>
                  <a:pt x="6338247" y="5689687"/>
                </a:cubicBezTo>
                <a:lnTo>
                  <a:pt x="6341599" y="5696410"/>
                </a:lnTo>
                <a:lnTo>
                  <a:pt x="0" y="56964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8B16879-27F8-6200-D536-C1067401EF4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335208" y="2516615"/>
            <a:ext cx="497252" cy="731520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rtlCol="0" anchor="ctr">
            <a:noAutofit/>
          </a:bodyPr>
          <a:lstStyle/>
          <a:p>
            <a:r>
              <a:rPr lang="en-US" sz="44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181BA0E-63D2-CCE8-4BD3-A30AF897FBE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6335208" y="3659744"/>
            <a:ext cx="497252" cy="731520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rtlCol="0" anchor="ctr">
            <a:noAutofit/>
          </a:bodyPr>
          <a:lstStyle/>
          <a:p>
            <a:r>
              <a:rPr lang="en-US" sz="44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BF5B121-BDAC-61D1-9491-CCBC8903926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335208" y="4806780"/>
            <a:ext cx="497252" cy="731520"/>
          </a:xfrm>
          <a:prstGeom prst="rect">
            <a:avLst/>
          </a:prstGeom>
          <a:noFill/>
          <a:ln>
            <a:solidFill>
              <a:schemeClr val="accent3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rtlCol="0" anchor="ctr">
            <a:noAutofit/>
          </a:bodyPr>
          <a:lstStyle/>
          <a:p>
            <a:r>
              <a:rPr lang="en-US" sz="44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592CD95-66D4-5CDB-E2FF-CDD6C39C1CF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6818398" y="2528432"/>
            <a:ext cx="51195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r top-five revenue-producing service lines are ____________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59E3C8E-8C4C-499C-E4C6-478CD68393B7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818397" y="3671561"/>
            <a:ext cx="51285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r five largest capital investments in the past three years have been _______________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B63867C-5636-8ECC-5B8E-6EC409BC77C7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6818397" y="4818597"/>
            <a:ext cx="51285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entive compensation for our top executive team is based on _______________</a:t>
            </a:r>
          </a:p>
        </p:txBody>
      </p:sp>
      <p:pic>
        <p:nvPicPr>
          <p:cNvPr id="7" name="Picture 6" descr="A doctor holding a tablet and smiling&#10;&#10;Description automatically generated">
            <a:extLst>
              <a:ext uri="{FF2B5EF4-FFF2-40B4-BE49-F238E27FC236}">
                <a16:creationId xmlns:a16="http://schemas.microsoft.com/office/drawing/2014/main" id="{251F95C9-0870-2653-06AD-B2D2A8140B77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3808" y="1164368"/>
            <a:ext cx="6341599" cy="5693633"/>
          </a:xfrm>
          <a:custGeom>
            <a:avLst/>
            <a:gdLst>
              <a:gd name="connsiteX0" fmla="*/ 0 w 6341599"/>
              <a:gd name="connsiteY0" fmla="*/ 0 h 5693633"/>
              <a:gd name="connsiteX1" fmla="*/ 6341599 w 6341599"/>
              <a:gd name="connsiteY1" fmla="*/ 0 h 5693633"/>
              <a:gd name="connsiteX2" fmla="*/ 6338247 w 6341599"/>
              <a:gd name="connsiteY2" fmla="*/ 6721 h 5693633"/>
              <a:gd name="connsiteX3" fmla="*/ 5778536 w 6341599"/>
              <a:gd name="connsiteY3" fmla="*/ 2848204 h 5693633"/>
              <a:gd name="connsiteX4" fmla="*/ 6338247 w 6341599"/>
              <a:gd name="connsiteY4" fmla="*/ 5689687 h 5693633"/>
              <a:gd name="connsiteX5" fmla="*/ 6340215 w 6341599"/>
              <a:gd name="connsiteY5" fmla="*/ 5693633 h 5693633"/>
              <a:gd name="connsiteX6" fmla="*/ 0 w 6341599"/>
              <a:gd name="connsiteY6" fmla="*/ 5693633 h 5693633"/>
              <a:gd name="connsiteX7" fmla="*/ 0 w 6341599"/>
              <a:gd name="connsiteY7" fmla="*/ 0 h 5693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41599" h="5693633">
                <a:moveTo>
                  <a:pt x="0" y="0"/>
                </a:moveTo>
                <a:lnTo>
                  <a:pt x="6341599" y="0"/>
                </a:lnTo>
                <a:lnTo>
                  <a:pt x="6338247" y="6721"/>
                </a:lnTo>
                <a:cubicBezTo>
                  <a:pt x="5988584" y="778898"/>
                  <a:pt x="5778536" y="1768845"/>
                  <a:pt x="5778536" y="2848204"/>
                </a:cubicBezTo>
                <a:cubicBezTo>
                  <a:pt x="5778536" y="3927562"/>
                  <a:pt x="5988584" y="4917511"/>
                  <a:pt x="6338247" y="5689687"/>
                </a:cubicBezTo>
                <a:lnTo>
                  <a:pt x="6340215" y="5693633"/>
                </a:lnTo>
                <a:lnTo>
                  <a:pt x="0" y="5693633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70E27900-AE8A-50D1-71FA-505BAD25DC1C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-3809" y="2955792"/>
            <a:ext cx="4920393" cy="687181"/>
          </a:xfrm>
          <a:prstGeom prst="rect">
            <a:avLst/>
          </a:prstGeom>
          <a:noFill/>
        </p:spPr>
        <p:txBody>
          <a:bodyPr vert="horz" lIns="91440" tIns="0" rIns="91440" bIns="0" rtlCol="0" anchor="ctr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0"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THE PROMIS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9D309B9-FDE2-0249-9270-7C78CEEE45C3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267256" y="1908954"/>
            <a:ext cx="5393043" cy="8601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>
                <a:solidFill>
                  <a:schemeClr val="bg1"/>
                </a:solidFill>
              </a:rPr>
              <a:t>For most health systems, mission and margin are (still) very much misaligned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3133B3A-CC3B-E3B7-B7D6-023E52D4F211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-3811" y="3559515"/>
            <a:ext cx="5831330" cy="2010054"/>
          </a:xfrm>
          <a:custGeom>
            <a:avLst/>
            <a:gdLst>
              <a:gd name="connsiteX0" fmla="*/ 0 w 5569372"/>
              <a:gd name="connsiteY0" fmla="*/ 0 h 1610004"/>
              <a:gd name="connsiteX1" fmla="*/ 5569372 w 5569372"/>
              <a:gd name="connsiteY1" fmla="*/ 0 h 1610004"/>
              <a:gd name="connsiteX2" fmla="*/ 5564913 w 5569372"/>
              <a:gd name="connsiteY2" fmla="*/ 35325 h 1610004"/>
              <a:gd name="connsiteX3" fmla="*/ 5511379 w 5569372"/>
              <a:gd name="connsiteY3" fmla="*/ 1062086 h 1610004"/>
              <a:gd name="connsiteX4" fmla="*/ 5517527 w 5569372"/>
              <a:gd name="connsiteY4" fmla="*/ 1415116 h 1610004"/>
              <a:gd name="connsiteX5" fmla="*/ 5527784 w 5569372"/>
              <a:gd name="connsiteY5" fmla="*/ 1610004 h 1610004"/>
              <a:gd name="connsiteX6" fmla="*/ 0 w 5569372"/>
              <a:gd name="connsiteY6" fmla="*/ 1610004 h 16100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9372" h="1610004">
                <a:moveTo>
                  <a:pt x="0" y="0"/>
                </a:moveTo>
                <a:lnTo>
                  <a:pt x="5569372" y="0"/>
                </a:lnTo>
                <a:lnTo>
                  <a:pt x="5564913" y="35325"/>
                </a:lnTo>
                <a:cubicBezTo>
                  <a:pt x="5530122" y="359679"/>
                  <a:pt x="5511379" y="704536"/>
                  <a:pt x="5511379" y="1062086"/>
                </a:cubicBezTo>
                <a:cubicBezTo>
                  <a:pt x="5511379" y="1181270"/>
                  <a:pt x="5513462" y="1299043"/>
                  <a:pt x="5517527" y="1415116"/>
                </a:cubicBezTo>
                <a:lnTo>
                  <a:pt x="5527784" y="1610004"/>
                </a:lnTo>
                <a:lnTo>
                  <a:pt x="0" y="1610004"/>
                </a:lnTo>
                <a:close/>
              </a:path>
            </a:pathLst>
          </a:custGeom>
          <a:noFill/>
          <a:effectLst>
            <a:outerShdw blurRad="190500" sx="102000" sy="102000" algn="ctr" rotWithShape="0">
              <a:prstClr val="black">
                <a:alpha val="53000"/>
              </a:prstClr>
            </a:outerShdw>
          </a:effectLst>
        </p:spPr>
        <p:txBody>
          <a:bodyPr wrap="square" anchor="ctr">
            <a:noAutofit/>
          </a:bodyPr>
          <a:lstStyle/>
          <a:p>
            <a:pPr marL="285750"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o improve the health of the individuals and the communities we serve.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F8C824-D838-9ABF-C319-90AFFBB079C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-3810" y="2955792"/>
            <a:ext cx="5850334" cy="687181"/>
          </a:xfrm>
          <a:custGeom>
            <a:avLst/>
            <a:gdLst>
              <a:gd name="connsiteX0" fmla="*/ 0 w 5850334"/>
              <a:gd name="connsiteY0" fmla="*/ 0 h 687181"/>
              <a:gd name="connsiteX1" fmla="*/ 5850334 w 5850334"/>
              <a:gd name="connsiteY1" fmla="*/ 0 h 687181"/>
              <a:gd name="connsiteX2" fmla="*/ 5846346 w 5850334"/>
              <a:gd name="connsiteY2" fmla="*/ 28958 h 687181"/>
              <a:gd name="connsiteX3" fmla="*/ 5814203 w 5850334"/>
              <a:gd name="connsiteY3" fmla="*/ 361221 h 687181"/>
              <a:gd name="connsiteX4" fmla="*/ 5795486 w 5850334"/>
              <a:gd name="connsiteY4" fmla="*/ 687181 h 687181"/>
              <a:gd name="connsiteX5" fmla="*/ 0 w 5850334"/>
              <a:gd name="connsiteY5" fmla="*/ 687181 h 687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50334" h="687181">
                <a:moveTo>
                  <a:pt x="0" y="0"/>
                </a:moveTo>
                <a:lnTo>
                  <a:pt x="5850334" y="0"/>
                </a:lnTo>
                <a:lnTo>
                  <a:pt x="5846346" y="28958"/>
                </a:lnTo>
                <a:cubicBezTo>
                  <a:pt x="5833642" y="137522"/>
                  <a:pt x="5822891" y="248373"/>
                  <a:pt x="5814203" y="361221"/>
                </a:cubicBezTo>
                <a:lnTo>
                  <a:pt x="5795486" y="687181"/>
                </a:lnTo>
                <a:lnTo>
                  <a:pt x="0" y="687181"/>
                </a:lnTo>
                <a:close/>
              </a:path>
            </a:pathLst>
          </a:custGeom>
          <a:solidFill>
            <a:schemeClr val="accent2"/>
          </a:solidFill>
          <a:effectLst/>
        </p:spPr>
        <p:txBody>
          <a:bodyPr vert="horz" wrap="square" lIns="91440" tIns="0" rIns="91440" bIns="0" rtlCol="0" anchor="ctr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3425" indent="-2857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90600" indent="-180975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0">
              <a:buFont typeface="Arial" panose="020B0604020202020204" pitchFamily="34" charset="0"/>
              <a:buNone/>
            </a:pPr>
            <a:r>
              <a:rPr lang="en-US" sz="4000" b="1">
                <a:solidFill>
                  <a:schemeClr val="bg1"/>
                </a:solidFill>
              </a:rPr>
              <a:t>THE PROMI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90899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62AEC6D-88E0-9B28-4654-8B16DBA6B56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3" name="Picture 72" descr="A blue background with lines and dots&#10;&#10;Description automatically generated">
            <a:extLst>
              <a:ext uri="{FF2B5EF4-FFF2-40B4-BE49-F238E27FC236}">
                <a16:creationId xmlns:a16="http://schemas.microsoft.com/office/drawing/2014/main" id="{88A8E888-4041-76F6-3F3E-098D37825620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12191998" cy="6857999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0E558A5-1077-F032-C819-CC79F726C527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28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E558A5-1077-F032-C819-CC79F726C5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0855C0-48D5-10F2-355A-CFCB6863EB81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F108406-C5B2-0B73-E3CA-BAAB36F5E7F6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6"/>
            </p:custDataLst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A9C87B-8032-2C5D-8BE5-B407B316E3EF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7"/>
            </p:custDataLst>
          </p:nvPr>
        </p:nvSpPr>
        <p:spPr>
          <a:xfrm>
            <a:off x="73038" y="183521"/>
            <a:ext cx="11637963" cy="1158875"/>
          </a:xfrm>
        </p:spPr>
        <p:txBody>
          <a:bodyPr vert="horz"/>
          <a:lstStyle/>
          <a:p>
            <a:r>
              <a:rPr lang="en-US" sz="4400">
                <a:solidFill>
                  <a:schemeClr val="bg1"/>
                </a:solidFill>
              </a:rPr>
              <a:t>“Health” Is a </a:t>
            </a:r>
            <a:br>
              <a:rPr lang="en-US" sz="4400">
                <a:solidFill>
                  <a:schemeClr val="bg1"/>
                </a:solidFill>
              </a:rPr>
            </a:br>
            <a:r>
              <a:rPr lang="en-US" sz="4400">
                <a:solidFill>
                  <a:schemeClr val="bg1"/>
                </a:solidFill>
              </a:rPr>
              <a:t>Bear Word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6ED09079-1006-B545-35C7-81E458BF3B26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1049550" y="2301512"/>
            <a:ext cx="3552103" cy="3552102"/>
            <a:chOff x="1049550" y="2301512"/>
            <a:chExt cx="3552103" cy="3552102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C06C1CED-FDFD-01B7-8312-C8DC8EEEFE5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9550" y="2301512"/>
              <a:ext cx="3552103" cy="3552102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38100">
              <a:noFill/>
            </a:ln>
            <a:effectLst>
              <a:glow rad="203200">
                <a:schemeClr val="accent3">
                  <a:satMod val="175000"/>
                  <a:alpha val="40000"/>
                </a:schemeClr>
              </a:glo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8" name="Picture 27" descr="A teddy bear holding a heart and a flower&#10;&#10;Description automatically generated">
              <a:extLst>
                <a:ext uri="{FF2B5EF4-FFF2-40B4-BE49-F238E27FC236}">
                  <a16:creationId xmlns:a16="http://schemas.microsoft.com/office/drawing/2014/main" id="{3B988C2B-CDA6-45E7-432A-5CA8B83127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38097" t="7557" r="3361" b="4607"/>
            <a:stretch/>
          </p:blipFill>
          <p:spPr>
            <a:xfrm>
              <a:off x="1217075" y="2469039"/>
              <a:ext cx="3217052" cy="3217050"/>
            </a:xfrm>
            <a:prstGeom prst="ellipse">
              <a:avLst/>
            </a:prstGeom>
          </p:spPr>
        </p:pic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BA3DB39-B3CD-689A-EA79-AA46F974176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3840557" y="416090"/>
            <a:ext cx="3498015" cy="3498014"/>
            <a:chOff x="3840557" y="416090"/>
            <a:chExt cx="3498015" cy="3498014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CF75BAEF-9FA9-7FBD-221C-25C88659B3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40557" y="416090"/>
              <a:ext cx="3498015" cy="3498014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38100">
              <a:noFill/>
            </a:ln>
            <a:effectLst>
              <a:glow rad="203200">
                <a:schemeClr val="accent3">
                  <a:satMod val="175000"/>
                  <a:alpha val="40000"/>
                </a:schemeClr>
              </a:glo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0" name="Picture 29" descr="A bear with its mouth open&#10;&#10;Description automatically generated">
              <a:extLst>
                <a:ext uri="{FF2B5EF4-FFF2-40B4-BE49-F238E27FC236}">
                  <a16:creationId xmlns:a16="http://schemas.microsoft.com/office/drawing/2014/main" id="{1A8BACBE-BF5A-D2EC-8058-2CD79F9974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/>
            <a:srcRect l="7465" t="2630" r="28016" b="568"/>
            <a:stretch/>
          </p:blipFill>
          <p:spPr>
            <a:xfrm>
              <a:off x="4013968" y="589503"/>
              <a:ext cx="3151192" cy="3151190"/>
            </a:xfrm>
            <a:prstGeom prst="ellipse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32CCB5EB-1C37-12B3-0DD3-CDEA2E63A471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5579359" y="3190257"/>
            <a:ext cx="3659856" cy="3659854"/>
            <a:chOff x="5579359" y="3190257"/>
            <a:chExt cx="3659856" cy="365985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149D5702-F845-282C-5EB1-E7383CBE3D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79359" y="3190257"/>
              <a:ext cx="3659856" cy="3659854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38100">
              <a:noFill/>
            </a:ln>
            <a:effectLst>
              <a:glow rad="203200">
                <a:schemeClr val="accent3">
                  <a:satMod val="175000"/>
                  <a:alpha val="40000"/>
                </a:schemeClr>
              </a:glo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2" name="Picture 31" descr="A football player in a blue uniform&#10;&#10;Description automatically generated">
              <a:extLst>
                <a:ext uri="{FF2B5EF4-FFF2-40B4-BE49-F238E27FC236}">
                  <a16:creationId xmlns:a16="http://schemas.microsoft.com/office/drawing/2014/main" id="{16F845A2-84D9-1C6D-AB7D-40890AABE9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/>
            <a:srcRect l="21866" r="21866"/>
            <a:stretch/>
          </p:blipFill>
          <p:spPr>
            <a:xfrm>
              <a:off x="5799442" y="3410342"/>
              <a:ext cx="3219688" cy="3219686"/>
            </a:xfrm>
            <a:prstGeom prst="ellipse">
              <a:avLst/>
            </a:prstGeom>
          </p:spPr>
        </p:pic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B71AC280-3B93-8DC7-B3B8-6A964F924416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0"/>
          <a:srcRect l="13937" t="13277" r="13160" b="13818"/>
          <a:stretch/>
        </p:blipFill>
        <p:spPr>
          <a:xfrm>
            <a:off x="12335362" y="715165"/>
            <a:ext cx="2130679" cy="2130678"/>
          </a:xfrm>
          <a:prstGeom prst="ellipse">
            <a:avLst/>
          </a:prstGeom>
        </p:spPr>
      </p:pic>
      <p:grpSp>
        <p:nvGrpSpPr>
          <p:cNvPr id="76" name="Group 75">
            <a:extLst>
              <a:ext uri="{FF2B5EF4-FFF2-40B4-BE49-F238E27FC236}">
                <a16:creationId xmlns:a16="http://schemas.microsoft.com/office/drawing/2014/main" id="{DF672284-0903-4403-2D96-5FC8948ADB55}"/>
              </a:ext>
            </a:extLst>
          </p:cNvPr>
          <p:cNvGrpSpPr/>
          <p:nvPr>
            <p:custDataLst>
              <p:tags r:id="rId12"/>
            </p:custDataLst>
          </p:nvPr>
        </p:nvGrpSpPr>
        <p:grpSpPr>
          <a:xfrm>
            <a:off x="7149798" y="-4864"/>
            <a:ext cx="3835208" cy="3835206"/>
            <a:chOff x="7149798" y="-4864"/>
            <a:chExt cx="3835208" cy="3835206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4F05BD9-1A2D-F714-7645-4BC422EA26B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149798" y="-4864"/>
              <a:ext cx="3835208" cy="3835206"/>
            </a:xfrm>
            <a:prstGeom prst="ellipse">
              <a:avLst/>
            </a:prstGeom>
            <a:solidFill>
              <a:srgbClr val="FFFFFF">
                <a:alpha val="40000"/>
              </a:srgbClr>
            </a:solidFill>
            <a:ln w="38100">
              <a:noFill/>
            </a:ln>
            <a:effectLst>
              <a:glow rad="203200">
                <a:schemeClr val="accent3">
                  <a:satMod val="175000"/>
                  <a:alpha val="40000"/>
                </a:schemeClr>
              </a:glow>
            </a:effectLst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052" name="Picture 4" descr="Bayer Aspirin">
              <a:extLst>
                <a:ext uri="{FF2B5EF4-FFF2-40B4-BE49-F238E27FC236}">
                  <a16:creationId xmlns:a16="http://schemas.microsoft.com/office/drawing/2014/main" id="{FFF64BBF-3B75-A9B5-0CA3-82697A44FD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357622" y="202959"/>
              <a:ext cx="3419562" cy="3419562"/>
            </a:xfrm>
            <a:prstGeom prst="ellipse">
              <a:avLst/>
            </a:prstGeom>
            <a:ln w="63500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2000484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Rectangle 265">
            <a:extLst>
              <a:ext uri="{FF2B5EF4-FFF2-40B4-BE49-F238E27FC236}">
                <a16:creationId xmlns:a16="http://schemas.microsoft.com/office/drawing/2014/main" id="{007E575E-9559-96A0-5A16-114F3964DA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628934" y="1155930"/>
            <a:ext cx="4563066" cy="570207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7C0CF7C-1123-8B31-82AE-3B06F8CA64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-1" y="874879"/>
            <a:ext cx="7626286" cy="59831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5" name="Oval 264">
            <a:extLst>
              <a:ext uri="{FF2B5EF4-FFF2-40B4-BE49-F238E27FC236}">
                <a16:creationId xmlns:a16="http://schemas.microsoft.com/office/drawing/2014/main" id="{1308A781-98B8-E6BF-0C3C-73896ADB1A4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597339" y="1526740"/>
            <a:ext cx="4498662" cy="4498660"/>
          </a:xfrm>
          <a:prstGeom prst="ellipse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8297E69-83ED-FA23-D176-738AFF36E5E5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53886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95" imgH="394" progId="TCLayout.ActiveDocument.1">
                  <p:embed/>
                </p:oleObj>
              </mc:Choice>
              <mc:Fallback>
                <p:oleObj name="think-cell Slide" r:id="rId37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297E69-83ED-FA23-D176-738AFF36E5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1A95FB6-0A1D-868C-F436-27DC0577AF1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CC2576-BC44-8E50-2E3F-8FA3EA0A84E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 vert="horz" anchor="ctr"/>
          <a:lstStyle/>
          <a:p>
            <a:r>
              <a:rPr lang="en-US"/>
              <a:t>What would a true “health” brand look like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5282AB-65D3-23CB-4C00-268B05C746BE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8"/>
            </p:custDataLst>
          </p:nvPr>
        </p:nvSpPr>
        <p:spPr>
          <a:noFill/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26</a:t>
            </a:fld>
            <a:endParaRPr lang="en-US" noProof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5FF672-E8DC-E656-1859-0B3EEB5394E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7745998" y="1389217"/>
            <a:ext cx="417930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gap between most existing health system brands, and the aspiration as expressed in their missions, is a chasm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options are few: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5AB5A409-213D-F8BC-E8C1-12C29B7638FE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 rot="10800000">
            <a:off x="0" y="4031235"/>
            <a:ext cx="2887298" cy="2406528"/>
          </a:xfrm>
          <a:custGeom>
            <a:avLst/>
            <a:gdLst>
              <a:gd name="connsiteX0" fmla="*/ 829761 w 2406530"/>
              <a:gd name="connsiteY0" fmla="*/ 0 h 2406528"/>
              <a:gd name="connsiteX1" fmla="*/ 2406530 w 2406530"/>
              <a:gd name="connsiteY1" fmla="*/ 0 h 2406528"/>
              <a:gd name="connsiteX2" fmla="*/ 2406530 w 2406530"/>
              <a:gd name="connsiteY2" fmla="*/ 2406529 h 2406528"/>
              <a:gd name="connsiteX3" fmla="*/ 0 w 2406530"/>
              <a:gd name="connsiteY3" fmla="*/ 2406529 h 2406528"/>
              <a:gd name="connsiteX4" fmla="*/ 0 w 2406530"/>
              <a:gd name="connsiteY4" fmla="*/ 830039 h 2406528"/>
              <a:gd name="connsiteX5" fmla="*/ 829761 w 2406530"/>
              <a:gd name="connsiteY5" fmla="*/ 0 h 2406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6530" h="2406528">
                <a:moveTo>
                  <a:pt x="829761" y="0"/>
                </a:moveTo>
                <a:lnTo>
                  <a:pt x="2406530" y="0"/>
                </a:lnTo>
                <a:lnTo>
                  <a:pt x="2406530" y="2406529"/>
                </a:lnTo>
                <a:lnTo>
                  <a:pt x="0" y="2406529"/>
                </a:lnTo>
                <a:lnTo>
                  <a:pt x="0" y="830039"/>
                </a:lnTo>
                <a:cubicBezTo>
                  <a:pt x="0" y="371837"/>
                  <a:pt x="371838" y="0"/>
                  <a:pt x="829761" y="0"/>
                </a:cubicBezTo>
                <a:close/>
              </a:path>
            </a:pathLst>
          </a:custGeom>
          <a:solidFill>
            <a:schemeClr val="accent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15BEA891-B53E-A50E-87B6-9B59934EB0F6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38987" y="4031513"/>
            <a:ext cx="2887297" cy="2406528"/>
          </a:xfrm>
          <a:custGeom>
            <a:avLst/>
            <a:gdLst>
              <a:gd name="connsiteX0" fmla="*/ 0 w 2406530"/>
              <a:gd name="connsiteY0" fmla="*/ 0 h 2406528"/>
              <a:gd name="connsiteX1" fmla="*/ 2406530 w 2406530"/>
              <a:gd name="connsiteY1" fmla="*/ 0 h 2406528"/>
              <a:gd name="connsiteX2" fmla="*/ 2406530 w 2406530"/>
              <a:gd name="connsiteY2" fmla="*/ 2406529 h 2406528"/>
              <a:gd name="connsiteX3" fmla="*/ 829762 w 2406530"/>
              <a:gd name="connsiteY3" fmla="*/ 2406529 h 2406528"/>
              <a:gd name="connsiteX4" fmla="*/ 0 w 2406530"/>
              <a:gd name="connsiteY4" fmla="*/ 1576768 h 2406528"/>
              <a:gd name="connsiteX5" fmla="*/ 0 w 2406530"/>
              <a:gd name="connsiteY5" fmla="*/ 278 h 2406528"/>
              <a:gd name="connsiteX6" fmla="*/ 0 w 2406530"/>
              <a:gd name="connsiteY6" fmla="*/ 278 h 2406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06530" h="2406528">
                <a:moveTo>
                  <a:pt x="0" y="0"/>
                </a:moveTo>
                <a:lnTo>
                  <a:pt x="2406530" y="0"/>
                </a:lnTo>
                <a:lnTo>
                  <a:pt x="2406530" y="2406529"/>
                </a:lnTo>
                <a:lnTo>
                  <a:pt x="829762" y="2406529"/>
                </a:lnTo>
                <a:cubicBezTo>
                  <a:pt x="371838" y="2406529"/>
                  <a:pt x="0" y="2034692"/>
                  <a:pt x="0" y="1576768"/>
                </a:cubicBezTo>
                <a:lnTo>
                  <a:pt x="0" y="278"/>
                </a:lnTo>
                <a:lnTo>
                  <a:pt x="0" y="278"/>
                </a:lnTo>
                <a:close/>
              </a:path>
            </a:pathLst>
          </a:custGeom>
          <a:solidFill>
            <a:schemeClr val="accent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8F6A451-6428-C8FC-93F2-E3ACE63641A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 rot="10800000">
            <a:off x="0" y="1159840"/>
            <a:ext cx="2887298" cy="2406528"/>
          </a:xfrm>
          <a:custGeom>
            <a:avLst/>
            <a:gdLst>
              <a:gd name="connsiteX0" fmla="*/ 0 w 2406530"/>
              <a:gd name="connsiteY0" fmla="*/ 0 h 2406528"/>
              <a:gd name="connsiteX1" fmla="*/ 2406530 w 2406530"/>
              <a:gd name="connsiteY1" fmla="*/ 0 h 2406528"/>
              <a:gd name="connsiteX2" fmla="*/ 2406530 w 2406530"/>
              <a:gd name="connsiteY2" fmla="*/ 2406529 h 2406528"/>
              <a:gd name="connsiteX3" fmla="*/ 829761 w 2406530"/>
              <a:gd name="connsiteY3" fmla="*/ 2406529 h 2406528"/>
              <a:gd name="connsiteX4" fmla="*/ 0 w 2406530"/>
              <a:gd name="connsiteY4" fmla="*/ 1576768 h 2406528"/>
              <a:gd name="connsiteX5" fmla="*/ 0 w 2406530"/>
              <a:gd name="connsiteY5" fmla="*/ 0 h 2406528"/>
              <a:gd name="connsiteX6" fmla="*/ 0 w 2406530"/>
              <a:gd name="connsiteY6" fmla="*/ 0 h 2406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06530" h="2406528">
                <a:moveTo>
                  <a:pt x="0" y="0"/>
                </a:moveTo>
                <a:lnTo>
                  <a:pt x="2406530" y="0"/>
                </a:lnTo>
                <a:lnTo>
                  <a:pt x="2406530" y="2406529"/>
                </a:lnTo>
                <a:lnTo>
                  <a:pt x="829761" y="2406529"/>
                </a:lnTo>
                <a:cubicBezTo>
                  <a:pt x="371838" y="2406529"/>
                  <a:pt x="0" y="2034691"/>
                  <a:pt x="0" y="1576768"/>
                </a:cubicBez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B831F139-0777-E84C-FD6F-C728A5305A7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738987" y="1159563"/>
            <a:ext cx="2887297" cy="2406528"/>
          </a:xfrm>
          <a:custGeom>
            <a:avLst/>
            <a:gdLst>
              <a:gd name="connsiteX0" fmla="*/ 829762 w 2406530"/>
              <a:gd name="connsiteY0" fmla="*/ 0 h 2406528"/>
              <a:gd name="connsiteX1" fmla="*/ 2406530 w 2406530"/>
              <a:gd name="connsiteY1" fmla="*/ 0 h 2406528"/>
              <a:gd name="connsiteX2" fmla="*/ 2406530 w 2406530"/>
              <a:gd name="connsiteY2" fmla="*/ 2406529 h 2406528"/>
              <a:gd name="connsiteX3" fmla="*/ 0 w 2406530"/>
              <a:gd name="connsiteY3" fmla="*/ 2406529 h 2406528"/>
              <a:gd name="connsiteX4" fmla="*/ 0 w 2406530"/>
              <a:gd name="connsiteY4" fmla="*/ 830039 h 2406528"/>
              <a:gd name="connsiteX5" fmla="*/ 829762 w 2406530"/>
              <a:gd name="connsiteY5" fmla="*/ 278 h 2406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6530" h="2406528">
                <a:moveTo>
                  <a:pt x="829762" y="0"/>
                </a:moveTo>
                <a:lnTo>
                  <a:pt x="2406530" y="0"/>
                </a:lnTo>
                <a:lnTo>
                  <a:pt x="2406530" y="2406529"/>
                </a:lnTo>
                <a:lnTo>
                  <a:pt x="0" y="2406529"/>
                </a:lnTo>
                <a:lnTo>
                  <a:pt x="0" y="830039"/>
                </a:lnTo>
                <a:cubicBezTo>
                  <a:pt x="0" y="372115"/>
                  <a:pt x="371838" y="278"/>
                  <a:pt x="829762" y="278"/>
                </a:cubicBezTo>
                <a:close/>
              </a:path>
            </a:pathLst>
          </a:custGeom>
          <a:solidFill>
            <a:schemeClr val="accent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5" name="Graphic 2">
            <a:extLst>
              <a:ext uri="{FF2B5EF4-FFF2-40B4-BE49-F238E27FC236}">
                <a16:creationId xmlns:a16="http://schemas.microsoft.com/office/drawing/2014/main" id="{597BE0C8-9AAE-C3AD-592F-1924E9D0D42D}"/>
              </a:ext>
            </a:extLst>
          </p:cNvPr>
          <p:cNvGrpSpPr/>
          <p:nvPr>
            <p:custDataLst>
              <p:tags r:id="rId14"/>
            </p:custDataLst>
          </p:nvPr>
        </p:nvGrpSpPr>
        <p:grpSpPr>
          <a:xfrm>
            <a:off x="2743137" y="2715062"/>
            <a:ext cx="2139970" cy="2139968"/>
            <a:chOff x="7126599" y="2035897"/>
            <a:chExt cx="2139970" cy="2139968"/>
          </a:xfrm>
        </p:grpSpPr>
        <p:grpSp>
          <p:nvGrpSpPr>
            <p:cNvPr id="132" name="Graphic 2">
              <a:extLst>
                <a:ext uri="{FF2B5EF4-FFF2-40B4-BE49-F238E27FC236}">
                  <a16:creationId xmlns:a16="http://schemas.microsoft.com/office/drawing/2014/main" id="{9E08CD83-CA81-67A5-3EE1-FFEF44704891}"/>
                </a:ext>
              </a:extLst>
            </p:cNvPr>
            <p:cNvGrpSpPr/>
            <p:nvPr/>
          </p:nvGrpSpPr>
          <p:grpSpPr>
            <a:xfrm>
              <a:off x="7126599" y="2035897"/>
              <a:ext cx="2139970" cy="2139968"/>
              <a:chOff x="7126599" y="2035897"/>
              <a:chExt cx="2139970" cy="2139968"/>
            </a:xfrm>
          </p:grpSpPr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4EE108EC-90CB-01C6-D584-FD425EF74538}"/>
                  </a:ext>
                </a:extLst>
              </p:cNvPr>
              <p:cNvSpPr/>
              <p:nvPr/>
            </p:nvSpPr>
            <p:spPr>
              <a:xfrm rot="-1349998">
                <a:off x="7377653" y="2286951"/>
                <a:ext cx="1637862" cy="1637861"/>
              </a:xfrm>
              <a:custGeom>
                <a:avLst/>
                <a:gdLst>
                  <a:gd name="connsiteX0" fmla="*/ 1637863 w 1637862"/>
                  <a:gd name="connsiteY0" fmla="*/ 818931 h 1637861"/>
                  <a:gd name="connsiteX1" fmla="*/ 818932 w 1637862"/>
                  <a:gd name="connsiteY1" fmla="*/ 1637862 h 1637861"/>
                  <a:gd name="connsiteX2" fmla="*/ 0 w 1637862"/>
                  <a:gd name="connsiteY2" fmla="*/ 818931 h 1637861"/>
                  <a:gd name="connsiteX3" fmla="*/ 818932 w 1637862"/>
                  <a:gd name="connsiteY3" fmla="*/ 0 h 1637861"/>
                  <a:gd name="connsiteX4" fmla="*/ 1637863 w 1637862"/>
                  <a:gd name="connsiteY4" fmla="*/ 818931 h 1637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7862" h="1637861">
                    <a:moveTo>
                      <a:pt x="1637863" y="818931"/>
                    </a:moveTo>
                    <a:cubicBezTo>
                      <a:pt x="1637863" y="1271214"/>
                      <a:pt x="1271215" y="1637862"/>
                      <a:pt x="818932" y="1637862"/>
                    </a:cubicBezTo>
                    <a:cubicBezTo>
                      <a:pt x="366648" y="1637862"/>
                      <a:pt x="0" y="1271214"/>
                      <a:pt x="0" y="818931"/>
                    </a:cubicBezTo>
                    <a:cubicBezTo>
                      <a:pt x="0" y="366648"/>
                      <a:pt x="366648" y="0"/>
                      <a:pt x="818932" y="0"/>
                    </a:cubicBezTo>
                    <a:cubicBezTo>
                      <a:pt x="1271215" y="0"/>
                      <a:pt x="1637863" y="366648"/>
                      <a:pt x="1637863" y="818931"/>
                    </a:cubicBezTo>
                    <a:close/>
                  </a:path>
                </a:pathLst>
              </a:custGeom>
              <a:solidFill>
                <a:srgbClr val="FFFFFF">
                  <a:alpha val="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3E9ABE16-C4E2-CF26-22FF-28E81831C5B3}"/>
                  </a:ext>
                </a:extLst>
              </p:cNvPr>
              <p:cNvSpPr/>
              <p:nvPr/>
            </p:nvSpPr>
            <p:spPr>
              <a:xfrm rot="-1349998">
                <a:off x="7380152" y="2289450"/>
                <a:ext cx="1632864" cy="1632863"/>
              </a:xfrm>
              <a:custGeom>
                <a:avLst/>
                <a:gdLst>
                  <a:gd name="connsiteX0" fmla="*/ 1632864 w 1632864"/>
                  <a:gd name="connsiteY0" fmla="*/ 816432 h 1632863"/>
                  <a:gd name="connsiteX1" fmla="*/ 816432 w 1632864"/>
                  <a:gd name="connsiteY1" fmla="*/ 1632863 h 1632863"/>
                  <a:gd name="connsiteX2" fmla="*/ 0 w 1632864"/>
                  <a:gd name="connsiteY2" fmla="*/ 816432 h 1632863"/>
                  <a:gd name="connsiteX3" fmla="*/ 816432 w 1632864"/>
                  <a:gd name="connsiteY3" fmla="*/ 0 h 1632863"/>
                  <a:gd name="connsiteX4" fmla="*/ 1632864 w 1632864"/>
                  <a:gd name="connsiteY4" fmla="*/ 816432 h 1632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2864" h="1632863">
                    <a:moveTo>
                      <a:pt x="1632864" y="816432"/>
                    </a:moveTo>
                    <a:cubicBezTo>
                      <a:pt x="1632864" y="1267335"/>
                      <a:pt x="1267335" y="1632863"/>
                      <a:pt x="816432" y="1632863"/>
                    </a:cubicBezTo>
                    <a:cubicBezTo>
                      <a:pt x="365529" y="1632863"/>
                      <a:pt x="0" y="1267335"/>
                      <a:pt x="0" y="816432"/>
                    </a:cubicBezTo>
                    <a:cubicBezTo>
                      <a:pt x="0" y="365529"/>
                      <a:pt x="365529" y="0"/>
                      <a:pt x="816432" y="0"/>
                    </a:cubicBezTo>
                    <a:cubicBezTo>
                      <a:pt x="1267335" y="0"/>
                      <a:pt x="1632864" y="365529"/>
                      <a:pt x="1632864" y="816432"/>
                    </a:cubicBezTo>
                    <a:close/>
                  </a:path>
                </a:pathLst>
              </a:custGeom>
              <a:solidFill>
                <a:srgbClr val="FDFDFD">
                  <a:alpha val="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F6DECB50-8BBA-0D27-DB01-6DA767B4821E}"/>
                  </a:ext>
                </a:extLst>
              </p:cNvPr>
              <p:cNvSpPr/>
              <p:nvPr/>
            </p:nvSpPr>
            <p:spPr>
              <a:xfrm rot="-1349998">
                <a:off x="7382651" y="2291949"/>
                <a:ext cx="1627865" cy="1627864"/>
              </a:xfrm>
              <a:custGeom>
                <a:avLst/>
                <a:gdLst>
                  <a:gd name="connsiteX0" fmla="*/ 1627866 w 1627865"/>
                  <a:gd name="connsiteY0" fmla="*/ 813932 h 1627864"/>
                  <a:gd name="connsiteX1" fmla="*/ 813933 w 1627865"/>
                  <a:gd name="connsiteY1" fmla="*/ 1627865 h 1627864"/>
                  <a:gd name="connsiteX2" fmla="*/ 0 w 1627865"/>
                  <a:gd name="connsiteY2" fmla="*/ 813933 h 1627864"/>
                  <a:gd name="connsiteX3" fmla="*/ 813933 w 1627865"/>
                  <a:gd name="connsiteY3" fmla="*/ 0 h 1627864"/>
                  <a:gd name="connsiteX4" fmla="*/ 1627866 w 1627865"/>
                  <a:gd name="connsiteY4" fmla="*/ 813932 h 1627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7865" h="1627864">
                    <a:moveTo>
                      <a:pt x="1627866" y="813932"/>
                    </a:moveTo>
                    <a:cubicBezTo>
                      <a:pt x="1627866" y="1263455"/>
                      <a:pt x="1263456" y="1627865"/>
                      <a:pt x="813933" y="1627865"/>
                    </a:cubicBezTo>
                    <a:cubicBezTo>
                      <a:pt x="364410" y="1627865"/>
                      <a:pt x="0" y="1263455"/>
                      <a:pt x="0" y="813933"/>
                    </a:cubicBezTo>
                    <a:cubicBezTo>
                      <a:pt x="0" y="364410"/>
                      <a:pt x="364410" y="0"/>
                      <a:pt x="813933" y="0"/>
                    </a:cubicBezTo>
                    <a:cubicBezTo>
                      <a:pt x="1263456" y="0"/>
                      <a:pt x="1627866" y="364410"/>
                      <a:pt x="1627866" y="813932"/>
                    </a:cubicBezTo>
                    <a:close/>
                  </a:path>
                </a:pathLst>
              </a:custGeom>
              <a:solidFill>
                <a:srgbClr val="FBFBFB">
                  <a:alpha val="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04CA22F7-DD03-64D9-145F-46BC86B182C4}"/>
                  </a:ext>
                </a:extLst>
              </p:cNvPr>
              <p:cNvSpPr/>
              <p:nvPr/>
            </p:nvSpPr>
            <p:spPr>
              <a:xfrm rot="-1349998">
                <a:off x="7385428" y="2294726"/>
                <a:ext cx="1622311" cy="1622310"/>
              </a:xfrm>
              <a:custGeom>
                <a:avLst/>
                <a:gdLst>
                  <a:gd name="connsiteX0" fmla="*/ 1622312 w 1622311"/>
                  <a:gd name="connsiteY0" fmla="*/ 811155 h 1622310"/>
                  <a:gd name="connsiteX1" fmla="*/ 811156 w 1622311"/>
                  <a:gd name="connsiteY1" fmla="*/ 1622311 h 1622310"/>
                  <a:gd name="connsiteX2" fmla="*/ 0 w 1622311"/>
                  <a:gd name="connsiteY2" fmla="*/ 811155 h 1622310"/>
                  <a:gd name="connsiteX3" fmla="*/ 811156 w 1622311"/>
                  <a:gd name="connsiteY3" fmla="*/ 0 h 1622310"/>
                  <a:gd name="connsiteX4" fmla="*/ 1622312 w 1622311"/>
                  <a:gd name="connsiteY4" fmla="*/ 811155 h 1622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2311" h="1622310">
                    <a:moveTo>
                      <a:pt x="1622312" y="811155"/>
                    </a:moveTo>
                    <a:cubicBezTo>
                      <a:pt x="1622312" y="1259144"/>
                      <a:pt x="1259145" y="1622311"/>
                      <a:pt x="811156" y="1622311"/>
                    </a:cubicBezTo>
                    <a:cubicBezTo>
                      <a:pt x="363167" y="1622311"/>
                      <a:pt x="0" y="1259144"/>
                      <a:pt x="0" y="811155"/>
                    </a:cubicBezTo>
                    <a:cubicBezTo>
                      <a:pt x="0" y="363167"/>
                      <a:pt x="363167" y="0"/>
                      <a:pt x="811156" y="0"/>
                    </a:cubicBezTo>
                    <a:cubicBezTo>
                      <a:pt x="1259145" y="0"/>
                      <a:pt x="1622312" y="363167"/>
                      <a:pt x="1622312" y="811155"/>
                    </a:cubicBezTo>
                    <a:close/>
                  </a:path>
                </a:pathLst>
              </a:custGeom>
              <a:solidFill>
                <a:srgbClr val="F9F9F9">
                  <a:alpha val="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5A7BEAB7-93AE-C436-44C1-A903CD612F7A}"/>
                  </a:ext>
                </a:extLst>
              </p:cNvPr>
              <p:cNvSpPr/>
              <p:nvPr/>
            </p:nvSpPr>
            <p:spPr>
              <a:xfrm rot="-339000">
                <a:off x="7387848" y="2297479"/>
                <a:ext cx="1617312" cy="1617311"/>
              </a:xfrm>
              <a:custGeom>
                <a:avLst/>
                <a:gdLst>
                  <a:gd name="connsiteX0" fmla="*/ 1617313 w 1617312"/>
                  <a:gd name="connsiteY0" fmla="*/ 808656 h 1617311"/>
                  <a:gd name="connsiteX1" fmla="*/ 808656 w 1617312"/>
                  <a:gd name="connsiteY1" fmla="*/ 1617312 h 1617311"/>
                  <a:gd name="connsiteX2" fmla="*/ 0 w 1617312"/>
                  <a:gd name="connsiteY2" fmla="*/ 808656 h 1617311"/>
                  <a:gd name="connsiteX3" fmla="*/ 808656 w 1617312"/>
                  <a:gd name="connsiteY3" fmla="*/ 0 h 1617311"/>
                  <a:gd name="connsiteX4" fmla="*/ 1617313 w 1617312"/>
                  <a:gd name="connsiteY4" fmla="*/ 808656 h 1617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7312" h="1617311">
                    <a:moveTo>
                      <a:pt x="1617313" y="808656"/>
                    </a:moveTo>
                    <a:cubicBezTo>
                      <a:pt x="1617313" y="1255265"/>
                      <a:pt x="1255265" y="1617312"/>
                      <a:pt x="808656" y="1617312"/>
                    </a:cubicBezTo>
                    <a:cubicBezTo>
                      <a:pt x="362048" y="1617312"/>
                      <a:pt x="0" y="1255265"/>
                      <a:pt x="0" y="808656"/>
                    </a:cubicBezTo>
                    <a:cubicBezTo>
                      <a:pt x="0" y="362048"/>
                      <a:pt x="362048" y="0"/>
                      <a:pt x="808656" y="0"/>
                    </a:cubicBezTo>
                    <a:cubicBezTo>
                      <a:pt x="1255265" y="0"/>
                      <a:pt x="1617313" y="362048"/>
                      <a:pt x="1617313" y="808656"/>
                    </a:cubicBezTo>
                    <a:close/>
                  </a:path>
                </a:pathLst>
              </a:custGeom>
              <a:solidFill>
                <a:srgbClr val="F7F7F7">
                  <a:alpha val="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6C61CC80-BE7E-4F10-1003-DB081C5C7FE8}"/>
                  </a:ext>
                </a:extLst>
              </p:cNvPr>
              <p:cNvSpPr/>
              <p:nvPr/>
            </p:nvSpPr>
            <p:spPr>
              <a:xfrm rot="-1349998">
                <a:off x="7390427" y="2299725"/>
                <a:ext cx="1612314" cy="1612313"/>
              </a:xfrm>
              <a:custGeom>
                <a:avLst/>
                <a:gdLst>
                  <a:gd name="connsiteX0" fmla="*/ 1612315 w 1612314"/>
                  <a:gd name="connsiteY0" fmla="*/ 806157 h 1612313"/>
                  <a:gd name="connsiteX1" fmla="*/ 806157 w 1612314"/>
                  <a:gd name="connsiteY1" fmla="*/ 1612314 h 1612313"/>
                  <a:gd name="connsiteX2" fmla="*/ 0 w 1612314"/>
                  <a:gd name="connsiteY2" fmla="*/ 806157 h 1612313"/>
                  <a:gd name="connsiteX3" fmla="*/ 806157 w 1612314"/>
                  <a:gd name="connsiteY3" fmla="*/ 0 h 1612313"/>
                  <a:gd name="connsiteX4" fmla="*/ 1612315 w 1612314"/>
                  <a:gd name="connsiteY4" fmla="*/ 806157 h 1612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12314" h="1612313">
                    <a:moveTo>
                      <a:pt x="1612315" y="806157"/>
                    </a:moveTo>
                    <a:cubicBezTo>
                      <a:pt x="1612315" y="1251385"/>
                      <a:pt x="1251386" y="1612314"/>
                      <a:pt x="806157" y="1612314"/>
                    </a:cubicBezTo>
                    <a:cubicBezTo>
                      <a:pt x="360929" y="1612314"/>
                      <a:pt x="0" y="1251385"/>
                      <a:pt x="0" y="806157"/>
                    </a:cubicBezTo>
                    <a:cubicBezTo>
                      <a:pt x="0" y="360929"/>
                      <a:pt x="360929" y="0"/>
                      <a:pt x="806157" y="0"/>
                    </a:cubicBezTo>
                    <a:cubicBezTo>
                      <a:pt x="1251386" y="0"/>
                      <a:pt x="1612315" y="360929"/>
                      <a:pt x="1612315" y="806157"/>
                    </a:cubicBezTo>
                    <a:close/>
                  </a:path>
                </a:pathLst>
              </a:custGeom>
              <a:solidFill>
                <a:srgbClr val="F4F4F4">
                  <a:alpha val="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7CEB44FE-D0C7-34B5-F4F1-406F312E15E6}"/>
                  </a:ext>
                </a:extLst>
              </p:cNvPr>
              <p:cNvSpPr/>
              <p:nvPr/>
            </p:nvSpPr>
            <p:spPr>
              <a:xfrm rot="-1349998">
                <a:off x="7392926" y="2302224"/>
                <a:ext cx="1607315" cy="1607314"/>
              </a:xfrm>
              <a:custGeom>
                <a:avLst/>
                <a:gdLst>
                  <a:gd name="connsiteX0" fmla="*/ 1607316 w 1607315"/>
                  <a:gd name="connsiteY0" fmla="*/ 803658 h 1607314"/>
                  <a:gd name="connsiteX1" fmla="*/ 803658 w 1607315"/>
                  <a:gd name="connsiteY1" fmla="*/ 1607315 h 1607314"/>
                  <a:gd name="connsiteX2" fmla="*/ 0 w 1607315"/>
                  <a:gd name="connsiteY2" fmla="*/ 803657 h 1607314"/>
                  <a:gd name="connsiteX3" fmla="*/ 803658 w 1607315"/>
                  <a:gd name="connsiteY3" fmla="*/ 0 h 1607314"/>
                  <a:gd name="connsiteX4" fmla="*/ 1607316 w 1607315"/>
                  <a:gd name="connsiteY4" fmla="*/ 803658 h 1607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7315" h="1607314">
                    <a:moveTo>
                      <a:pt x="1607316" y="803658"/>
                    </a:moveTo>
                    <a:cubicBezTo>
                      <a:pt x="1607316" y="1247505"/>
                      <a:pt x="1247506" y="1607315"/>
                      <a:pt x="803658" y="1607315"/>
                    </a:cubicBezTo>
                    <a:cubicBezTo>
                      <a:pt x="359810" y="1607315"/>
                      <a:pt x="0" y="1247505"/>
                      <a:pt x="0" y="803657"/>
                    </a:cubicBezTo>
                    <a:cubicBezTo>
                      <a:pt x="0" y="359810"/>
                      <a:pt x="359810" y="0"/>
                      <a:pt x="803658" y="0"/>
                    </a:cubicBezTo>
                    <a:cubicBezTo>
                      <a:pt x="1247506" y="0"/>
                      <a:pt x="1607316" y="359810"/>
                      <a:pt x="1607316" y="803658"/>
                    </a:cubicBezTo>
                    <a:close/>
                  </a:path>
                </a:pathLst>
              </a:custGeom>
              <a:solidFill>
                <a:srgbClr val="F2F2F2">
                  <a:alpha val="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443639DF-5CFB-5B2E-E920-1390D9CD15B4}"/>
                  </a:ext>
                </a:extLst>
              </p:cNvPr>
              <p:cNvSpPr/>
              <p:nvPr/>
            </p:nvSpPr>
            <p:spPr>
              <a:xfrm rot="-339000">
                <a:off x="7395624" y="2305254"/>
                <a:ext cx="1601761" cy="1601760"/>
              </a:xfrm>
              <a:custGeom>
                <a:avLst/>
                <a:gdLst>
                  <a:gd name="connsiteX0" fmla="*/ 1601762 w 1601761"/>
                  <a:gd name="connsiteY0" fmla="*/ 800881 h 1601760"/>
                  <a:gd name="connsiteX1" fmla="*/ 800881 w 1601761"/>
                  <a:gd name="connsiteY1" fmla="*/ 1601761 h 1601760"/>
                  <a:gd name="connsiteX2" fmla="*/ 0 w 1601761"/>
                  <a:gd name="connsiteY2" fmla="*/ 800881 h 1601760"/>
                  <a:gd name="connsiteX3" fmla="*/ 800881 w 1601761"/>
                  <a:gd name="connsiteY3" fmla="*/ 0 h 1601760"/>
                  <a:gd name="connsiteX4" fmla="*/ 1601762 w 1601761"/>
                  <a:gd name="connsiteY4" fmla="*/ 800881 h 1601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01761" h="1601760">
                    <a:moveTo>
                      <a:pt x="1601762" y="800881"/>
                    </a:moveTo>
                    <a:cubicBezTo>
                      <a:pt x="1601762" y="1243195"/>
                      <a:pt x="1243195" y="1601761"/>
                      <a:pt x="800881" y="1601761"/>
                    </a:cubicBezTo>
                    <a:cubicBezTo>
                      <a:pt x="358567" y="1601761"/>
                      <a:pt x="0" y="1243195"/>
                      <a:pt x="0" y="800881"/>
                    </a:cubicBezTo>
                    <a:cubicBezTo>
                      <a:pt x="0" y="358567"/>
                      <a:pt x="358567" y="0"/>
                      <a:pt x="800881" y="0"/>
                    </a:cubicBezTo>
                    <a:cubicBezTo>
                      <a:pt x="1243195" y="0"/>
                      <a:pt x="1601762" y="358567"/>
                      <a:pt x="1601762" y="800881"/>
                    </a:cubicBezTo>
                    <a:close/>
                  </a:path>
                </a:pathLst>
              </a:custGeom>
              <a:solidFill>
                <a:srgbClr val="F0F0F0">
                  <a:alpha val="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F856270D-7BE5-239E-34F2-54DFDB2C96BF}"/>
                  </a:ext>
                </a:extLst>
              </p:cNvPr>
              <p:cNvSpPr/>
              <p:nvPr/>
            </p:nvSpPr>
            <p:spPr>
              <a:xfrm rot="-1349998">
                <a:off x="7398203" y="2307500"/>
                <a:ext cx="1596763" cy="1596762"/>
              </a:xfrm>
              <a:custGeom>
                <a:avLst/>
                <a:gdLst>
                  <a:gd name="connsiteX0" fmla="*/ 1596764 w 1596763"/>
                  <a:gd name="connsiteY0" fmla="*/ 798381 h 1596762"/>
                  <a:gd name="connsiteX1" fmla="*/ 798382 w 1596763"/>
                  <a:gd name="connsiteY1" fmla="*/ 1596763 h 1596762"/>
                  <a:gd name="connsiteX2" fmla="*/ 0 w 1596763"/>
                  <a:gd name="connsiteY2" fmla="*/ 798381 h 1596762"/>
                  <a:gd name="connsiteX3" fmla="*/ 798382 w 1596763"/>
                  <a:gd name="connsiteY3" fmla="*/ 0 h 1596762"/>
                  <a:gd name="connsiteX4" fmla="*/ 1596764 w 1596763"/>
                  <a:gd name="connsiteY4" fmla="*/ 798381 h 159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6763" h="1596762">
                    <a:moveTo>
                      <a:pt x="1596764" y="798381"/>
                    </a:moveTo>
                    <a:cubicBezTo>
                      <a:pt x="1596764" y="1239315"/>
                      <a:pt x="1239316" y="1596763"/>
                      <a:pt x="798382" y="1596763"/>
                    </a:cubicBezTo>
                    <a:cubicBezTo>
                      <a:pt x="357448" y="1596763"/>
                      <a:pt x="0" y="1239315"/>
                      <a:pt x="0" y="798381"/>
                    </a:cubicBezTo>
                    <a:cubicBezTo>
                      <a:pt x="0" y="357447"/>
                      <a:pt x="357448" y="0"/>
                      <a:pt x="798382" y="0"/>
                    </a:cubicBezTo>
                    <a:cubicBezTo>
                      <a:pt x="1239316" y="0"/>
                      <a:pt x="1596764" y="357447"/>
                      <a:pt x="1596764" y="798381"/>
                    </a:cubicBezTo>
                    <a:close/>
                  </a:path>
                </a:pathLst>
              </a:custGeom>
              <a:solidFill>
                <a:srgbClr val="EEEEEE">
                  <a:alpha val="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5B75AAFF-2DD1-8D63-CD2C-09DCF02B114C}"/>
                  </a:ext>
                </a:extLst>
              </p:cNvPr>
              <p:cNvSpPr/>
              <p:nvPr/>
            </p:nvSpPr>
            <p:spPr>
              <a:xfrm rot="-1349998">
                <a:off x="7400702" y="2309999"/>
                <a:ext cx="1591764" cy="1591763"/>
              </a:xfrm>
              <a:custGeom>
                <a:avLst/>
                <a:gdLst>
                  <a:gd name="connsiteX0" fmla="*/ 1591765 w 1591764"/>
                  <a:gd name="connsiteY0" fmla="*/ 795882 h 1591763"/>
                  <a:gd name="connsiteX1" fmla="*/ 795882 w 1591764"/>
                  <a:gd name="connsiteY1" fmla="*/ 1591764 h 1591763"/>
                  <a:gd name="connsiteX2" fmla="*/ 0 w 1591764"/>
                  <a:gd name="connsiteY2" fmla="*/ 795882 h 1591763"/>
                  <a:gd name="connsiteX3" fmla="*/ 795882 w 1591764"/>
                  <a:gd name="connsiteY3" fmla="*/ 0 h 1591763"/>
                  <a:gd name="connsiteX4" fmla="*/ 1591765 w 1591764"/>
                  <a:gd name="connsiteY4" fmla="*/ 795882 h 1591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91764" h="1591763">
                    <a:moveTo>
                      <a:pt x="1591765" y="795882"/>
                    </a:moveTo>
                    <a:cubicBezTo>
                      <a:pt x="1591765" y="1235436"/>
                      <a:pt x="1235437" y="1591764"/>
                      <a:pt x="795882" y="1591764"/>
                    </a:cubicBezTo>
                    <a:cubicBezTo>
                      <a:pt x="356329" y="1591764"/>
                      <a:pt x="0" y="1235436"/>
                      <a:pt x="0" y="795882"/>
                    </a:cubicBezTo>
                    <a:cubicBezTo>
                      <a:pt x="0" y="356329"/>
                      <a:pt x="356329" y="0"/>
                      <a:pt x="795882" y="0"/>
                    </a:cubicBezTo>
                    <a:cubicBezTo>
                      <a:pt x="1235436" y="0"/>
                      <a:pt x="1591765" y="356329"/>
                      <a:pt x="1591765" y="795882"/>
                    </a:cubicBezTo>
                    <a:close/>
                  </a:path>
                </a:pathLst>
              </a:custGeom>
              <a:solidFill>
                <a:srgbClr val="ECECEC">
                  <a:alpha val="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5505B43A-9883-A3EE-5041-B9D9A22BE0E1}"/>
                  </a:ext>
                </a:extLst>
              </p:cNvPr>
              <p:cNvSpPr/>
              <p:nvPr/>
            </p:nvSpPr>
            <p:spPr>
              <a:xfrm rot="-339000">
                <a:off x="7403399" y="2313030"/>
                <a:ext cx="1586210" cy="1586209"/>
              </a:xfrm>
              <a:custGeom>
                <a:avLst/>
                <a:gdLst>
                  <a:gd name="connsiteX0" fmla="*/ 1586211 w 1586210"/>
                  <a:gd name="connsiteY0" fmla="*/ 793105 h 1586209"/>
                  <a:gd name="connsiteX1" fmla="*/ 793105 w 1586210"/>
                  <a:gd name="connsiteY1" fmla="*/ 1586210 h 1586209"/>
                  <a:gd name="connsiteX2" fmla="*/ 0 w 1586210"/>
                  <a:gd name="connsiteY2" fmla="*/ 793105 h 1586209"/>
                  <a:gd name="connsiteX3" fmla="*/ 793105 w 1586210"/>
                  <a:gd name="connsiteY3" fmla="*/ 0 h 1586209"/>
                  <a:gd name="connsiteX4" fmla="*/ 1586211 w 1586210"/>
                  <a:gd name="connsiteY4" fmla="*/ 793105 h 1586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6210" h="1586209">
                    <a:moveTo>
                      <a:pt x="1586211" y="793105"/>
                    </a:moveTo>
                    <a:cubicBezTo>
                      <a:pt x="1586211" y="1231125"/>
                      <a:pt x="1231125" y="1586210"/>
                      <a:pt x="793105" y="1586210"/>
                    </a:cubicBezTo>
                    <a:cubicBezTo>
                      <a:pt x="355085" y="1586210"/>
                      <a:pt x="0" y="1231125"/>
                      <a:pt x="0" y="793105"/>
                    </a:cubicBezTo>
                    <a:cubicBezTo>
                      <a:pt x="0" y="355085"/>
                      <a:pt x="355086" y="0"/>
                      <a:pt x="793105" y="0"/>
                    </a:cubicBezTo>
                    <a:cubicBezTo>
                      <a:pt x="1231125" y="0"/>
                      <a:pt x="1586211" y="355085"/>
                      <a:pt x="1586211" y="793105"/>
                    </a:cubicBezTo>
                    <a:close/>
                  </a:path>
                </a:pathLst>
              </a:custGeom>
              <a:solidFill>
                <a:srgbClr val="EAEAEA">
                  <a:alpha val="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0C0BA3D9-1984-5FFD-16B6-814B730A003D}"/>
                  </a:ext>
                </a:extLst>
              </p:cNvPr>
              <p:cNvSpPr/>
              <p:nvPr/>
            </p:nvSpPr>
            <p:spPr>
              <a:xfrm rot="-339000">
                <a:off x="7405899" y="2315529"/>
                <a:ext cx="1581212" cy="1581211"/>
              </a:xfrm>
              <a:custGeom>
                <a:avLst/>
                <a:gdLst>
                  <a:gd name="connsiteX0" fmla="*/ 1581212 w 1581212"/>
                  <a:gd name="connsiteY0" fmla="*/ 790606 h 1581211"/>
                  <a:gd name="connsiteX1" fmla="*/ 790606 w 1581212"/>
                  <a:gd name="connsiteY1" fmla="*/ 1581211 h 1581211"/>
                  <a:gd name="connsiteX2" fmla="*/ 0 w 1581212"/>
                  <a:gd name="connsiteY2" fmla="*/ 790606 h 1581211"/>
                  <a:gd name="connsiteX3" fmla="*/ 790606 w 1581212"/>
                  <a:gd name="connsiteY3" fmla="*/ 0 h 1581211"/>
                  <a:gd name="connsiteX4" fmla="*/ 1581212 w 1581212"/>
                  <a:gd name="connsiteY4" fmla="*/ 790606 h 15812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81212" h="1581211">
                    <a:moveTo>
                      <a:pt x="1581212" y="790606"/>
                    </a:moveTo>
                    <a:cubicBezTo>
                      <a:pt x="1581212" y="1227245"/>
                      <a:pt x="1227246" y="1581211"/>
                      <a:pt x="790606" y="1581211"/>
                    </a:cubicBezTo>
                    <a:cubicBezTo>
                      <a:pt x="353966" y="1581211"/>
                      <a:pt x="0" y="1227245"/>
                      <a:pt x="0" y="790606"/>
                    </a:cubicBezTo>
                    <a:cubicBezTo>
                      <a:pt x="0" y="353966"/>
                      <a:pt x="353966" y="0"/>
                      <a:pt x="790606" y="0"/>
                    </a:cubicBezTo>
                    <a:cubicBezTo>
                      <a:pt x="1227246" y="0"/>
                      <a:pt x="1581212" y="353966"/>
                      <a:pt x="1581212" y="790606"/>
                    </a:cubicBezTo>
                    <a:close/>
                  </a:path>
                </a:pathLst>
              </a:custGeom>
              <a:solidFill>
                <a:srgbClr val="E8E8E8">
                  <a:alpha val="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722884AE-F5E0-0927-4763-A3DE91337503}"/>
                  </a:ext>
                </a:extLst>
              </p:cNvPr>
              <p:cNvSpPr/>
              <p:nvPr/>
            </p:nvSpPr>
            <p:spPr>
              <a:xfrm rot="-339000">
                <a:off x="7408398" y="2318028"/>
                <a:ext cx="1576213" cy="1576212"/>
              </a:xfrm>
              <a:custGeom>
                <a:avLst/>
                <a:gdLst>
                  <a:gd name="connsiteX0" fmla="*/ 1576214 w 1576213"/>
                  <a:gd name="connsiteY0" fmla="*/ 788106 h 1576212"/>
                  <a:gd name="connsiteX1" fmla="*/ 788107 w 1576213"/>
                  <a:gd name="connsiteY1" fmla="*/ 1576213 h 1576212"/>
                  <a:gd name="connsiteX2" fmla="*/ 0 w 1576213"/>
                  <a:gd name="connsiteY2" fmla="*/ 788106 h 1576212"/>
                  <a:gd name="connsiteX3" fmla="*/ 788107 w 1576213"/>
                  <a:gd name="connsiteY3" fmla="*/ 0 h 1576212"/>
                  <a:gd name="connsiteX4" fmla="*/ 1576214 w 1576213"/>
                  <a:gd name="connsiteY4" fmla="*/ 788106 h 15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6213" h="1576212">
                    <a:moveTo>
                      <a:pt x="1576214" y="788106"/>
                    </a:moveTo>
                    <a:cubicBezTo>
                      <a:pt x="1576214" y="1223366"/>
                      <a:pt x="1223366" y="1576213"/>
                      <a:pt x="788107" y="1576213"/>
                    </a:cubicBezTo>
                    <a:cubicBezTo>
                      <a:pt x="352848" y="1576213"/>
                      <a:pt x="0" y="1223365"/>
                      <a:pt x="0" y="788106"/>
                    </a:cubicBezTo>
                    <a:cubicBezTo>
                      <a:pt x="0" y="352847"/>
                      <a:pt x="352848" y="0"/>
                      <a:pt x="788107" y="0"/>
                    </a:cubicBezTo>
                    <a:cubicBezTo>
                      <a:pt x="1223366" y="0"/>
                      <a:pt x="1576214" y="352847"/>
                      <a:pt x="1576214" y="788106"/>
                    </a:cubicBezTo>
                    <a:close/>
                  </a:path>
                </a:pathLst>
              </a:custGeom>
              <a:solidFill>
                <a:srgbClr val="E6E6E6">
                  <a:alpha val="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3762E8A3-3C12-E4DD-7179-3A914D452920}"/>
                  </a:ext>
                </a:extLst>
              </p:cNvPr>
              <p:cNvSpPr/>
              <p:nvPr/>
            </p:nvSpPr>
            <p:spPr>
              <a:xfrm rot="-339000">
                <a:off x="7410897" y="2320528"/>
                <a:ext cx="1571215" cy="1571214"/>
              </a:xfrm>
              <a:custGeom>
                <a:avLst/>
                <a:gdLst>
                  <a:gd name="connsiteX0" fmla="*/ 1571215 w 1571215"/>
                  <a:gd name="connsiteY0" fmla="*/ 785607 h 1571214"/>
                  <a:gd name="connsiteX1" fmla="*/ 785607 w 1571215"/>
                  <a:gd name="connsiteY1" fmla="*/ 1571214 h 1571214"/>
                  <a:gd name="connsiteX2" fmla="*/ 0 w 1571215"/>
                  <a:gd name="connsiteY2" fmla="*/ 785607 h 1571214"/>
                  <a:gd name="connsiteX3" fmla="*/ 785607 w 1571215"/>
                  <a:gd name="connsiteY3" fmla="*/ 0 h 1571214"/>
                  <a:gd name="connsiteX4" fmla="*/ 1571215 w 1571215"/>
                  <a:gd name="connsiteY4" fmla="*/ 785607 h 157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71215" h="1571214">
                    <a:moveTo>
                      <a:pt x="1571215" y="785607"/>
                    </a:moveTo>
                    <a:cubicBezTo>
                      <a:pt x="1571215" y="1219486"/>
                      <a:pt x="1219486" y="1571214"/>
                      <a:pt x="785607" y="1571214"/>
                    </a:cubicBezTo>
                    <a:cubicBezTo>
                      <a:pt x="351728" y="1571214"/>
                      <a:pt x="0" y="1219486"/>
                      <a:pt x="0" y="785607"/>
                    </a:cubicBezTo>
                    <a:cubicBezTo>
                      <a:pt x="0" y="351728"/>
                      <a:pt x="351728" y="0"/>
                      <a:pt x="785607" y="0"/>
                    </a:cubicBezTo>
                    <a:cubicBezTo>
                      <a:pt x="1219486" y="0"/>
                      <a:pt x="1571215" y="351728"/>
                      <a:pt x="1571215" y="785607"/>
                    </a:cubicBezTo>
                    <a:close/>
                  </a:path>
                </a:pathLst>
              </a:custGeom>
              <a:solidFill>
                <a:srgbClr val="E4E4E4">
                  <a:alpha val="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1231A4D1-C039-C28C-E4A9-9D651C7CB86E}"/>
                  </a:ext>
                </a:extLst>
              </p:cNvPr>
              <p:cNvSpPr/>
              <p:nvPr/>
            </p:nvSpPr>
            <p:spPr>
              <a:xfrm rot="-339000">
                <a:off x="7413674" y="2323305"/>
                <a:ext cx="1565661" cy="1565660"/>
              </a:xfrm>
              <a:custGeom>
                <a:avLst/>
                <a:gdLst>
                  <a:gd name="connsiteX0" fmla="*/ 1565661 w 1565661"/>
                  <a:gd name="connsiteY0" fmla="*/ 782830 h 1565660"/>
                  <a:gd name="connsiteX1" fmla="*/ 782831 w 1565661"/>
                  <a:gd name="connsiteY1" fmla="*/ 1565660 h 1565660"/>
                  <a:gd name="connsiteX2" fmla="*/ 0 w 1565661"/>
                  <a:gd name="connsiteY2" fmla="*/ 782830 h 1565660"/>
                  <a:gd name="connsiteX3" fmla="*/ 782831 w 1565661"/>
                  <a:gd name="connsiteY3" fmla="*/ 0 h 1565660"/>
                  <a:gd name="connsiteX4" fmla="*/ 1565661 w 1565661"/>
                  <a:gd name="connsiteY4" fmla="*/ 782830 h 1565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5661" h="1565660">
                    <a:moveTo>
                      <a:pt x="1565661" y="782830"/>
                    </a:moveTo>
                    <a:cubicBezTo>
                      <a:pt x="1565661" y="1215175"/>
                      <a:pt x="1215176" y="1565660"/>
                      <a:pt x="782831" y="1565660"/>
                    </a:cubicBezTo>
                    <a:cubicBezTo>
                      <a:pt x="350485" y="1565660"/>
                      <a:pt x="0" y="1215175"/>
                      <a:pt x="0" y="782830"/>
                    </a:cubicBezTo>
                    <a:cubicBezTo>
                      <a:pt x="0" y="350485"/>
                      <a:pt x="350485" y="0"/>
                      <a:pt x="782831" y="0"/>
                    </a:cubicBezTo>
                    <a:cubicBezTo>
                      <a:pt x="1215176" y="0"/>
                      <a:pt x="1565661" y="350485"/>
                      <a:pt x="1565661" y="782830"/>
                    </a:cubicBezTo>
                    <a:close/>
                  </a:path>
                </a:pathLst>
              </a:custGeom>
              <a:solidFill>
                <a:srgbClr val="E1E1E1">
                  <a:alpha val="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C671F52D-55F6-5642-C4B9-E6D465FC6306}"/>
                  </a:ext>
                </a:extLst>
              </p:cNvPr>
              <p:cNvSpPr/>
              <p:nvPr/>
            </p:nvSpPr>
            <p:spPr>
              <a:xfrm>
                <a:off x="7416274" y="2325422"/>
                <a:ext cx="1560662" cy="1560661"/>
              </a:xfrm>
              <a:custGeom>
                <a:avLst/>
                <a:gdLst>
                  <a:gd name="connsiteX0" fmla="*/ 1560663 w 1560662"/>
                  <a:gd name="connsiteY0" fmla="*/ 780331 h 1560661"/>
                  <a:gd name="connsiteX1" fmla="*/ 780331 w 1560662"/>
                  <a:gd name="connsiteY1" fmla="*/ 1560661 h 1560661"/>
                  <a:gd name="connsiteX2" fmla="*/ 0 w 1560662"/>
                  <a:gd name="connsiteY2" fmla="*/ 780331 h 1560661"/>
                  <a:gd name="connsiteX3" fmla="*/ 780331 w 1560662"/>
                  <a:gd name="connsiteY3" fmla="*/ 0 h 1560661"/>
                  <a:gd name="connsiteX4" fmla="*/ 1560663 w 1560662"/>
                  <a:gd name="connsiteY4" fmla="*/ 780331 h 1560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60662" h="1560661">
                    <a:moveTo>
                      <a:pt x="1560663" y="780331"/>
                    </a:moveTo>
                    <a:cubicBezTo>
                      <a:pt x="1560663" y="1211296"/>
                      <a:pt x="1211296" y="1560661"/>
                      <a:pt x="780331" y="1560661"/>
                    </a:cubicBezTo>
                    <a:cubicBezTo>
                      <a:pt x="349366" y="1560661"/>
                      <a:pt x="0" y="1211296"/>
                      <a:pt x="0" y="780331"/>
                    </a:cubicBezTo>
                    <a:cubicBezTo>
                      <a:pt x="0" y="349366"/>
                      <a:pt x="349366" y="0"/>
                      <a:pt x="780331" y="0"/>
                    </a:cubicBezTo>
                    <a:cubicBezTo>
                      <a:pt x="1211296" y="0"/>
                      <a:pt x="1560663" y="349366"/>
                      <a:pt x="1560663" y="780331"/>
                    </a:cubicBezTo>
                    <a:close/>
                  </a:path>
                </a:pathLst>
              </a:custGeom>
              <a:solidFill>
                <a:srgbClr val="DFDFDF">
                  <a:alpha val="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84AB068A-D7E0-B60A-5F13-E2B39EEDE2D2}"/>
                  </a:ext>
                </a:extLst>
              </p:cNvPr>
              <p:cNvSpPr/>
              <p:nvPr/>
            </p:nvSpPr>
            <p:spPr>
              <a:xfrm rot="-339000">
                <a:off x="7418673" y="2328303"/>
                <a:ext cx="1555663" cy="1555662"/>
              </a:xfrm>
              <a:custGeom>
                <a:avLst/>
                <a:gdLst>
                  <a:gd name="connsiteX0" fmla="*/ 1555664 w 1555663"/>
                  <a:gd name="connsiteY0" fmla="*/ 777832 h 1555662"/>
                  <a:gd name="connsiteX1" fmla="*/ 777832 w 1555663"/>
                  <a:gd name="connsiteY1" fmla="*/ 1555663 h 1555662"/>
                  <a:gd name="connsiteX2" fmla="*/ 0 w 1555663"/>
                  <a:gd name="connsiteY2" fmla="*/ 777832 h 1555662"/>
                  <a:gd name="connsiteX3" fmla="*/ 777832 w 1555663"/>
                  <a:gd name="connsiteY3" fmla="*/ 0 h 1555662"/>
                  <a:gd name="connsiteX4" fmla="*/ 1555664 w 1555663"/>
                  <a:gd name="connsiteY4" fmla="*/ 777832 h 1555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5663" h="1555662">
                    <a:moveTo>
                      <a:pt x="1555664" y="777832"/>
                    </a:moveTo>
                    <a:cubicBezTo>
                      <a:pt x="1555664" y="1207416"/>
                      <a:pt x="1207417" y="1555663"/>
                      <a:pt x="777832" y="1555663"/>
                    </a:cubicBezTo>
                    <a:cubicBezTo>
                      <a:pt x="348247" y="1555663"/>
                      <a:pt x="0" y="1207416"/>
                      <a:pt x="0" y="777832"/>
                    </a:cubicBezTo>
                    <a:cubicBezTo>
                      <a:pt x="0" y="348247"/>
                      <a:pt x="348247" y="0"/>
                      <a:pt x="777832" y="0"/>
                    </a:cubicBezTo>
                    <a:cubicBezTo>
                      <a:pt x="1207416" y="0"/>
                      <a:pt x="1555664" y="348247"/>
                      <a:pt x="1555664" y="777832"/>
                    </a:cubicBezTo>
                    <a:close/>
                  </a:path>
                </a:pathLst>
              </a:custGeom>
              <a:solidFill>
                <a:srgbClr val="DDDDDD">
                  <a:alpha val="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D7C4EDB0-8271-7A34-4124-04348E507695}"/>
                  </a:ext>
                </a:extLst>
              </p:cNvPr>
              <p:cNvSpPr/>
              <p:nvPr/>
            </p:nvSpPr>
            <p:spPr>
              <a:xfrm rot="-339000">
                <a:off x="7421172" y="2330802"/>
                <a:ext cx="1550665" cy="1550664"/>
              </a:xfrm>
              <a:custGeom>
                <a:avLst/>
                <a:gdLst>
                  <a:gd name="connsiteX0" fmla="*/ 1550665 w 1550665"/>
                  <a:gd name="connsiteY0" fmla="*/ 775332 h 1550664"/>
                  <a:gd name="connsiteX1" fmla="*/ 775333 w 1550665"/>
                  <a:gd name="connsiteY1" fmla="*/ 1550665 h 1550664"/>
                  <a:gd name="connsiteX2" fmla="*/ 0 w 1550665"/>
                  <a:gd name="connsiteY2" fmla="*/ 775332 h 1550664"/>
                  <a:gd name="connsiteX3" fmla="*/ 775333 w 1550665"/>
                  <a:gd name="connsiteY3" fmla="*/ 0 h 1550664"/>
                  <a:gd name="connsiteX4" fmla="*/ 1550665 w 1550665"/>
                  <a:gd name="connsiteY4" fmla="*/ 775332 h 1550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0665" h="1550664">
                    <a:moveTo>
                      <a:pt x="1550665" y="775332"/>
                    </a:moveTo>
                    <a:cubicBezTo>
                      <a:pt x="1550665" y="1203537"/>
                      <a:pt x="1203537" y="1550665"/>
                      <a:pt x="775333" y="1550665"/>
                    </a:cubicBezTo>
                    <a:cubicBezTo>
                      <a:pt x="347128" y="1550665"/>
                      <a:pt x="0" y="1203537"/>
                      <a:pt x="0" y="775332"/>
                    </a:cubicBezTo>
                    <a:cubicBezTo>
                      <a:pt x="0" y="347128"/>
                      <a:pt x="347128" y="0"/>
                      <a:pt x="775333" y="0"/>
                    </a:cubicBezTo>
                    <a:cubicBezTo>
                      <a:pt x="1203537" y="0"/>
                      <a:pt x="1550665" y="347128"/>
                      <a:pt x="1550665" y="775332"/>
                    </a:cubicBezTo>
                    <a:close/>
                  </a:path>
                </a:pathLst>
              </a:custGeom>
              <a:solidFill>
                <a:srgbClr val="DBDBDB">
                  <a:alpha val="1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58E57F4D-056E-F2C1-E4DD-EE454ADB22BD}"/>
                  </a:ext>
                </a:extLst>
              </p:cNvPr>
              <p:cNvSpPr/>
              <p:nvPr/>
            </p:nvSpPr>
            <p:spPr>
              <a:xfrm>
                <a:off x="7424050" y="2333197"/>
                <a:ext cx="1545111" cy="1545110"/>
              </a:xfrm>
              <a:custGeom>
                <a:avLst/>
                <a:gdLst>
                  <a:gd name="connsiteX0" fmla="*/ 1545111 w 1545111"/>
                  <a:gd name="connsiteY0" fmla="*/ 772555 h 1545110"/>
                  <a:gd name="connsiteX1" fmla="*/ 772556 w 1545111"/>
                  <a:gd name="connsiteY1" fmla="*/ 1545110 h 1545110"/>
                  <a:gd name="connsiteX2" fmla="*/ 0 w 1545111"/>
                  <a:gd name="connsiteY2" fmla="*/ 772555 h 1545110"/>
                  <a:gd name="connsiteX3" fmla="*/ 772556 w 1545111"/>
                  <a:gd name="connsiteY3" fmla="*/ 0 h 1545110"/>
                  <a:gd name="connsiteX4" fmla="*/ 1545111 w 1545111"/>
                  <a:gd name="connsiteY4" fmla="*/ 772555 h 1545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5111" h="1545110">
                    <a:moveTo>
                      <a:pt x="1545111" y="772555"/>
                    </a:moveTo>
                    <a:cubicBezTo>
                      <a:pt x="1545111" y="1199226"/>
                      <a:pt x="1199226" y="1545110"/>
                      <a:pt x="772556" y="1545110"/>
                    </a:cubicBezTo>
                    <a:cubicBezTo>
                      <a:pt x="345885" y="1545110"/>
                      <a:pt x="0" y="1199226"/>
                      <a:pt x="0" y="772555"/>
                    </a:cubicBezTo>
                    <a:cubicBezTo>
                      <a:pt x="0" y="345885"/>
                      <a:pt x="345885" y="0"/>
                      <a:pt x="772556" y="0"/>
                    </a:cubicBezTo>
                    <a:cubicBezTo>
                      <a:pt x="1199226" y="0"/>
                      <a:pt x="1545111" y="345885"/>
                      <a:pt x="1545111" y="772555"/>
                    </a:cubicBezTo>
                    <a:close/>
                  </a:path>
                </a:pathLst>
              </a:custGeom>
              <a:solidFill>
                <a:srgbClr val="D9D9D9">
                  <a:alpha val="1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4C325D72-5AF4-331F-52C5-DD3B77432835}"/>
                  </a:ext>
                </a:extLst>
              </p:cNvPr>
              <p:cNvSpPr/>
              <p:nvPr/>
            </p:nvSpPr>
            <p:spPr>
              <a:xfrm rot="-339000">
                <a:off x="7426448" y="2336079"/>
                <a:ext cx="1540112" cy="1540111"/>
              </a:xfrm>
              <a:custGeom>
                <a:avLst/>
                <a:gdLst>
                  <a:gd name="connsiteX0" fmla="*/ 1540113 w 1540112"/>
                  <a:gd name="connsiteY0" fmla="*/ 770056 h 1540111"/>
                  <a:gd name="connsiteX1" fmla="*/ 770056 w 1540112"/>
                  <a:gd name="connsiteY1" fmla="*/ 1540112 h 1540111"/>
                  <a:gd name="connsiteX2" fmla="*/ 0 w 1540112"/>
                  <a:gd name="connsiteY2" fmla="*/ 770056 h 1540111"/>
                  <a:gd name="connsiteX3" fmla="*/ 770056 w 1540112"/>
                  <a:gd name="connsiteY3" fmla="*/ 0 h 1540111"/>
                  <a:gd name="connsiteX4" fmla="*/ 1540113 w 1540112"/>
                  <a:gd name="connsiteY4" fmla="*/ 770056 h 1540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0112" h="1540111">
                    <a:moveTo>
                      <a:pt x="1540113" y="770056"/>
                    </a:moveTo>
                    <a:cubicBezTo>
                      <a:pt x="1540113" y="1195346"/>
                      <a:pt x="1195347" y="1540112"/>
                      <a:pt x="770056" y="1540112"/>
                    </a:cubicBezTo>
                    <a:cubicBezTo>
                      <a:pt x="344766" y="1540112"/>
                      <a:pt x="0" y="1195346"/>
                      <a:pt x="0" y="770056"/>
                    </a:cubicBezTo>
                    <a:cubicBezTo>
                      <a:pt x="0" y="344766"/>
                      <a:pt x="344766" y="0"/>
                      <a:pt x="770056" y="0"/>
                    </a:cubicBezTo>
                    <a:cubicBezTo>
                      <a:pt x="1195347" y="0"/>
                      <a:pt x="1540113" y="344766"/>
                      <a:pt x="1540113" y="770056"/>
                    </a:cubicBezTo>
                    <a:close/>
                  </a:path>
                </a:pathLst>
              </a:custGeom>
              <a:solidFill>
                <a:srgbClr val="D7D7D7">
                  <a:alpha val="1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AF4E7336-2968-91C5-8F58-0B450E5FDB39}"/>
                  </a:ext>
                </a:extLst>
              </p:cNvPr>
              <p:cNvSpPr/>
              <p:nvPr/>
            </p:nvSpPr>
            <p:spPr>
              <a:xfrm>
                <a:off x="7429048" y="2338196"/>
                <a:ext cx="1535114" cy="1535113"/>
              </a:xfrm>
              <a:custGeom>
                <a:avLst/>
                <a:gdLst>
                  <a:gd name="connsiteX0" fmla="*/ 1535114 w 1535114"/>
                  <a:gd name="connsiteY0" fmla="*/ 767557 h 1535113"/>
                  <a:gd name="connsiteX1" fmla="*/ 767557 w 1535114"/>
                  <a:gd name="connsiteY1" fmla="*/ 1535113 h 1535113"/>
                  <a:gd name="connsiteX2" fmla="*/ 0 w 1535114"/>
                  <a:gd name="connsiteY2" fmla="*/ 767557 h 1535113"/>
                  <a:gd name="connsiteX3" fmla="*/ 767557 w 1535114"/>
                  <a:gd name="connsiteY3" fmla="*/ 0 h 1535113"/>
                  <a:gd name="connsiteX4" fmla="*/ 1535114 w 1535114"/>
                  <a:gd name="connsiteY4" fmla="*/ 767557 h 1535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5114" h="1535113">
                    <a:moveTo>
                      <a:pt x="1535114" y="767557"/>
                    </a:moveTo>
                    <a:cubicBezTo>
                      <a:pt x="1535114" y="1191467"/>
                      <a:pt x="1191467" y="1535113"/>
                      <a:pt x="767557" y="1535113"/>
                    </a:cubicBezTo>
                    <a:cubicBezTo>
                      <a:pt x="343647" y="1535113"/>
                      <a:pt x="0" y="1191467"/>
                      <a:pt x="0" y="767557"/>
                    </a:cubicBezTo>
                    <a:cubicBezTo>
                      <a:pt x="0" y="343647"/>
                      <a:pt x="343647" y="0"/>
                      <a:pt x="767557" y="0"/>
                    </a:cubicBezTo>
                    <a:cubicBezTo>
                      <a:pt x="1191467" y="0"/>
                      <a:pt x="1535114" y="343647"/>
                      <a:pt x="1535114" y="767557"/>
                    </a:cubicBezTo>
                    <a:close/>
                  </a:path>
                </a:pathLst>
              </a:custGeom>
              <a:solidFill>
                <a:srgbClr val="D5D5D5">
                  <a:alpha val="1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E77402C-94D3-4FF4-FB5D-7B81845B3D91}"/>
                  </a:ext>
                </a:extLst>
              </p:cNvPr>
              <p:cNvSpPr/>
              <p:nvPr/>
            </p:nvSpPr>
            <p:spPr>
              <a:xfrm>
                <a:off x="7431825" y="2340973"/>
                <a:ext cx="1529560" cy="1529559"/>
              </a:xfrm>
              <a:custGeom>
                <a:avLst/>
                <a:gdLst>
                  <a:gd name="connsiteX0" fmla="*/ 1529560 w 1529560"/>
                  <a:gd name="connsiteY0" fmla="*/ 764780 h 1529559"/>
                  <a:gd name="connsiteX1" fmla="*/ 764780 w 1529560"/>
                  <a:gd name="connsiteY1" fmla="*/ 1529559 h 1529559"/>
                  <a:gd name="connsiteX2" fmla="*/ 0 w 1529560"/>
                  <a:gd name="connsiteY2" fmla="*/ 764780 h 1529559"/>
                  <a:gd name="connsiteX3" fmla="*/ 764780 w 1529560"/>
                  <a:gd name="connsiteY3" fmla="*/ 0 h 1529559"/>
                  <a:gd name="connsiteX4" fmla="*/ 1529560 w 1529560"/>
                  <a:gd name="connsiteY4" fmla="*/ 764780 h 1529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9560" h="1529559">
                    <a:moveTo>
                      <a:pt x="1529560" y="764780"/>
                    </a:moveTo>
                    <a:cubicBezTo>
                      <a:pt x="1529560" y="1187156"/>
                      <a:pt x="1187156" y="1529559"/>
                      <a:pt x="764780" y="1529559"/>
                    </a:cubicBezTo>
                    <a:cubicBezTo>
                      <a:pt x="342403" y="1529559"/>
                      <a:pt x="0" y="1187156"/>
                      <a:pt x="0" y="764780"/>
                    </a:cubicBezTo>
                    <a:cubicBezTo>
                      <a:pt x="0" y="342404"/>
                      <a:pt x="342403" y="0"/>
                      <a:pt x="764780" y="0"/>
                    </a:cubicBezTo>
                    <a:cubicBezTo>
                      <a:pt x="1187156" y="0"/>
                      <a:pt x="1529560" y="342404"/>
                      <a:pt x="1529560" y="764780"/>
                    </a:cubicBezTo>
                    <a:close/>
                  </a:path>
                </a:pathLst>
              </a:custGeom>
              <a:solidFill>
                <a:srgbClr val="D3D3D3">
                  <a:alpha val="1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76E7F42-6435-3837-2877-F730F27FA8DA}"/>
                  </a:ext>
                </a:extLst>
              </p:cNvPr>
              <p:cNvSpPr/>
              <p:nvPr/>
            </p:nvSpPr>
            <p:spPr>
              <a:xfrm rot="-339000">
                <a:off x="7434224" y="2343854"/>
                <a:ext cx="1524561" cy="1524560"/>
              </a:xfrm>
              <a:custGeom>
                <a:avLst/>
                <a:gdLst>
                  <a:gd name="connsiteX0" fmla="*/ 1524562 w 1524561"/>
                  <a:gd name="connsiteY0" fmla="*/ 762281 h 1524560"/>
                  <a:gd name="connsiteX1" fmla="*/ 762281 w 1524561"/>
                  <a:gd name="connsiteY1" fmla="*/ 1524561 h 1524560"/>
                  <a:gd name="connsiteX2" fmla="*/ 0 w 1524561"/>
                  <a:gd name="connsiteY2" fmla="*/ 762281 h 1524560"/>
                  <a:gd name="connsiteX3" fmla="*/ 762281 w 1524561"/>
                  <a:gd name="connsiteY3" fmla="*/ 0 h 1524560"/>
                  <a:gd name="connsiteX4" fmla="*/ 1524562 w 1524561"/>
                  <a:gd name="connsiteY4" fmla="*/ 762281 h 1524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4561" h="1524560">
                    <a:moveTo>
                      <a:pt x="1524562" y="762281"/>
                    </a:moveTo>
                    <a:cubicBezTo>
                      <a:pt x="1524562" y="1183276"/>
                      <a:pt x="1183277" y="1524561"/>
                      <a:pt x="762281" y="1524561"/>
                    </a:cubicBezTo>
                    <a:cubicBezTo>
                      <a:pt x="341285" y="1524561"/>
                      <a:pt x="0" y="1183276"/>
                      <a:pt x="0" y="762281"/>
                    </a:cubicBezTo>
                    <a:cubicBezTo>
                      <a:pt x="0" y="341285"/>
                      <a:pt x="341285" y="0"/>
                      <a:pt x="762281" y="0"/>
                    </a:cubicBezTo>
                    <a:cubicBezTo>
                      <a:pt x="1183277" y="0"/>
                      <a:pt x="1524562" y="341285"/>
                      <a:pt x="1524562" y="762281"/>
                    </a:cubicBezTo>
                    <a:close/>
                  </a:path>
                </a:pathLst>
              </a:custGeom>
              <a:solidFill>
                <a:srgbClr val="D1D1D1">
                  <a:alpha val="1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E7489587-A4DC-4096-FA2A-1A518D84A922}"/>
                  </a:ext>
                </a:extLst>
              </p:cNvPr>
              <p:cNvSpPr/>
              <p:nvPr/>
            </p:nvSpPr>
            <p:spPr>
              <a:xfrm>
                <a:off x="7436824" y="2345971"/>
                <a:ext cx="1519563" cy="1519562"/>
              </a:xfrm>
              <a:custGeom>
                <a:avLst/>
                <a:gdLst>
                  <a:gd name="connsiteX0" fmla="*/ 1519563 w 1519563"/>
                  <a:gd name="connsiteY0" fmla="*/ 759781 h 1519562"/>
                  <a:gd name="connsiteX1" fmla="*/ 759782 w 1519563"/>
                  <a:gd name="connsiteY1" fmla="*/ 1519562 h 1519562"/>
                  <a:gd name="connsiteX2" fmla="*/ 0 w 1519563"/>
                  <a:gd name="connsiteY2" fmla="*/ 759781 h 1519562"/>
                  <a:gd name="connsiteX3" fmla="*/ 759782 w 1519563"/>
                  <a:gd name="connsiteY3" fmla="*/ 0 h 1519562"/>
                  <a:gd name="connsiteX4" fmla="*/ 1519563 w 1519563"/>
                  <a:gd name="connsiteY4" fmla="*/ 759781 h 151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563" h="1519562">
                    <a:moveTo>
                      <a:pt x="1519563" y="759781"/>
                    </a:moveTo>
                    <a:cubicBezTo>
                      <a:pt x="1519563" y="1179397"/>
                      <a:pt x="1179397" y="1519562"/>
                      <a:pt x="759782" y="1519562"/>
                    </a:cubicBezTo>
                    <a:cubicBezTo>
                      <a:pt x="340166" y="1519562"/>
                      <a:pt x="0" y="1179397"/>
                      <a:pt x="0" y="759781"/>
                    </a:cubicBezTo>
                    <a:cubicBezTo>
                      <a:pt x="0" y="340166"/>
                      <a:pt x="340166" y="0"/>
                      <a:pt x="759782" y="0"/>
                    </a:cubicBezTo>
                    <a:cubicBezTo>
                      <a:pt x="1179397" y="0"/>
                      <a:pt x="1519563" y="340166"/>
                      <a:pt x="1519563" y="759781"/>
                    </a:cubicBezTo>
                    <a:close/>
                  </a:path>
                </a:pathLst>
              </a:custGeom>
              <a:solidFill>
                <a:srgbClr val="CFCFCF">
                  <a:alpha val="1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6613B1A5-5C01-3A62-19F2-75C8DE7785FA}"/>
                  </a:ext>
                </a:extLst>
              </p:cNvPr>
              <p:cNvSpPr/>
              <p:nvPr/>
            </p:nvSpPr>
            <p:spPr>
              <a:xfrm>
                <a:off x="7439323" y="2348470"/>
                <a:ext cx="1514564" cy="1514563"/>
              </a:xfrm>
              <a:custGeom>
                <a:avLst/>
                <a:gdLst>
                  <a:gd name="connsiteX0" fmla="*/ 1514565 w 1514564"/>
                  <a:gd name="connsiteY0" fmla="*/ 757282 h 1514563"/>
                  <a:gd name="connsiteX1" fmla="*/ 757282 w 1514564"/>
                  <a:gd name="connsiteY1" fmla="*/ 1514564 h 1514563"/>
                  <a:gd name="connsiteX2" fmla="*/ 0 w 1514564"/>
                  <a:gd name="connsiteY2" fmla="*/ 757282 h 1514563"/>
                  <a:gd name="connsiteX3" fmla="*/ 757282 w 1514564"/>
                  <a:gd name="connsiteY3" fmla="*/ 0 h 1514563"/>
                  <a:gd name="connsiteX4" fmla="*/ 1514565 w 1514564"/>
                  <a:gd name="connsiteY4" fmla="*/ 757282 h 1514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4564" h="1514563">
                    <a:moveTo>
                      <a:pt x="1514565" y="757282"/>
                    </a:moveTo>
                    <a:cubicBezTo>
                      <a:pt x="1514565" y="1175517"/>
                      <a:pt x="1175518" y="1514564"/>
                      <a:pt x="757282" y="1514564"/>
                    </a:cubicBezTo>
                    <a:cubicBezTo>
                      <a:pt x="339047" y="1514564"/>
                      <a:pt x="0" y="1175517"/>
                      <a:pt x="0" y="757282"/>
                    </a:cubicBezTo>
                    <a:cubicBezTo>
                      <a:pt x="0" y="339047"/>
                      <a:pt x="339047" y="0"/>
                      <a:pt x="757282" y="0"/>
                    </a:cubicBezTo>
                    <a:cubicBezTo>
                      <a:pt x="1175518" y="0"/>
                      <a:pt x="1514565" y="339047"/>
                      <a:pt x="1514565" y="757282"/>
                    </a:cubicBezTo>
                    <a:close/>
                  </a:path>
                </a:pathLst>
              </a:custGeom>
              <a:solidFill>
                <a:srgbClr val="CCCCCC">
                  <a:alpha val="1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36B03137-F8EA-E38A-3CB1-8293D8F8FE05}"/>
                  </a:ext>
                </a:extLst>
              </p:cNvPr>
              <p:cNvSpPr/>
              <p:nvPr/>
            </p:nvSpPr>
            <p:spPr>
              <a:xfrm rot="-5155800">
                <a:off x="7442288" y="2351400"/>
                <a:ext cx="1509010" cy="1509009"/>
              </a:xfrm>
              <a:custGeom>
                <a:avLst/>
                <a:gdLst>
                  <a:gd name="connsiteX0" fmla="*/ 1509010 w 1509010"/>
                  <a:gd name="connsiteY0" fmla="*/ 754505 h 1509009"/>
                  <a:gd name="connsiteX1" fmla="*/ 754505 w 1509010"/>
                  <a:gd name="connsiteY1" fmla="*/ 1509010 h 1509009"/>
                  <a:gd name="connsiteX2" fmla="*/ 0 w 1509010"/>
                  <a:gd name="connsiteY2" fmla="*/ 754505 h 1509009"/>
                  <a:gd name="connsiteX3" fmla="*/ 754505 w 1509010"/>
                  <a:gd name="connsiteY3" fmla="*/ 0 h 1509009"/>
                  <a:gd name="connsiteX4" fmla="*/ 1509010 w 1509010"/>
                  <a:gd name="connsiteY4" fmla="*/ 754505 h 1509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9010" h="1509009">
                    <a:moveTo>
                      <a:pt x="1509010" y="754505"/>
                    </a:moveTo>
                    <a:cubicBezTo>
                      <a:pt x="1509010" y="1171206"/>
                      <a:pt x="1171207" y="1509010"/>
                      <a:pt x="754505" y="1509010"/>
                    </a:cubicBezTo>
                    <a:cubicBezTo>
                      <a:pt x="337803" y="1509010"/>
                      <a:pt x="0" y="1171206"/>
                      <a:pt x="0" y="754505"/>
                    </a:cubicBezTo>
                    <a:cubicBezTo>
                      <a:pt x="0" y="337803"/>
                      <a:pt x="337803" y="0"/>
                      <a:pt x="754505" y="0"/>
                    </a:cubicBezTo>
                    <a:cubicBezTo>
                      <a:pt x="1171207" y="0"/>
                      <a:pt x="1509010" y="337803"/>
                      <a:pt x="1509010" y="754505"/>
                    </a:cubicBezTo>
                    <a:close/>
                  </a:path>
                </a:pathLst>
              </a:custGeom>
              <a:solidFill>
                <a:srgbClr val="CACACA">
                  <a:alpha val="1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7AAA4A75-6123-150E-80D8-55F2A4ABDC5F}"/>
                  </a:ext>
                </a:extLst>
              </p:cNvPr>
              <p:cNvSpPr/>
              <p:nvPr/>
            </p:nvSpPr>
            <p:spPr>
              <a:xfrm>
                <a:off x="7444600" y="2353747"/>
                <a:ext cx="1504011" cy="1504010"/>
              </a:xfrm>
              <a:custGeom>
                <a:avLst/>
                <a:gdLst>
                  <a:gd name="connsiteX0" fmla="*/ 1504012 w 1504011"/>
                  <a:gd name="connsiteY0" fmla="*/ 752006 h 1504010"/>
                  <a:gd name="connsiteX1" fmla="*/ 752006 w 1504011"/>
                  <a:gd name="connsiteY1" fmla="*/ 1504011 h 1504010"/>
                  <a:gd name="connsiteX2" fmla="*/ 0 w 1504011"/>
                  <a:gd name="connsiteY2" fmla="*/ 752006 h 1504010"/>
                  <a:gd name="connsiteX3" fmla="*/ 752006 w 1504011"/>
                  <a:gd name="connsiteY3" fmla="*/ 0 h 1504010"/>
                  <a:gd name="connsiteX4" fmla="*/ 1504012 w 1504011"/>
                  <a:gd name="connsiteY4" fmla="*/ 752006 h 1504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04011" h="1504010">
                    <a:moveTo>
                      <a:pt x="1504012" y="752006"/>
                    </a:moveTo>
                    <a:cubicBezTo>
                      <a:pt x="1504012" y="1167327"/>
                      <a:pt x="1167327" y="1504011"/>
                      <a:pt x="752006" y="1504011"/>
                    </a:cubicBezTo>
                    <a:cubicBezTo>
                      <a:pt x="336685" y="1504011"/>
                      <a:pt x="0" y="1167327"/>
                      <a:pt x="0" y="752006"/>
                    </a:cubicBezTo>
                    <a:cubicBezTo>
                      <a:pt x="0" y="336684"/>
                      <a:pt x="336685" y="0"/>
                      <a:pt x="752006" y="0"/>
                    </a:cubicBezTo>
                    <a:cubicBezTo>
                      <a:pt x="1167327" y="0"/>
                      <a:pt x="1504012" y="336684"/>
                      <a:pt x="1504012" y="752006"/>
                    </a:cubicBezTo>
                    <a:close/>
                  </a:path>
                </a:pathLst>
              </a:custGeom>
              <a:solidFill>
                <a:srgbClr val="C8C8C8">
                  <a:alpha val="1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A0635EA1-185F-74DD-2E8E-540FD477B64A}"/>
                  </a:ext>
                </a:extLst>
              </p:cNvPr>
              <p:cNvSpPr/>
              <p:nvPr/>
            </p:nvSpPr>
            <p:spPr>
              <a:xfrm>
                <a:off x="7447099" y="2356246"/>
                <a:ext cx="1499013" cy="1499012"/>
              </a:xfrm>
              <a:custGeom>
                <a:avLst/>
                <a:gdLst>
                  <a:gd name="connsiteX0" fmla="*/ 1499014 w 1499013"/>
                  <a:gd name="connsiteY0" fmla="*/ 749506 h 1499012"/>
                  <a:gd name="connsiteX1" fmla="*/ 749507 w 1499013"/>
                  <a:gd name="connsiteY1" fmla="*/ 1499012 h 1499012"/>
                  <a:gd name="connsiteX2" fmla="*/ 0 w 1499013"/>
                  <a:gd name="connsiteY2" fmla="*/ 749506 h 1499012"/>
                  <a:gd name="connsiteX3" fmla="*/ 749507 w 1499013"/>
                  <a:gd name="connsiteY3" fmla="*/ 0 h 1499012"/>
                  <a:gd name="connsiteX4" fmla="*/ 1499014 w 1499013"/>
                  <a:gd name="connsiteY4" fmla="*/ 749506 h 1499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9013" h="1499012">
                    <a:moveTo>
                      <a:pt x="1499014" y="749506"/>
                    </a:moveTo>
                    <a:cubicBezTo>
                      <a:pt x="1499014" y="1163447"/>
                      <a:pt x="1163448" y="1499012"/>
                      <a:pt x="749507" y="1499012"/>
                    </a:cubicBezTo>
                    <a:cubicBezTo>
                      <a:pt x="335566" y="1499012"/>
                      <a:pt x="0" y="1163447"/>
                      <a:pt x="0" y="749506"/>
                    </a:cubicBezTo>
                    <a:cubicBezTo>
                      <a:pt x="0" y="335565"/>
                      <a:pt x="335566" y="0"/>
                      <a:pt x="749507" y="0"/>
                    </a:cubicBezTo>
                    <a:cubicBezTo>
                      <a:pt x="1163448" y="0"/>
                      <a:pt x="1499014" y="335565"/>
                      <a:pt x="1499014" y="749506"/>
                    </a:cubicBezTo>
                    <a:close/>
                  </a:path>
                </a:pathLst>
              </a:custGeom>
              <a:solidFill>
                <a:srgbClr val="C6C6C6">
                  <a:alpha val="1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F32129FD-03F0-848B-D876-24A5E739CB2E}"/>
                  </a:ext>
                </a:extLst>
              </p:cNvPr>
              <p:cNvSpPr/>
              <p:nvPr/>
            </p:nvSpPr>
            <p:spPr>
              <a:xfrm rot="-5155800">
                <a:off x="7449786" y="2358898"/>
                <a:ext cx="1494014" cy="1494013"/>
              </a:xfrm>
              <a:custGeom>
                <a:avLst/>
                <a:gdLst>
                  <a:gd name="connsiteX0" fmla="*/ 1494015 w 1494014"/>
                  <a:gd name="connsiteY0" fmla="*/ 747007 h 1494013"/>
                  <a:gd name="connsiteX1" fmla="*/ 747007 w 1494014"/>
                  <a:gd name="connsiteY1" fmla="*/ 1494014 h 1494013"/>
                  <a:gd name="connsiteX2" fmla="*/ 0 w 1494014"/>
                  <a:gd name="connsiteY2" fmla="*/ 747007 h 1494013"/>
                  <a:gd name="connsiteX3" fmla="*/ 747007 w 1494014"/>
                  <a:gd name="connsiteY3" fmla="*/ 0 h 1494013"/>
                  <a:gd name="connsiteX4" fmla="*/ 1494015 w 1494014"/>
                  <a:gd name="connsiteY4" fmla="*/ 747007 h 14940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4014" h="1494013">
                    <a:moveTo>
                      <a:pt x="1494015" y="747007"/>
                    </a:moveTo>
                    <a:cubicBezTo>
                      <a:pt x="1494015" y="1159568"/>
                      <a:pt x="1159568" y="1494014"/>
                      <a:pt x="747007" y="1494014"/>
                    </a:cubicBezTo>
                    <a:cubicBezTo>
                      <a:pt x="334446" y="1494014"/>
                      <a:pt x="0" y="1159568"/>
                      <a:pt x="0" y="747007"/>
                    </a:cubicBezTo>
                    <a:cubicBezTo>
                      <a:pt x="0" y="334446"/>
                      <a:pt x="334446" y="0"/>
                      <a:pt x="747007" y="0"/>
                    </a:cubicBezTo>
                    <a:cubicBezTo>
                      <a:pt x="1159568" y="0"/>
                      <a:pt x="1494015" y="334446"/>
                      <a:pt x="1494015" y="747007"/>
                    </a:cubicBezTo>
                    <a:close/>
                  </a:path>
                </a:pathLst>
              </a:custGeom>
              <a:solidFill>
                <a:srgbClr val="C4C4C4">
                  <a:alpha val="1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36B36A3E-8342-7572-7C94-CB8A8E07D260}"/>
                  </a:ext>
                </a:extLst>
              </p:cNvPr>
              <p:cNvSpPr/>
              <p:nvPr/>
            </p:nvSpPr>
            <p:spPr>
              <a:xfrm>
                <a:off x="7452375" y="2361522"/>
                <a:ext cx="1488460" cy="1488459"/>
              </a:xfrm>
              <a:custGeom>
                <a:avLst/>
                <a:gdLst>
                  <a:gd name="connsiteX0" fmla="*/ 1488461 w 1488460"/>
                  <a:gd name="connsiteY0" fmla="*/ 744230 h 1488459"/>
                  <a:gd name="connsiteX1" fmla="*/ 744230 w 1488460"/>
                  <a:gd name="connsiteY1" fmla="*/ 1488460 h 1488459"/>
                  <a:gd name="connsiteX2" fmla="*/ 0 w 1488460"/>
                  <a:gd name="connsiteY2" fmla="*/ 744230 h 1488459"/>
                  <a:gd name="connsiteX3" fmla="*/ 744230 w 1488460"/>
                  <a:gd name="connsiteY3" fmla="*/ 0 h 1488459"/>
                  <a:gd name="connsiteX4" fmla="*/ 1488461 w 1488460"/>
                  <a:gd name="connsiteY4" fmla="*/ 744230 h 1488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8460" h="1488459">
                    <a:moveTo>
                      <a:pt x="1488461" y="744230"/>
                    </a:moveTo>
                    <a:cubicBezTo>
                      <a:pt x="1488461" y="1155257"/>
                      <a:pt x="1155258" y="1488460"/>
                      <a:pt x="744230" y="1488460"/>
                    </a:cubicBezTo>
                    <a:cubicBezTo>
                      <a:pt x="333203" y="1488460"/>
                      <a:pt x="0" y="1155257"/>
                      <a:pt x="0" y="744230"/>
                    </a:cubicBezTo>
                    <a:cubicBezTo>
                      <a:pt x="0" y="333203"/>
                      <a:pt x="333203" y="0"/>
                      <a:pt x="744230" y="0"/>
                    </a:cubicBezTo>
                    <a:cubicBezTo>
                      <a:pt x="1155257" y="0"/>
                      <a:pt x="1488461" y="333203"/>
                      <a:pt x="1488461" y="744230"/>
                    </a:cubicBezTo>
                    <a:close/>
                  </a:path>
                </a:pathLst>
              </a:custGeom>
              <a:solidFill>
                <a:srgbClr val="C2C2C2">
                  <a:alpha val="1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37DEC32E-9CFB-D8AC-D600-CC98D98833F1}"/>
                  </a:ext>
                </a:extLst>
              </p:cNvPr>
              <p:cNvSpPr/>
              <p:nvPr/>
            </p:nvSpPr>
            <p:spPr>
              <a:xfrm>
                <a:off x="7454874" y="2364022"/>
                <a:ext cx="1483462" cy="1483461"/>
              </a:xfrm>
              <a:custGeom>
                <a:avLst/>
                <a:gdLst>
                  <a:gd name="connsiteX0" fmla="*/ 1483463 w 1483462"/>
                  <a:gd name="connsiteY0" fmla="*/ 741731 h 1483461"/>
                  <a:gd name="connsiteX1" fmla="*/ 741731 w 1483462"/>
                  <a:gd name="connsiteY1" fmla="*/ 1483461 h 1483461"/>
                  <a:gd name="connsiteX2" fmla="*/ 0 w 1483462"/>
                  <a:gd name="connsiteY2" fmla="*/ 741731 h 1483461"/>
                  <a:gd name="connsiteX3" fmla="*/ 741731 w 1483462"/>
                  <a:gd name="connsiteY3" fmla="*/ 0 h 1483461"/>
                  <a:gd name="connsiteX4" fmla="*/ 1483463 w 1483462"/>
                  <a:gd name="connsiteY4" fmla="*/ 741731 h 14834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83462" h="1483461">
                    <a:moveTo>
                      <a:pt x="1483463" y="741731"/>
                    </a:moveTo>
                    <a:cubicBezTo>
                      <a:pt x="1483463" y="1151377"/>
                      <a:pt x="1151378" y="1483461"/>
                      <a:pt x="741731" y="1483461"/>
                    </a:cubicBezTo>
                    <a:cubicBezTo>
                      <a:pt x="332085" y="1483461"/>
                      <a:pt x="0" y="1151377"/>
                      <a:pt x="0" y="741731"/>
                    </a:cubicBezTo>
                    <a:cubicBezTo>
                      <a:pt x="0" y="332084"/>
                      <a:pt x="332085" y="0"/>
                      <a:pt x="741731" y="0"/>
                    </a:cubicBezTo>
                    <a:cubicBezTo>
                      <a:pt x="1151378" y="0"/>
                      <a:pt x="1483463" y="332084"/>
                      <a:pt x="1483463" y="741731"/>
                    </a:cubicBezTo>
                    <a:close/>
                  </a:path>
                </a:pathLst>
              </a:custGeom>
              <a:solidFill>
                <a:srgbClr val="C0C0C0">
                  <a:alpha val="1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EC8FFB0E-9674-A5BE-2DBD-5D39931E5D7B}"/>
                  </a:ext>
                </a:extLst>
              </p:cNvPr>
              <p:cNvSpPr/>
              <p:nvPr/>
            </p:nvSpPr>
            <p:spPr>
              <a:xfrm rot="-5155800">
                <a:off x="7457562" y="2366674"/>
                <a:ext cx="1478463" cy="1478462"/>
              </a:xfrm>
              <a:custGeom>
                <a:avLst/>
                <a:gdLst>
                  <a:gd name="connsiteX0" fmla="*/ 1478464 w 1478463"/>
                  <a:gd name="connsiteY0" fmla="*/ 739231 h 1478462"/>
                  <a:gd name="connsiteX1" fmla="*/ 739232 w 1478463"/>
                  <a:gd name="connsiteY1" fmla="*/ 1478463 h 1478462"/>
                  <a:gd name="connsiteX2" fmla="*/ 0 w 1478463"/>
                  <a:gd name="connsiteY2" fmla="*/ 739231 h 1478462"/>
                  <a:gd name="connsiteX3" fmla="*/ 739232 w 1478463"/>
                  <a:gd name="connsiteY3" fmla="*/ 0 h 1478462"/>
                  <a:gd name="connsiteX4" fmla="*/ 1478464 w 1478463"/>
                  <a:gd name="connsiteY4" fmla="*/ 739231 h 1478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8463" h="1478462">
                    <a:moveTo>
                      <a:pt x="1478464" y="739231"/>
                    </a:moveTo>
                    <a:cubicBezTo>
                      <a:pt x="1478464" y="1147498"/>
                      <a:pt x="1147498" y="1478463"/>
                      <a:pt x="739232" y="1478463"/>
                    </a:cubicBezTo>
                    <a:cubicBezTo>
                      <a:pt x="330965" y="1478463"/>
                      <a:pt x="0" y="1147498"/>
                      <a:pt x="0" y="739231"/>
                    </a:cubicBezTo>
                    <a:cubicBezTo>
                      <a:pt x="0" y="330965"/>
                      <a:pt x="330965" y="0"/>
                      <a:pt x="739232" y="0"/>
                    </a:cubicBezTo>
                    <a:cubicBezTo>
                      <a:pt x="1147498" y="0"/>
                      <a:pt x="1478464" y="330965"/>
                      <a:pt x="1478464" y="739231"/>
                    </a:cubicBezTo>
                    <a:close/>
                  </a:path>
                </a:pathLst>
              </a:custGeom>
              <a:solidFill>
                <a:srgbClr val="BEBEBE">
                  <a:alpha val="1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F63AB74A-4BAD-8DA9-1CF9-33031B5F0011}"/>
                  </a:ext>
                </a:extLst>
              </p:cNvPr>
              <p:cNvSpPr/>
              <p:nvPr/>
            </p:nvSpPr>
            <p:spPr>
              <a:xfrm>
                <a:off x="7460151" y="2369298"/>
                <a:ext cx="1472909" cy="1472908"/>
              </a:xfrm>
              <a:custGeom>
                <a:avLst/>
                <a:gdLst>
                  <a:gd name="connsiteX0" fmla="*/ 1472910 w 1472909"/>
                  <a:gd name="connsiteY0" fmla="*/ 736455 h 1472908"/>
                  <a:gd name="connsiteX1" fmla="*/ 736455 w 1472909"/>
                  <a:gd name="connsiteY1" fmla="*/ 1472909 h 1472908"/>
                  <a:gd name="connsiteX2" fmla="*/ 0 w 1472909"/>
                  <a:gd name="connsiteY2" fmla="*/ 736455 h 1472908"/>
                  <a:gd name="connsiteX3" fmla="*/ 736455 w 1472909"/>
                  <a:gd name="connsiteY3" fmla="*/ 0 h 1472908"/>
                  <a:gd name="connsiteX4" fmla="*/ 1472910 w 1472909"/>
                  <a:gd name="connsiteY4" fmla="*/ 736455 h 1472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2909" h="1472908">
                    <a:moveTo>
                      <a:pt x="1472910" y="736455"/>
                    </a:moveTo>
                    <a:cubicBezTo>
                      <a:pt x="1472910" y="1143187"/>
                      <a:pt x="1143188" y="1472909"/>
                      <a:pt x="736455" y="1472909"/>
                    </a:cubicBezTo>
                    <a:cubicBezTo>
                      <a:pt x="329722" y="1472909"/>
                      <a:pt x="0" y="1143187"/>
                      <a:pt x="0" y="736455"/>
                    </a:cubicBezTo>
                    <a:cubicBezTo>
                      <a:pt x="0" y="329722"/>
                      <a:pt x="329722" y="0"/>
                      <a:pt x="736455" y="0"/>
                    </a:cubicBezTo>
                    <a:cubicBezTo>
                      <a:pt x="1143188" y="0"/>
                      <a:pt x="1472910" y="329722"/>
                      <a:pt x="1472910" y="736455"/>
                    </a:cubicBezTo>
                    <a:close/>
                  </a:path>
                </a:pathLst>
              </a:custGeom>
              <a:solidFill>
                <a:srgbClr val="BCBCBC">
                  <a:alpha val="1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310EAB12-5711-B211-F218-99E0B8D882EA}"/>
                  </a:ext>
                </a:extLst>
              </p:cNvPr>
              <p:cNvSpPr/>
              <p:nvPr/>
            </p:nvSpPr>
            <p:spPr>
              <a:xfrm rot="-5244000">
                <a:off x="7462968" y="2371931"/>
                <a:ext cx="1467911" cy="1467910"/>
              </a:xfrm>
              <a:custGeom>
                <a:avLst/>
                <a:gdLst>
                  <a:gd name="connsiteX0" fmla="*/ 1467912 w 1467911"/>
                  <a:gd name="connsiteY0" fmla="*/ 733956 h 1467910"/>
                  <a:gd name="connsiteX1" fmla="*/ 733956 w 1467911"/>
                  <a:gd name="connsiteY1" fmla="*/ 1467911 h 1467910"/>
                  <a:gd name="connsiteX2" fmla="*/ 0 w 1467911"/>
                  <a:gd name="connsiteY2" fmla="*/ 733956 h 1467910"/>
                  <a:gd name="connsiteX3" fmla="*/ 733956 w 1467911"/>
                  <a:gd name="connsiteY3" fmla="*/ 0 h 1467910"/>
                  <a:gd name="connsiteX4" fmla="*/ 1467912 w 1467911"/>
                  <a:gd name="connsiteY4" fmla="*/ 733956 h 1467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7911" h="1467910">
                    <a:moveTo>
                      <a:pt x="1467912" y="733956"/>
                    </a:moveTo>
                    <a:cubicBezTo>
                      <a:pt x="1467912" y="1139308"/>
                      <a:pt x="1139308" y="1467911"/>
                      <a:pt x="733956" y="1467911"/>
                    </a:cubicBezTo>
                    <a:cubicBezTo>
                      <a:pt x="328603" y="1467911"/>
                      <a:pt x="0" y="1139308"/>
                      <a:pt x="0" y="733956"/>
                    </a:cubicBezTo>
                    <a:cubicBezTo>
                      <a:pt x="0" y="328603"/>
                      <a:pt x="328603" y="0"/>
                      <a:pt x="733956" y="0"/>
                    </a:cubicBezTo>
                    <a:cubicBezTo>
                      <a:pt x="1139308" y="0"/>
                      <a:pt x="1467912" y="328603"/>
                      <a:pt x="1467912" y="733956"/>
                    </a:cubicBezTo>
                    <a:close/>
                  </a:path>
                </a:pathLst>
              </a:custGeom>
              <a:solidFill>
                <a:srgbClr val="B9B9B9">
                  <a:alpha val="1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92FFE7F4-4DE2-14B0-631B-003DD9F0F21F}"/>
                  </a:ext>
                </a:extLst>
              </p:cNvPr>
              <p:cNvSpPr/>
              <p:nvPr/>
            </p:nvSpPr>
            <p:spPr>
              <a:xfrm rot="-5155800">
                <a:off x="7465337" y="2374449"/>
                <a:ext cx="1462912" cy="1462911"/>
              </a:xfrm>
              <a:custGeom>
                <a:avLst/>
                <a:gdLst>
                  <a:gd name="connsiteX0" fmla="*/ 1462912 w 1462912"/>
                  <a:gd name="connsiteY0" fmla="*/ 731456 h 1462911"/>
                  <a:gd name="connsiteX1" fmla="*/ 731456 w 1462912"/>
                  <a:gd name="connsiteY1" fmla="*/ 1462912 h 1462911"/>
                  <a:gd name="connsiteX2" fmla="*/ 0 w 1462912"/>
                  <a:gd name="connsiteY2" fmla="*/ 731456 h 1462911"/>
                  <a:gd name="connsiteX3" fmla="*/ 731456 w 1462912"/>
                  <a:gd name="connsiteY3" fmla="*/ 0 h 1462911"/>
                  <a:gd name="connsiteX4" fmla="*/ 1462912 w 1462912"/>
                  <a:gd name="connsiteY4" fmla="*/ 731456 h 1462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2912" h="1462911">
                    <a:moveTo>
                      <a:pt x="1462912" y="731456"/>
                    </a:moveTo>
                    <a:cubicBezTo>
                      <a:pt x="1462912" y="1135428"/>
                      <a:pt x="1135428" y="1462912"/>
                      <a:pt x="731456" y="1462912"/>
                    </a:cubicBezTo>
                    <a:cubicBezTo>
                      <a:pt x="327484" y="1462912"/>
                      <a:pt x="0" y="1135428"/>
                      <a:pt x="0" y="731456"/>
                    </a:cubicBezTo>
                    <a:cubicBezTo>
                      <a:pt x="0" y="327484"/>
                      <a:pt x="327484" y="0"/>
                      <a:pt x="731456" y="0"/>
                    </a:cubicBezTo>
                    <a:cubicBezTo>
                      <a:pt x="1135428" y="0"/>
                      <a:pt x="1462912" y="327484"/>
                      <a:pt x="1462912" y="731456"/>
                    </a:cubicBezTo>
                    <a:close/>
                  </a:path>
                </a:pathLst>
              </a:custGeom>
              <a:solidFill>
                <a:srgbClr val="B7B7B7">
                  <a:alpha val="2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2A705BAF-B116-F5E3-865A-2B08E415B8C0}"/>
                  </a:ext>
                </a:extLst>
              </p:cNvPr>
              <p:cNvSpPr/>
              <p:nvPr/>
            </p:nvSpPr>
            <p:spPr>
              <a:xfrm rot="-5155800">
                <a:off x="7467836" y="2376949"/>
                <a:ext cx="1457913" cy="1457913"/>
              </a:xfrm>
              <a:custGeom>
                <a:avLst/>
                <a:gdLst>
                  <a:gd name="connsiteX0" fmla="*/ 1457914 w 1457913"/>
                  <a:gd name="connsiteY0" fmla="*/ 728957 h 1457913"/>
                  <a:gd name="connsiteX1" fmla="*/ 728957 w 1457913"/>
                  <a:gd name="connsiteY1" fmla="*/ 1457913 h 1457913"/>
                  <a:gd name="connsiteX2" fmla="*/ 0 w 1457913"/>
                  <a:gd name="connsiteY2" fmla="*/ 728957 h 1457913"/>
                  <a:gd name="connsiteX3" fmla="*/ 728957 w 1457913"/>
                  <a:gd name="connsiteY3" fmla="*/ 0 h 1457913"/>
                  <a:gd name="connsiteX4" fmla="*/ 1457914 w 1457913"/>
                  <a:gd name="connsiteY4" fmla="*/ 728957 h 1457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7913" h="1457913">
                    <a:moveTo>
                      <a:pt x="1457914" y="728957"/>
                    </a:moveTo>
                    <a:cubicBezTo>
                      <a:pt x="1457914" y="1131548"/>
                      <a:pt x="1131549" y="1457913"/>
                      <a:pt x="728957" y="1457913"/>
                    </a:cubicBezTo>
                    <a:cubicBezTo>
                      <a:pt x="326365" y="1457913"/>
                      <a:pt x="0" y="1131548"/>
                      <a:pt x="0" y="728957"/>
                    </a:cubicBezTo>
                    <a:cubicBezTo>
                      <a:pt x="0" y="326365"/>
                      <a:pt x="326365" y="0"/>
                      <a:pt x="728957" y="0"/>
                    </a:cubicBezTo>
                    <a:cubicBezTo>
                      <a:pt x="1131549" y="0"/>
                      <a:pt x="1457914" y="326365"/>
                      <a:pt x="1457914" y="728957"/>
                    </a:cubicBezTo>
                    <a:close/>
                  </a:path>
                </a:pathLst>
              </a:custGeom>
              <a:solidFill>
                <a:srgbClr val="B5B5B5">
                  <a:alpha val="2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8D05D669-CD84-03AD-76D3-F3B639AF188E}"/>
                  </a:ext>
                </a:extLst>
              </p:cNvPr>
              <p:cNvSpPr/>
              <p:nvPr/>
            </p:nvSpPr>
            <p:spPr>
              <a:xfrm rot="-5244000">
                <a:off x="7470743" y="2379707"/>
                <a:ext cx="1452360" cy="1452359"/>
              </a:xfrm>
              <a:custGeom>
                <a:avLst/>
                <a:gdLst>
                  <a:gd name="connsiteX0" fmla="*/ 1452361 w 1452360"/>
                  <a:gd name="connsiteY0" fmla="*/ 726180 h 1452359"/>
                  <a:gd name="connsiteX1" fmla="*/ 726180 w 1452360"/>
                  <a:gd name="connsiteY1" fmla="*/ 1452360 h 1452359"/>
                  <a:gd name="connsiteX2" fmla="*/ 0 w 1452360"/>
                  <a:gd name="connsiteY2" fmla="*/ 726180 h 1452359"/>
                  <a:gd name="connsiteX3" fmla="*/ 726180 w 1452360"/>
                  <a:gd name="connsiteY3" fmla="*/ 0 h 1452359"/>
                  <a:gd name="connsiteX4" fmla="*/ 1452361 w 1452360"/>
                  <a:gd name="connsiteY4" fmla="*/ 726180 h 1452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2360" h="1452359">
                    <a:moveTo>
                      <a:pt x="1452361" y="726180"/>
                    </a:moveTo>
                    <a:cubicBezTo>
                      <a:pt x="1452361" y="1127238"/>
                      <a:pt x="1127239" y="1452360"/>
                      <a:pt x="726180" y="1452360"/>
                    </a:cubicBezTo>
                    <a:cubicBezTo>
                      <a:pt x="325122" y="1452360"/>
                      <a:pt x="0" y="1127238"/>
                      <a:pt x="0" y="726180"/>
                    </a:cubicBezTo>
                    <a:cubicBezTo>
                      <a:pt x="0" y="325122"/>
                      <a:pt x="325122" y="0"/>
                      <a:pt x="726180" y="0"/>
                    </a:cubicBezTo>
                    <a:cubicBezTo>
                      <a:pt x="1127239" y="0"/>
                      <a:pt x="1452361" y="325122"/>
                      <a:pt x="1452361" y="726180"/>
                    </a:cubicBezTo>
                    <a:close/>
                  </a:path>
                </a:pathLst>
              </a:custGeom>
              <a:solidFill>
                <a:srgbClr val="B3B3B3">
                  <a:alpha val="2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87AAB709-9821-6111-3FE1-C527B5D895B9}"/>
                  </a:ext>
                </a:extLst>
              </p:cNvPr>
              <p:cNvSpPr/>
              <p:nvPr/>
            </p:nvSpPr>
            <p:spPr>
              <a:xfrm rot="-5155800">
                <a:off x="7473113" y="2382225"/>
                <a:ext cx="1447361" cy="1447360"/>
              </a:xfrm>
              <a:custGeom>
                <a:avLst/>
                <a:gdLst>
                  <a:gd name="connsiteX0" fmla="*/ 1447361 w 1447361"/>
                  <a:gd name="connsiteY0" fmla="*/ 723680 h 1447360"/>
                  <a:gd name="connsiteX1" fmla="*/ 723681 w 1447361"/>
                  <a:gd name="connsiteY1" fmla="*/ 1447361 h 1447360"/>
                  <a:gd name="connsiteX2" fmla="*/ 0 w 1447361"/>
                  <a:gd name="connsiteY2" fmla="*/ 723680 h 1447360"/>
                  <a:gd name="connsiteX3" fmla="*/ 723681 w 1447361"/>
                  <a:gd name="connsiteY3" fmla="*/ 0 h 1447360"/>
                  <a:gd name="connsiteX4" fmla="*/ 1447361 w 1447361"/>
                  <a:gd name="connsiteY4" fmla="*/ 723680 h 1447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7361" h="1447360">
                    <a:moveTo>
                      <a:pt x="1447361" y="723680"/>
                    </a:moveTo>
                    <a:cubicBezTo>
                      <a:pt x="1447361" y="1123358"/>
                      <a:pt x="1123358" y="1447361"/>
                      <a:pt x="723681" y="1447361"/>
                    </a:cubicBezTo>
                    <a:cubicBezTo>
                      <a:pt x="324003" y="1447361"/>
                      <a:pt x="0" y="1123358"/>
                      <a:pt x="0" y="723680"/>
                    </a:cubicBezTo>
                    <a:cubicBezTo>
                      <a:pt x="0" y="324003"/>
                      <a:pt x="324003" y="0"/>
                      <a:pt x="723681" y="0"/>
                    </a:cubicBezTo>
                    <a:cubicBezTo>
                      <a:pt x="1123359" y="0"/>
                      <a:pt x="1447361" y="324003"/>
                      <a:pt x="1447361" y="723680"/>
                    </a:cubicBezTo>
                    <a:close/>
                  </a:path>
                </a:pathLst>
              </a:custGeom>
              <a:solidFill>
                <a:srgbClr val="B1B1B1">
                  <a:alpha val="2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CA5BCC0B-3CC5-AA5E-BC5F-7310F74E1A45}"/>
                  </a:ext>
                </a:extLst>
              </p:cNvPr>
              <p:cNvSpPr/>
              <p:nvPr/>
            </p:nvSpPr>
            <p:spPr>
              <a:xfrm rot="-5155800">
                <a:off x="7475612" y="2384724"/>
                <a:ext cx="1442362" cy="1442361"/>
              </a:xfrm>
              <a:custGeom>
                <a:avLst/>
                <a:gdLst>
                  <a:gd name="connsiteX0" fmla="*/ 1442363 w 1442362"/>
                  <a:gd name="connsiteY0" fmla="*/ 721181 h 1442361"/>
                  <a:gd name="connsiteX1" fmla="*/ 721181 w 1442362"/>
                  <a:gd name="connsiteY1" fmla="*/ 1442362 h 1442361"/>
                  <a:gd name="connsiteX2" fmla="*/ 0 w 1442362"/>
                  <a:gd name="connsiteY2" fmla="*/ 721181 h 1442361"/>
                  <a:gd name="connsiteX3" fmla="*/ 721181 w 1442362"/>
                  <a:gd name="connsiteY3" fmla="*/ 0 h 1442361"/>
                  <a:gd name="connsiteX4" fmla="*/ 1442363 w 1442362"/>
                  <a:gd name="connsiteY4" fmla="*/ 721181 h 1442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42362" h="1442361">
                    <a:moveTo>
                      <a:pt x="1442363" y="721181"/>
                    </a:moveTo>
                    <a:cubicBezTo>
                      <a:pt x="1442363" y="1119478"/>
                      <a:pt x="1119479" y="1442362"/>
                      <a:pt x="721181" y="1442362"/>
                    </a:cubicBezTo>
                    <a:cubicBezTo>
                      <a:pt x="322884" y="1442362"/>
                      <a:pt x="0" y="1119478"/>
                      <a:pt x="0" y="721181"/>
                    </a:cubicBezTo>
                    <a:cubicBezTo>
                      <a:pt x="0" y="322884"/>
                      <a:pt x="322884" y="0"/>
                      <a:pt x="721181" y="0"/>
                    </a:cubicBezTo>
                    <a:cubicBezTo>
                      <a:pt x="1119479" y="0"/>
                      <a:pt x="1442363" y="322884"/>
                      <a:pt x="1442363" y="721181"/>
                    </a:cubicBezTo>
                    <a:close/>
                  </a:path>
                </a:pathLst>
              </a:custGeom>
              <a:solidFill>
                <a:srgbClr val="AFAFAF">
                  <a:alpha val="2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CEAA0794-2F1C-440A-0FEF-3DD4F3B1773B}"/>
                  </a:ext>
                </a:extLst>
              </p:cNvPr>
              <p:cNvSpPr/>
              <p:nvPr/>
            </p:nvSpPr>
            <p:spPr>
              <a:xfrm rot="-5244000">
                <a:off x="7478519" y="2387482"/>
                <a:ext cx="1436809" cy="1436808"/>
              </a:xfrm>
              <a:custGeom>
                <a:avLst/>
                <a:gdLst>
                  <a:gd name="connsiteX0" fmla="*/ 1436810 w 1436809"/>
                  <a:gd name="connsiteY0" fmla="*/ 718404 h 1436808"/>
                  <a:gd name="connsiteX1" fmla="*/ 718405 w 1436809"/>
                  <a:gd name="connsiteY1" fmla="*/ 1436809 h 1436808"/>
                  <a:gd name="connsiteX2" fmla="*/ 0 w 1436809"/>
                  <a:gd name="connsiteY2" fmla="*/ 718404 h 1436808"/>
                  <a:gd name="connsiteX3" fmla="*/ 718405 w 1436809"/>
                  <a:gd name="connsiteY3" fmla="*/ 0 h 1436808"/>
                  <a:gd name="connsiteX4" fmla="*/ 1436810 w 1436809"/>
                  <a:gd name="connsiteY4" fmla="*/ 718404 h 1436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36809" h="1436808">
                    <a:moveTo>
                      <a:pt x="1436810" y="718404"/>
                    </a:moveTo>
                    <a:cubicBezTo>
                      <a:pt x="1436810" y="1115168"/>
                      <a:pt x="1115169" y="1436809"/>
                      <a:pt x="718405" y="1436809"/>
                    </a:cubicBezTo>
                    <a:cubicBezTo>
                      <a:pt x="321641" y="1436809"/>
                      <a:pt x="0" y="1115168"/>
                      <a:pt x="0" y="718404"/>
                    </a:cubicBezTo>
                    <a:cubicBezTo>
                      <a:pt x="0" y="321641"/>
                      <a:pt x="321640" y="0"/>
                      <a:pt x="718405" y="0"/>
                    </a:cubicBezTo>
                    <a:cubicBezTo>
                      <a:pt x="1115169" y="0"/>
                      <a:pt x="1436810" y="321641"/>
                      <a:pt x="1436810" y="718404"/>
                    </a:cubicBezTo>
                    <a:close/>
                  </a:path>
                </a:pathLst>
              </a:custGeom>
              <a:solidFill>
                <a:srgbClr val="ADADAD">
                  <a:alpha val="2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2D4D0938-A8D9-4803-8010-6CD7F2BE9E67}"/>
                  </a:ext>
                </a:extLst>
              </p:cNvPr>
              <p:cNvSpPr/>
              <p:nvPr/>
            </p:nvSpPr>
            <p:spPr>
              <a:xfrm rot="-5155800">
                <a:off x="7480888" y="2390000"/>
                <a:ext cx="1431810" cy="1431809"/>
              </a:xfrm>
              <a:custGeom>
                <a:avLst/>
                <a:gdLst>
                  <a:gd name="connsiteX0" fmla="*/ 1431810 w 1431810"/>
                  <a:gd name="connsiteY0" fmla="*/ 715905 h 1431809"/>
                  <a:gd name="connsiteX1" fmla="*/ 715905 w 1431810"/>
                  <a:gd name="connsiteY1" fmla="*/ 1431810 h 1431809"/>
                  <a:gd name="connsiteX2" fmla="*/ 0 w 1431810"/>
                  <a:gd name="connsiteY2" fmla="*/ 715905 h 1431809"/>
                  <a:gd name="connsiteX3" fmla="*/ 715905 w 1431810"/>
                  <a:gd name="connsiteY3" fmla="*/ 0 h 1431809"/>
                  <a:gd name="connsiteX4" fmla="*/ 1431810 w 1431810"/>
                  <a:gd name="connsiteY4" fmla="*/ 715905 h 1431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31810" h="1431809">
                    <a:moveTo>
                      <a:pt x="1431810" y="715905"/>
                    </a:moveTo>
                    <a:cubicBezTo>
                      <a:pt x="1431810" y="1111288"/>
                      <a:pt x="1111289" y="1431810"/>
                      <a:pt x="715905" y="1431810"/>
                    </a:cubicBezTo>
                    <a:cubicBezTo>
                      <a:pt x="320522" y="1431810"/>
                      <a:pt x="0" y="1111288"/>
                      <a:pt x="0" y="715905"/>
                    </a:cubicBezTo>
                    <a:cubicBezTo>
                      <a:pt x="0" y="320522"/>
                      <a:pt x="320522" y="0"/>
                      <a:pt x="715905" y="0"/>
                    </a:cubicBezTo>
                    <a:cubicBezTo>
                      <a:pt x="1111289" y="0"/>
                      <a:pt x="1431810" y="320522"/>
                      <a:pt x="1431810" y="715905"/>
                    </a:cubicBezTo>
                    <a:close/>
                  </a:path>
                </a:pathLst>
              </a:custGeom>
              <a:solidFill>
                <a:srgbClr val="ABABAB">
                  <a:alpha val="2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C81712B0-D343-CB24-AFB9-E1CFA248D723}"/>
                  </a:ext>
                </a:extLst>
              </p:cNvPr>
              <p:cNvSpPr/>
              <p:nvPr/>
            </p:nvSpPr>
            <p:spPr>
              <a:xfrm rot="-5061000">
                <a:off x="7482980" y="2392133"/>
                <a:ext cx="1426812" cy="1426811"/>
              </a:xfrm>
              <a:custGeom>
                <a:avLst/>
                <a:gdLst>
                  <a:gd name="connsiteX0" fmla="*/ 1426812 w 1426812"/>
                  <a:gd name="connsiteY0" fmla="*/ 713406 h 1426811"/>
                  <a:gd name="connsiteX1" fmla="*/ 713406 w 1426812"/>
                  <a:gd name="connsiteY1" fmla="*/ 1426811 h 1426811"/>
                  <a:gd name="connsiteX2" fmla="*/ 0 w 1426812"/>
                  <a:gd name="connsiteY2" fmla="*/ 713406 h 1426811"/>
                  <a:gd name="connsiteX3" fmla="*/ 713406 w 1426812"/>
                  <a:gd name="connsiteY3" fmla="*/ 0 h 1426811"/>
                  <a:gd name="connsiteX4" fmla="*/ 1426812 w 1426812"/>
                  <a:gd name="connsiteY4" fmla="*/ 713406 h 14268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6812" h="1426811">
                    <a:moveTo>
                      <a:pt x="1426812" y="713406"/>
                    </a:moveTo>
                    <a:cubicBezTo>
                      <a:pt x="1426812" y="1107409"/>
                      <a:pt x="1107410" y="1426811"/>
                      <a:pt x="713406" y="1426811"/>
                    </a:cubicBezTo>
                    <a:cubicBezTo>
                      <a:pt x="319403" y="1426811"/>
                      <a:pt x="0" y="1107409"/>
                      <a:pt x="0" y="713406"/>
                    </a:cubicBezTo>
                    <a:cubicBezTo>
                      <a:pt x="0" y="319403"/>
                      <a:pt x="319403" y="0"/>
                      <a:pt x="713406" y="0"/>
                    </a:cubicBezTo>
                    <a:cubicBezTo>
                      <a:pt x="1107410" y="0"/>
                      <a:pt x="1426812" y="319403"/>
                      <a:pt x="1426812" y="713406"/>
                    </a:cubicBezTo>
                    <a:close/>
                  </a:path>
                </a:pathLst>
              </a:custGeom>
              <a:solidFill>
                <a:srgbClr val="A9A9A9">
                  <a:alpha val="2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DF56A683-EC0F-EEE9-DEFF-4DDA0CFBFA85}"/>
                  </a:ext>
                </a:extLst>
              </p:cNvPr>
              <p:cNvSpPr/>
              <p:nvPr/>
            </p:nvSpPr>
            <p:spPr>
              <a:xfrm rot="-5061000">
                <a:off x="7485480" y="2394632"/>
                <a:ext cx="1421813" cy="1421812"/>
              </a:xfrm>
              <a:custGeom>
                <a:avLst/>
                <a:gdLst>
                  <a:gd name="connsiteX0" fmla="*/ 1421814 w 1421813"/>
                  <a:gd name="connsiteY0" fmla="*/ 710906 h 1421812"/>
                  <a:gd name="connsiteX1" fmla="*/ 710907 w 1421813"/>
                  <a:gd name="connsiteY1" fmla="*/ 1421813 h 1421812"/>
                  <a:gd name="connsiteX2" fmla="*/ 0 w 1421813"/>
                  <a:gd name="connsiteY2" fmla="*/ 710906 h 1421812"/>
                  <a:gd name="connsiteX3" fmla="*/ 710907 w 1421813"/>
                  <a:gd name="connsiteY3" fmla="*/ 0 h 1421812"/>
                  <a:gd name="connsiteX4" fmla="*/ 1421814 w 1421813"/>
                  <a:gd name="connsiteY4" fmla="*/ 710906 h 14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1813" h="1421812">
                    <a:moveTo>
                      <a:pt x="1421814" y="710906"/>
                    </a:moveTo>
                    <a:cubicBezTo>
                      <a:pt x="1421814" y="1103529"/>
                      <a:pt x="1103530" y="1421813"/>
                      <a:pt x="710907" y="1421813"/>
                    </a:cubicBezTo>
                    <a:cubicBezTo>
                      <a:pt x="318284" y="1421813"/>
                      <a:pt x="0" y="1103529"/>
                      <a:pt x="0" y="710906"/>
                    </a:cubicBezTo>
                    <a:cubicBezTo>
                      <a:pt x="0" y="318284"/>
                      <a:pt x="318284" y="0"/>
                      <a:pt x="710907" y="0"/>
                    </a:cubicBezTo>
                    <a:cubicBezTo>
                      <a:pt x="1103530" y="0"/>
                      <a:pt x="1421814" y="318284"/>
                      <a:pt x="1421814" y="710906"/>
                    </a:cubicBezTo>
                    <a:close/>
                  </a:path>
                </a:pathLst>
              </a:custGeom>
              <a:solidFill>
                <a:srgbClr val="A6A6A6">
                  <a:alpha val="2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FC5423F2-BC82-938E-6888-CA4D34AFA090}"/>
                  </a:ext>
                </a:extLst>
              </p:cNvPr>
              <p:cNvSpPr/>
              <p:nvPr/>
            </p:nvSpPr>
            <p:spPr>
              <a:xfrm rot="-5155800">
                <a:off x="7488664" y="2397776"/>
                <a:ext cx="1416259" cy="1416258"/>
              </a:xfrm>
              <a:custGeom>
                <a:avLst/>
                <a:gdLst>
                  <a:gd name="connsiteX0" fmla="*/ 1416259 w 1416259"/>
                  <a:gd name="connsiteY0" fmla="*/ 708129 h 1416258"/>
                  <a:gd name="connsiteX1" fmla="*/ 708130 w 1416259"/>
                  <a:gd name="connsiteY1" fmla="*/ 1416259 h 1416258"/>
                  <a:gd name="connsiteX2" fmla="*/ 0 w 1416259"/>
                  <a:gd name="connsiteY2" fmla="*/ 708129 h 1416258"/>
                  <a:gd name="connsiteX3" fmla="*/ 708130 w 1416259"/>
                  <a:gd name="connsiteY3" fmla="*/ 0 h 1416258"/>
                  <a:gd name="connsiteX4" fmla="*/ 1416259 w 1416259"/>
                  <a:gd name="connsiteY4" fmla="*/ 708129 h 1416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6259" h="1416258">
                    <a:moveTo>
                      <a:pt x="1416259" y="708129"/>
                    </a:moveTo>
                    <a:cubicBezTo>
                      <a:pt x="1416259" y="1099218"/>
                      <a:pt x="1099219" y="1416259"/>
                      <a:pt x="708130" y="1416259"/>
                    </a:cubicBezTo>
                    <a:cubicBezTo>
                      <a:pt x="317040" y="1416259"/>
                      <a:pt x="0" y="1099218"/>
                      <a:pt x="0" y="708129"/>
                    </a:cubicBezTo>
                    <a:cubicBezTo>
                      <a:pt x="0" y="317040"/>
                      <a:pt x="317040" y="0"/>
                      <a:pt x="708130" y="0"/>
                    </a:cubicBezTo>
                    <a:cubicBezTo>
                      <a:pt x="1099219" y="0"/>
                      <a:pt x="1416259" y="317040"/>
                      <a:pt x="1416259" y="708129"/>
                    </a:cubicBezTo>
                    <a:close/>
                  </a:path>
                </a:pathLst>
              </a:custGeom>
              <a:solidFill>
                <a:srgbClr val="A4A4A4">
                  <a:alpha val="2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40742B99-2B91-C1F2-7E8C-949276F53BD3}"/>
                  </a:ext>
                </a:extLst>
              </p:cNvPr>
              <p:cNvSpPr/>
              <p:nvPr/>
            </p:nvSpPr>
            <p:spPr>
              <a:xfrm rot="-5061000">
                <a:off x="7490756" y="2399908"/>
                <a:ext cx="1411261" cy="1411260"/>
              </a:xfrm>
              <a:custGeom>
                <a:avLst/>
                <a:gdLst>
                  <a:gd name="connsiteX0" fmla="*/ 1411261 w 1411261"/>
                  <a:gd name="connsiteY0" fmla="*/ 705630 h 1411260"/>
                  <a:gd name="connsiteX1" fmla="*/ 705631 w 1411261"/>
                  <a:gd name="connsiteY1" fmla="*/ 1411260 h 1411260"/>
                  <a:gd name="connsiteX2" fmla="*/ 0 w 1411261"/>
                  <a:gd name="connsiteY2" fmla="*/ 705630 h 1411260"/>
                  <a:gd name="connsiteX3" fmla="*/ 705631 w 1411261"/>
                  <a:gd name="connsiteY3" fmla="*/ 0 h 1411260"/>
                  <a:gd name="connsiteX4" fmla="*/ 1411261 w 1411261"/>
                  <a:gd name="connsiteY4" fmla="*/ 705630 h 1411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1261" h="1411260">
                    <a:moveTo>
                      <a:pt x="1411261" y="705630"/>
                    </a:moveTo>
                    <a:cubicBezTo>
                      <a:pt x="1411261" y="1095339"/>
                      <a:pt x="1095339" y="1411260"/>
                      <a:pt x="705631" y="1411260"/>
                    </a:cubicBezTo>
                    <a:cubicBezTo>
                      <a:pt x="315922" y="1411260"/>
                      <a:pt x="0" y="1095339"/>
                      <a:pt x="0" y="705630"/>
                    </a:cubicBezTo>
                    <a:cubicBezTo>
                      <a:pt x="0" y="315921"/>
                      <a:pt x="315921" y="0"/>
                      <a:pt x="705631" y="0"/>
                    </a:cubicBezTo>
                    <a:cubicBezTo>
                      <a:pt x="1095339" y="0"/>
                      <a:pt x="1411261" y="315921"/>
                      <a:pt x="1411261" y="705630"/>
                    </a:cubicBezTo>
                    <a:close/>
                  </a:path>
                </a:pathLst>
              </a:custGeom>
              <a:solidFill>
                <a:srgbClr val="A2A2A2">
                  <a:alpha val="2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3A63E040-10C1-5EBC-316C-9D3730475AED}"/>
                  </a:ext>
                </a:extLst>
              </p:cNvPr>
              <p:cNvSpPr/>
              <p:nvPr/>
            </p:nvSpPr>
            <p:spPr>
              <a:xfrm rot="-5061000">
                <a:off x="7493255" y="2402407"/>
                <a:ext cx="1406262" cy="1406261"/>
              </a:xfrm>
              <a:custGeom>
                <a:avLst/>
                <a:gdLst>
                  <a:gd name="connsiteX0" fmla="*/ 1406263 w 1406262"/>
                  <a:gd name="connsiteY0" fmla="*/ 703131 h 1406261"/>
                  <a:gd name="connsiteX1" fmla="*/ 703131 w 1406262"/>
                  <a:gd name="connsiteY1" fmla="*/ 1406262 h 1406261"/>
                  <a:gd name="connsiteX2" fmla="*/ 0 w 1406262"/>
                  <a:gd name="connsiteY2" fmla="*/ 703131 h 1406261"/>
                  <a:gd name="connsiteX3" fmla="*/ 703131 w 1406262"/>
                  <a:gd name="connsiteY3" fmla="*/ 0 h 1406261"/>
                  <a:gd name="connsiteX4" fmla="*/ 1406263 w 1406262"/>
                  <a:gd name="connsiteY4" fmla="*/ 703131 h 1406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6262" h="1406261">
                    <a:moveTo>
                      <a:pt x="1406263" y="703131"/>
                    </a:moveTo>
                    <a:cubicBezTo>
                      <a:pt x="1406263" y="1091459"/>
                      <a:pt x="1091460" y="1406262"/>
                      <a:pt x="703131" y="1406262"/>
                    </a:cubicBezTo>
                    <a:cubicBezTo>
                      <a:pt x="314803" y="1406262"/>
                      <a:pt x="0" y="1091459"/>
                      <a:pt x="0" y="703131"/>
                    </a:cubicBezTo>
                    <a:cubicBezTo>
                      <a:pt x="0" y="314803"/>
                      <a:pt x="314803" y="0"/>
                      <a:pt x="703131" y="0"/>
                    </a:cubicBezTo>
                    <a:cubicBezTo>
                      <a:pt x="1091460" y="0"/>
                      <a:pt x="1406263" y="314803"/>
                      <a:pt x="1406263" y="703131"/>
                    </a:cubicBezTo>
                    <a:close/>
                  </a:path>
                </a:pathLst>
              </a:custGeom>
              <a:solidFill>
                <a:srgbClr val="A0A0A0">
                  <a:alpha val="2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943271F2-6001-D7DB-9320-4C5EFC842B64}"/>
                  </a:ext>
                </a:extLst>
              </p:cNvPr>
              <p:cNvSpPr/>
              <p:nvPr/>
            </p:nvSpPr>
            <p:spPr>
              <a:xfrm rot="-5244000">
                <a:off x="7496291" y="2405255"/>
                <a:ext cx="1401264" cy="1401263"/>
              </a:xfrm>
              <a:custGeom>
                <a:avLst/>
                <a:gdLst>
                  <a:gd name="connsiteX0" fmla="*/ 1401264 w 1401264"/>
                  <a:gd name="connsiteY0" fmla="*/ 700632 h 1401263"/>
                  <a:gd name="connsiteX1" fmla="*/ 700632 w 1401264"/>
                  <a:gd name="connsiteY1" fmla="*/ 1401264 h 1401263"/>
                  <a:gd name="connsiteX2" fmla="*/ 0 w 1401264"/>
                  <a:gd name="connsiteY2" fmla="*/ 700632 h 1401263"/>
                  <a:gd name="connsiteX3" fmla="*/ 700632 w 1401264"/>
                  <a:gd name="connsiteY3" fmla="*/ 0 h 1401263"/>
                  <a:gd name="connsiteX4" fmla="*/ 1401264 w 1401264"/>
                  <a:gd name="connsiteY4" fmla="*/ 700632 h 1401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1264" h="1401263">
                    <a:moveTo>
                      <a:pt x="1401264" y="700632"/>
                    </a:moveTo>
                    <a:cubicBezTo>
                      <a:pt x="1401264" y="1087580"/>
                      <a:pt x="1087581" y="1401264"/>
                      <a:pt x="700632" y="1401264"/>
                    </a:cubicBezTo>
                    <a:cubicBezTo>
                      <a:pt x="313684" y="1401264"/>
                      <a:pt x="0" y="1087580"/>
                      <a:pt x="0" y="700632"/>
                    </a:cubicBezTo>
                    <a:cubicBezTo>
                      <a:pt x="0" y="313684"/>
                      <a:pt x="313683" y="0"/>
                      <a:pt x="700632" y="0"/>
                    </a:cubicBezTo>
                    <a:cubicBezTo>
                      <a:pt x="1087581" y="0"/>
                      <a:pt x="1401264" y="313683"/>
                      <a:pt x="1401264" y="700632"/>
                    </a:cubicBezTo>
                    <a:close/>
                  </a:path>
                </a:pathLst>
              </a:custGeom>
              <a:solidFill>
                <a:srgbClr val="9E9E9E">
                  <a:alpha val="2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AC7D7F18-F7A4-5B68-EAB4-CDC6AF941452}"/>
                  </a:ext>
                </a:extLst>
              </p:cNvPr>
              <p:cNvSpPr/>
              <p:nvPr/>
            </p:nvSpPr>
            <p:spPr>
              <a:xfrm rot="-5061000">
                <a:off x="7498531" y="2407684"/>
                <a:ext cx="1395709" cy="1395709"/>
              </a:xfrm>
              <a:custGeom>
                <a:avLst/>
                <a:gdLst>
                  <a:gd name="connsiteX0" fmla="*/ 1395710 w 1395709"/>
                  <a:gd name="connsiteY0" fmla="*/ 697855 h 1395709"/>
                  <a:gd name="connsiteX1" fmla="*/ 697855 w 1395709"/>
                  <a:gd name="connsiteY1" fmla="*/ 1395709 h 1395709"/>
                  <a:gd name="connsiteX2" fmla="*/ 0 w 1395709"/>
                  <a:gd name="connsiteY2" fmla="*/ 697855 h 1395709"/>
                  <a:gd name="connsiteX3" fmla="*/ 697855 w 1395709"/>
                  <a:gd name="connsiteY3" fmla="*/ 0 h 1395709"/>
                  <a:gd name="connsiteX4" fmla="*/ 1395710 w 1395709"/>
                  <a:gd name="connsiteY4" fmla="*/ 697855 h 1395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5709" h="1395709">
                    <a:moveTo>
                      <a:pt x="1395710" y="697855"/>
                    </a:moveTo>
                    <a:cubicBezTo>
                      <a:pt x="1395710" y="1083269"/>
                      <a:pt x="1083270" y="1395709"/>
                      <a:pt x="697855" y="1395709"/>
                    </a:cubicBezTo>
                    <a:cubicBezTo>
                      <a:pt x="312441" y="1395709"/>
                      <a:pt x="0" y="1083269"/>
                      <a:pt x="0" y="697855"/>
                    </a:cubicBezTo>
                    <a:cubicBezTo>
                      <a:pt x="0" y="312440"/>
                      <a:pt x="312441" y="0"/>
                      <a:pt x="697855" y="0"/>
                    </a:cubicBezTo>
                    <a:cubicBezTo>
                      <a:pt x="1083270" y="0"/>
                      <a:pt x="1395710" y="312440"/>
                      <a:pt x="1395710" y="697855"/>
                    </a:cubicBezTo>
                    <a:close/>
                  </a:path>
                </a:pathLst>
              </a:custGeom>
              <a:solidFill>
                <a:srgbClr val="9C9C9C">
                  <a:alpha val="2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DD4A748C-134A-C679-201E-AC1571672742}"/>
                  </a:ext>
                </a:extLst>
              </p:cNvPr>
              <p:cNvSpPr/>
              <p:nvPr/>
            </p:nvSpPr>
            <p:spPr>
              <a:xfrm rot="-5061000">
                <a:off x="7501031" y="2410183"/>
                <a:ext cx="1390711" cy="1390710"/>
              </a:xfrm>
              <a:custGeom>
                <a:avLst/>
                <a:gdLst>
                  <a:gd name="connsiteX0" fmla="*/ 1390711 w 1390711"/>
                  <a:gd name="connsiteY0" fmla="*/ 695355 h 1390710"/>
                  <a:gd name="connsiteX1" fmla="*/ 695355 w 1390711"/>
                  <a:gd name="connsiteY1" fmla="*/ 1390711 h 1390710"/>
                  <a:gd name="connsiteX2" fmla="*/ 0 w 1390711"/>
                  <a:gd name="connsiteY2" fmla="*/ 695355 h 1390710"/>
                  <a:gd name="connsiteX3" fmla="*/ 695355 w 1390711"/>
                  <a:gd name="connsiteY3" fmla="*/ 0 h 1390710"/>
                  <a:gd name="connsiteX4" fmla="*/ 1390711 w 1390711"/>
                  <a:gd name="connsiteY4" fmla="*/ 695355 h 1390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0711" h="1390710">
                    <a:moveTo>
                      <a:pt x="1390711" y="695355"/>
                    </a:moveTo>
                    <a:cubicBezTo>
                      <a:pt x="1390711" y="1079389"/>
                      <a:pt x="1079390" y="1390711"/>
                      <a:pt x="695355" y="1390711"/>
                    </a:cubicBezTo>
                    <a:cubicBezTo>
                      <a:pt x="311321" y="1390711"/>
                      <a:pt x="0" y="1079389"/>
                      <a:pt x="0" y="695355"/>
                    </a:cubicBezTo>
                    <a:cubicBezTo>
                      <a:pt x="0" y="311321"/>
                      <a:pt x="311321" y="0"/>
                      <a:pt x="695355" y="0"/>
                    </a:cubicBezTo>
                    <a:cubicBezTo>
                      <a:pt x="1079390" y="0"/>
                      <a:pt x="1390711" y="311321"/>
                      <a:pt x="1390711" y="695355"/>
                    </a:cubicBezTo>
                    <a:close/>
                  </a:path>
                </a:pathLst>
              </a:custGeom>
              <a:solidFill>
                <a:srgbClr val="9A9A9A">
                  <a:alpha val="2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9436B8F3-72E4-6801-E73B-25B94CF631AB}"/>
                  </a:ext>
                </a:extLst>
              </p:cNvPr>
              <p:cNvSpPr/>
              <p:nvPr/>
            </p:nvSpPr>
            <p:spPr>
              <a:xfrm rot="-5155800">
                <a:off x="7503937" y="2413049"/>
                <a:ext cx="1385712" cy="1385711"/>
              </a:xfrm>
              <a:custGeom>
                <a:avLst/>
                <a:gdLst>
                  <a:gd name="connsiteX0" fmla="*/ 1385712 w 1385712"/>
                  <a:gd name="connsiteY0" fmla="*/ 692856 h 1385711"/>
                  <a:gd name="connsiteX1" fmla="*/ 692856 w 1385712"/>
                  <a:gd name="connsiteY1" fmla="*/ 1385712 h 1385711"/>
                  <a:gd name="connsiteX2" fmla="*/ 0 w 1385712"/>
                  <a:gd name="connsiteY2" fmla="*/ 692856 h 1385711"/>
                  <a:gd name="connsiteX3" fmla="*/ 692856 w 1385712"/>
                  <a:gd name="connsiteY3" fmla="*/ 0 h 1385711"/>
                  <a:gd name="connsiteX4" fmla="*/ 1385712 w 1385712"/>
                  <a:gd name="connsiteY4" fmla="*/ 692856 h 1385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5712" h="1385711">
                    <a:moveTo>
                      <a:pt x="1385712" y="692856"/>
                    </a:moveTo>
                    <a:cubicBezTo>
                      <a:pt x="1385712" y="1075510"/>
                      <a:pt x="1075510" y="1385712"/>
                      <a:pt x="692856" y="1385712"/>
                    </a:cubicBezTo>
                    <a:cubicBezTo>
                      <a:pt x="310202" y="1385712"/>
                      <a:pt x="0" y="1075510"/>
                      <a:pt x="0" y="692856"/>
                    </a:cubicBezTo>
                    <a:cubicBezTo>
                      <a:pt x="0" y="310202"/>
                      <a:pt x="310202" y="0"/>
                      <a:pt x="692856" y="0"/>
                    </a:cubicBezTo>
                    <a:cubicBezTo>
                      <a:pt x="1075510" y="0"/>
                      <a:pt x="1385712" y="310202"/>
                      <a:pt x="1385712" y="692856"/>
                    </a:cubicBezTo>
                    <a:close/>
                  </a:path>
                </a:pathLst>
              </a:custGeom>
              <a:solidFill>
                <a:srgbClr val="989898">
                  <a:alpha val="2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94F4E39C-158F-331A-56CA-E9E7C0070502}"/>
                  </a:ext>
                </a:extLst>
              </p:cNvPr>
              <p:cNvSpPr/>
              <p:nvPr/>
            </p:nvSpPr>
            <p:spPr>
              <a:xfrm rot="-5061000">
                <a:off x="7506307" y="2415459"/>
                <a:ext cx="1380158" cy="1380157"/>
              </a:xfrm>
              <a:custGeom>
                <a:avLst/>
                <a:gdLst>
                  <a:gd name="connsiteX0" fmla="*/ 1380159 w 1380158"/>
                  <a:gd name="connsiteY0" fmla="*/ 690079 h 1380157"/>
                  <a:gd name="connsiteX1" fmla="*/ 690080 w 1380158"/>
                  <a:gd name="connsiteY1" fmla="*/ 1380158 h 1380157"/>
                  <a:gd name="connsiteX2" fmla="*/ 0 w 1380158"/>
                  <a:gd name="connsiteY2" fmla="*/ 690079 h 1380157"/>
                  <a:gd name="connsiteX3" fmla="*/ 690080 w 1380158"/>
                  <a:gd name="connsiteY3" fmla="*/ 0 h 1380157"/>
                  <a:gd name="connsiteX4" fmla="*/ 1380159 w 1380158"/>
                  <a:gd name="connsiteY4" fmla="*/ 690079 h 1380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0158" h="1380157">
                    <a:moveTo>
                      <a:pt x="1380159" y="690079"/>
                    </a:moveTo>
                    <a:cubicBezTo>
                      <a:pt x="1380159" y="1071199"/>
                      <a:pt x="1071200" y="1380158"/>
                      <a:pt x="690080" y="1380158"/>
                    </a:cubicBezTo>
                    <a:cubicBezTo>
                      <a:pt x="308959" y="1380158"/>
                      <a:pt x="0" y="1071199"/>
                      <a:pt x="0" y="690079"/>
                    </a:cubicBezTo>
                    <a:cubicBezTo>
                      <a:pt x="0" y="308959"/>
                      <a:pt x="308959" y="0"/>
                      <a:pt x="690080" y="0"/>
                    </a:cubicBezTo>
                    <a:cubicBezTo>
                      <a:pt x="1071200" y="0"/>
                      <a:pt x="1380159" y="308959"/>
                      <a:pt x="1380159" y="690079"/>
                    </a:cubicBezTo>
                    <a:close/>
                  </a:path>
                </a:pathLst>
              </a:custGeom>
              <a:solidFill>
                <a:srgbClr val="969696">
                  <a:alpha val="2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921C8DC9-F3CB-9BBB-AB0F-DFC06D6EA67E}"/>
                  </a:ext>
                </a:extLst>
              </p:cNvPr>
              <p:cNvSpPr/>
              <p:nvPr/>
            </p:nvSpPr>
            <p:spPr>
              <a:xfrm rot="-5061000">
                <a:off x="7508806" y="2417958"/>
                <a:ext cx="1375160" cy="1375159"/>
              </a:xfrm>
              <a:custGeom>
                <a:avLst/>
                <a:gdLst>
                  <a:gd name="connsiteX0" fmla="*/ 1375160 w 1375160"/>
                  <a:gd name="connsiteY0" fmla="*/ 687580 h 1375159"/>
                  <a:gd name="connsiteX1" fmla="*/ 687580 w 1375160"/>
                  <a:gd name="connsiteY1" fmla="*/ 1375160 h 1375159"/>
                  <a:gd name="connsiteX2" fmla="*/ 0 w 1375160"/>
                  <a:gd name="connsiteY2" fmla="*/ 687580 h 1375159"/>
                  <a:gd name="connsiteX3" fmla="*/ 687580 w 1375160"/>
                  <a:gd name="connsiteY3" fmla="*/ 0 h 1375159"/>
                  <a:gd name="connsiteX4" fmla="*/ 1375160 w 1375160"/>
                  <a:gd name="connsiteY4" fmla="*/ 687580 h 1375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5160" h="1375159">
                    <a:moveTo>
                      <a:pt x="1375160" y="687580"/>
                    </a:moveTo>
                    <a:cubicBezTo>
                      <a:pt x="1375160" y="1067320"/>
                      <a:pt x="1067320" y="1375160"/>
                      <a:pt x="687580" y="1375160"/>
                    </a:cubicBezTo>
                    <a:cubicBezTo>
                      <a:pt x="307840" y="1375160"/>
                      <a:pt x="0" y="1067320"/>
                      <a:pt x="0" y="687580"/>
                    </a:cubicBezTo>
                    <a:cubicBezTo>
                      <a:pt x="0" y="307840"/>
                      <a:pt x="307840" y="0"/>
                      <a:pt x="687580" y="0"/>
                    </a:cubicBezTo>
                    <a:cubicBezTo>
                      <a:pt x="1067320" y="0"/>
                      <a:pt x="1375160" y="307840"/>
                      <a:pt x="1375160" y="687580"/>
                    </a:cubicBezTo>
                    <a:close/>
                  </a:path>
                </a:pathLst>
              </a:custGeom>
              <a:solidFill>
                <a:srgbClr val="949494">
                  <a:alpha val="3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D6E7157E-833E-47EF-03E7-F3C37BB2DA07}"/>
                  </a:ext>
                </a:extLst>
              </p:cNvPr>
              <p:cNvSpPr/>
              <p:nvPr/>
            </p:nvSpPr>
            <p:spPr>
              <a:xfrm rot="-5010001">
                <a:off x="7511705" y="2420797"/>
                <a:ext cx="1370161" cy="1370160"/>
              </a:xfrm>
              <a:custGeom>
                <a:avLst/>
                <a:gdLst>
                  <a:gd name="connsiteX0" fmla="*/ 1370162 w 1370161"/>
                  <a:gd name="connsiteY0" fmla="*/ 685081 h 1370160"/>
                  <a:gd name="connsiteX1" fmla="*/ 685081 w 1370161"/>
                  <a:gd name="connsiteY1" fmla="*/ 1370161 h 1370160"/>
                  <a:gd name="connsiteX2" fmla="*/ 0 w 1370161"/>
                  <a:gd name="connsiteY2" fmla="*/ 685081 h 1370160"/>
                  <a:gd name="connsiteX3" fmla="*/ 685081 w 1370161"/>
                  <a:gd name="connsiteY3" fmla="*/ 0 h 1370160"/>
                  <a:gd name="connsiteX4" fmla="*/ 1370162 w 1370161"/>
                  <a:gd name="connsiteY4" fmla="*/ 685081 h 1370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0161" h="1370160">
                    <a:moveTo>
                      <a:pt x="1370162" y="685081"/>
                    </a:moveTo>
                    <a:cubicBezTo>
                      <a:pt x="1370162" y="1063440"/>
                      <a:pt x="1063441" y="1370161"/>
                      <a:pt x="685081" y="1370161"/>
                    </a:cubicBezTo>
                    <a:cubicBezTo>
                      <a:pt x="306721" y="1370161"/>
                      <a:pt x="0" y="1063440"/>
                      <a:pt x="0" y="685081"/>
                    </a:cubicBezTo>
                    <a:cubicBezTo>
                      <a:pt x="0" y="306721"/>
                      <a:pt x="306721" y="0"/>
                      <a:pt x="685081" y="0"/>
                    </a:cubicBezTo>
                    <a:cubicBezTo>
                      <a:pt x="1063441" y="0"/>
                      <a:pt x="1370162" y="306721"/>
                      <a:pt x="1370162" y="685081"/>
                    </a:cubicBezTo>
                    <a:close/>
                  </a:path>
                </a:pathLst>
              </a:custGeom>
              <a:solidFill>
                <a:srgbClr val="919191">
                  <a:alpha val="3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4802802C-2C2E-6826-455C-FB772D51D303}"/>
                  </a:ext>
                </a:extLst>
              </p:cNvPr>
              <p:cNvSpPr/>
              <p:nvPr/>
            </p:nvSpPr>
            <p:spPr>
              <a:xfrm rot="-5061000">
                <a:off x="7513805" y="2422957"/>
                <a:ext cx="1365163" cy="1365162"/>
              </a:xfrm>
              <a:custGeom>
                <a:avLst/>
                <a:gdLst>
                  <a:gd name="connsiteX0" fmla="*/ 1365163 w 1365163"/>
                  <a:gd name="connsiteY0" fmla="*/ 682581 h 1365162"/>
                  <a:gd name="connsiteX1" fmla="*/ 682582 w 1365163"/>
                  <a:gd name="connsiteY1" fmla="*/ 1365162 h 1365162"/>
                  <a:gd name="connsiteX2" fmla="*/ 0 w 1365163"/>
                  <a:gd name="connsiteY2" fmla="*/ 682581 h 1365162"/>
                  <a:gd name="connsiteX3" fmla="*/ 682582 w 1365163"/>
                  <a:gd name="connsiteY3" fmla="*/ 0 h 1365162"/>
                  <a:gd name="connsiteX4" fmla="*/ 1365163 w 1365163"/>
                  <a:gd name="connsiteY4" fmla="*/ 682581 h 136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65163" h="1365162">
                    <a:moveTo>
                      <a:pt x="1365163" y="682581"/>
                    </a:moveTo>
                    <a:cubicBezTo>
                      <a:pt x="1365163" y="1059560"/>
                      <a:pt x="1059561" y="1365162"/>
                      <a:pt x="682582" y="1365162"/>
                    </a:cubicBezTo>
                    <a:cubicBezTo>
                      <a:pt x="305602" y="1365162"/>
                      <a:pt x="0" y="1059561"/>
                      <a:pt x="0" y="682581"/>
                    </a:cubicBezTo>
                    <a:cubicBezTo>
                      <a:pt x="0" y="305602"/>
                      <a:pt x="305602" y="0"/>
                      <a:pt x="682582" y="0"/>
                    </a:cubicBezTo>
                    <a:cubicBezTo>
                      <a:pt x="1059561" y="0"/>
                      <a:pt x="1365163" y="305602"/>
                      <a:pt x="1365163" y="682581"/>
                    </a:cubicBezTo>
                    <a:close/>
                  </a:path>
                </a:pathLst>
              </a:custGeom>
              <a:solidFill>
                <a:srgbClr val="8F8F8F">
                  <a:alpha val="3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E8D05D09-4377-A714-B04D-E66174DD7434}"/>
                  </a:ext>
                </a:extLst>
              </p:cNvPr>
              <p:cNvSpPr/>
              <p:nvPr/>
            </p:nvSpPr>
            <p:spPr>
              <a:xfrm rot="-5010001">
                <a:off x="7516982" y="2426073"/>
                <a:ext cx="1359609" cy="1359608"/>
              </a:xfrm>
              <a:custGeom>
                <a:avLst/>
                <a:gdLst>
                  <a:gd name="connsiteX0" fmla="*/ 1359609 w 1359609"/>
                  <a:gd name="connsiteY0" fmla="*/ 679804 h 1359608"/>
                  <a:gd name="connsiteX1" fmla="*/ 679804 w 1359609"/>
                  <a:gd name="connsiteY1" fmla="*/ 1359609 h 1359608"/>
                  <a:gd name="connsiteX2" fmla="*/ 0 w 1359609"/>
                  <a:gd name="connsiteY2" fmla="*/ 679804 h 1359608"/>
                  <a:gd name="connsiteX3" fmla="*/ 679804 w 1359609"/>
                  <a:gd name="connsiteY3" fmla="*/ 0 h 1359608"/>
                  <a:gd name="connsiteX4" fmla="*/ 1359609 w 1359609"/>
                  <a:gd name="connsiteY4" fmla="*/ 679804 h 1359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609" h="1359608">
                    <a:moveTo>
                      <a:pt x="1359609" y="679804"/>
                    </a:moveTo>
                    <a:cubicBezTo>
                      <a:pt x="1359609" y="1055250"/>
                      <a:pt x="1055250" y="1359609"/>
                      <a:pt x="679804" y="1359609"/>
                    </a:cubicBezTo>
                    <a:cubicBezTo>
                      <a:pt x="304359" y="1359609"/>
                      <a:pt x="0" y="1055250"/>
                      <a:pt x="0" y="679804"/>
                    </a:cubicBezTo>
                    <a:cubicBezTo>
                      <a:pt x="0" y="304359"/>
                      <a:pt x="304359" y="0"/>
                      <a:pt x="679804" y="0"/>
                    </a:cubicBezTo>
                    <a:cubicBezTo>
                      <a:pt x="1055250" y="0"/>
                      <a:pt x="1359609" y="304359"/>
                      <a:pt x="1359609" y="679804"/>
                    </a:cubicBezTo>
                    <a:close/>
                  </a:path>
                </a:pathLst>
              </a:custGeom>
              <a:solidFill>
                <a:srgbClr val="8D8D8D">
                  <a:alpha val="3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4A29060F-B609-7C05-B41A-2A74EC1429B7}"/>
                  </a:ext>
                </a:extLst>
              </p:cNvPr>
              <p:cNvSpPr/>
              <p:nvPr/>
            </p:nvSpPr>
            <p:spPr>
              <a:xfrm rot="-5010001">
                <a:off x="7519481" y="2428572"/>
                <a:ext cx="1354610" cy="1354609"/>
              </a:xfrm>
              <a:custGeom>
                <a:avLst/>
                <a:gdLst>
                  <a:gd name="connsiteX0" fmla="*/ 1354611 w 1354610"/>
                  <a:gd name="connsiteY0" fmla="*/ 677305 h 1354609"/>
                  <a:gd name="connsiteX1" fmla="*/ 677305 w 1354610"/>
                  <a:gd name="connsiteY1" fmla="*/ 1354610 h 1354609"/>
                  <a:gd name="connsiteX2" fmla="*/ 0 w 1354610"/>
                  <a:gd name="connsiteY2" fmla="*/ 677305 h 1354609"/>
                  <a:gd name="connsiteX3" fmla="*/ 677305 w 1354610"/>
                  <a:gd name="connsiteY3" fmla="*/ 0 h 1354609"/>
                  <a:gd name="connsiteX4" fmla="*/ 1354611 w 1354610"/>
                  <a:gd name="connsiteY4" fmla="*/ 677305 h 1354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4610" h="1354609">
                    <a:moveTo>
                      <a:pt x="1354611" y="677305"/>
                    </a:moveTo>
                    <a:cubicBezTo>
                      <a:pt x="1354611" y="1051370"/>
                      <a:pt x="1051371" y="1354610"/>
                      <a:pt x="677305" y="1354610"/>
                    </a:cubicBezTo>
                    <a:cubicBezTo>
                      <a:pt x="303240" y="1354610"/>
                      <a:pt x="0" y="1051370"/>
                      <a:pt x="0" y="677305"/>
                    </a:cubicBezTo>
                    <a:cubicBezTo>
                      <a:pt x="0" y="303240"/>
                      <a:pt x="303240" y="0"/>
                      <a:pt x="677305" y="0"/>
                    </a:cubicBezTo>
                    <a:cubicBezTo>
                      <a:pt x="1051371" y="0"/>
                      <a:pt x="1354611" y="303240"/>
                      <a:pt x="1354611" y="677305"/>
                    </a:cubicBezTo>
                    <a:close/>
                  </a:path>
                </a:pathLst>
              </a:custGeom>
              <a:solidFill>
                <a:srgbClr val="8B8B8B">
                  <a:alpha val="3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C4C4DA42-3FDC-F286-8945-5E6DBA612942}"/>
                  </a:ext>
                </a:extLst>
              </p:cNvPr>
              <p:cNvSpPr/>
              <p:nvPr/>
            </p:nvSpPr>
            <p:spPr>
              <a:xfrm rot="-5061000">
                <a:off x="7521580" y="2430733"/>
                <a:ext cx="1349612" cy="1349611"/>
              </a:xfrm>
              <a:custGeom>
                <a:avLst/>
                <a:gdLst>
                  <a:gd name="connsiteX0" fmla="*/ 1349612 w 1349612"/>
                  <a:gd name="connsiteY0" fmla="*/ 674806 h 1349611"/>
                  <a:gd name="connsiteX1" fmla="*/ 674806 w 1349612"/>
                  <a:gd name="connsiteY1" fmla="*/ 1349611 h 1349611"/>
                  <a:gd name="connsiteX2" fmla="*/ 0 w 1349612"/>
                  <a:gd name="connsiteY2" fmla="*/ 674806 h 1349611"/>
                  <a:gd name="connsiteX3" fmla="*/ 674806 w 1349612"/>
                  <a:gd name="connsiteY3" fmla="*/ 0 h 1349611"/>
                  <a:gd name="connsiteX4" fmla="*/ 1349612 w 1349612"/>
                  <a:gd name="connsiteY4" fmla="*/ 674806 h 1349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9612" h="1349611">
                    <a:moveTo>
                      <a:pt x="1349612" y="674806"/>
                    </a:moveTo>
                    <a:cubicBezTo>
                      <a:pt x="1349612" y="1047490"/>
                      <a:pt x="1047491" y="1349611"/>
                      <a:pt x="674806" y="1349611"/>
                    </a:cubicBezTo>
                    <a:cubicBezTo>
                      <a:pt x="302121" y="1349611"/>
                      <a:pt x="0" y="1047491"/>
                      <a:pt x="0" y="674806"/>
                    </a:cubicBezTo>
                    <a:cubicBezTo>
                      <a:pt x="0" y="302121"/>
                      <a:pt x="302121" y="0"/>
                      <a:pt x="674806" y="0"/>
                    </a:cubicBezTo>
                    <a:cubicBezTo>
                      <a:pt x="1047491" y="0"/>
                      <a:pt x="1349612" y="302121"/>
                      <a:pt x="1349612" y="674806"/>
                    </a:cubicBezTo>
                    <a:close/>
                  </a:path>
                </a:pathLst>
              </a:custGeom>
              <a:solidFill>
                <a:srgbClr val="898989">
                  <a:alpha val="3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00D25DF1-D459-5460-FA36-9A47682160DD}"/>
                  </a:ext>
                </a:extLst>
              </p:cNvPr>
              <p:cNvSpPr/>
              <p:nvPr/>
            </p:nvSpPr>
            <p:spPr>
              <a:xfrm rot="-5010001">
                <a:off x="7524480" y="2433571"/>
                <a:ext cx="1344613" cy="1344612"/>
              </a:xfrm>
              <a:custGeom>
                <a:avLst/>
                <a:gdLst>
                  <a:gd name="connsiteX0" fmla="*/ 1344614 w 1344613"/>
                  <a:gd name="connsiteY0" fmla="*/ 672306 h 1344612"/>
                  <a:gd name="connsiteX1" fmla="*/ 672307 w 1344613"/>
                  <a:gd name="connsiteY1" fmla="*/ 1344613 h 1344612"/>
                  <a:gd name="connsiteX2" fmla="*/ 0 w 1344613"/>
                  <a:gd name="connsiteY2" fmla="*/ 672306 h 1344612"/>
                  <a:gd name="connsiteX3" fmla="*/ 672307 w 1344613"/>
                  <a:gd name="connsiteY3" fmla="*/ 0 h 1344612"/>
                  <a:gd name="connsiteX4" fmla="*/ 1344614 w 1344613"/>
                  <a:gd name="connsiteY4" fmla="*/ 672306 h 1344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4613" h="1344612">
                    <a:moveTo>
                      <a:pt x="1344614" y="672306"/>
                    </a:moveTo>
                    <a:cubicBezTo>
                      <a:pt x="1344614" y="1043611"/>
                      <a:pt x="1043612" y="1344613"/>
                      <a:pt x="672307" y="1344613"/>
                    </a:cubicBezTo>
                    <a:cubicBezTo>
                      <a:pt x="301002" y="1344613"/>
                      <a:pt x="0" y="1043611"/>
                      <a:pt x="0" y="672306"/>
                    </a:cubicBezTo>
                    <a:cubicBezTo>
                      <a:pt x="0" y="301002"/>
                      <a:pt x="301002" y="0"/>
                      <a:pt x="672307" y="0"/>
                    </a:cubicBezTo>
                    <a:cubicBezTo>
                      <a:pt x="1043612" y="0"/>
                      <a:pt x="1344614" y="301002"/>
                      <a:pt x="1344614" y="672306"/>
                    </a:cubicBezTo>
                    <a:close/>
                  </a:path>
                </a:pathLst>
              </a:custGeom>
              <a:solidFill>
                <a:srgbClr val="878787">
                  <a:alpha val="3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C0BFF413-3FAF-E437-CFA8-234DA8AB2A13}"/>
                  </a:ext>
                </a:extLst>
              </p:cNvPr>
              <p:cNvSpPr/>
              <p:nvPr/>
            </p:nvSpPr>
            <p:spPr>
              <a:xfrm rot="-5010001">
                <a:off x="7527257" y="2436348"/>
                <a:ext cx="1339059" cy="1339058"/>
              </a:xfrm>
              <a:custGeom>
                <a:avLst/>
                <a:gdLst>
                  <a:gd name="connsiteX0" fmla="*/ 1339060 w 1339059"/>
                  <a:gd name="connsiteY0" fmla="*/ 669529 h 1339058"/>
                  <a:gd name="connsiteX1" fmla="*/ 669530 w 1339059"/>
                  <a:gd name="connsiteY1" fmla="*/ 1339059 h 1339058"/>
                  <a:gd name="connsiteX2" fmla="*/ 0 w 1339059"/>
                  <a:gd name="connsiteY2" fmla="*/ 669529 h 1339058"/>
                  <a:gd name="connsiteX3" fmla="*/ 669530 w 1339059"/>
                  <a:gd name="connsiteY3" fmla="*/ 0 h 1339058"/>
                  <a:gd name="connsiteX4" fmla="*/ 1339060 w 1339059"/>
                  <a:gd name="connsiteY4" fmla="*/ 669529 h 1339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9059" h="1339058">
                    <a:moveTo>
                      <a:pt x="1339060" y="669529"/>
                    </a:moveTo>
                    <a:cubicBezTo>
                      <a:pt x="1339060" y="1039300"/>
                      <a:pt x="1039301" y="1339059"/>
                      <a:pt x="669530" y="1339059"/>
                    </a:cubicBezTo>
                    <a:cubicBezTo>
                      <a:pt x="299759" y="1339059"/>
                      <a:pt x="0" y="1039300"/>
                      <a:pt x="0" y="669529"/>
                    </a:cubicBezTo>
                    <a:cubicBezTo>
                      <a:pt x="0" y="299759"/>
                      <a:pt x="299759" y="0"/>
                      <a:pt x="669530" y="0"/>
                    </a:cubicBezTo>
                    <a:cubicBezTo>
                      <a:pt x="1039301" y="0"/>
                      <a:pt x="1339060" y="299759"/>
                      <a:pt x="1339060" y="669529"/>
                    </a:cubicBezTo>
                    <a:close/>
                  </a:path>
                </a:pathLst>
              </a:custGeom>
              <a:solidFill>
                <a:srgbClr val="858585">
                  <a:alpha val="3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AC1BA799-BB28-4D23-7CAE-43DBD6A99814}"/>
                  </a:ext>
                </a:extLst>
              </p:cNvPr>
              <p:cNvSpPr/>
              <p:nvPr/>
            </p:nvSpPr>
            <p:spPr>
              <a:xfrm rot="-5061000">
                <a:off x="7529356" y="2438508"/>
                <a:ext cx="1334060" cy="1334060"/>
              </a:xfrm>
              <a:custGeom>
                <a:avLst/>
                <a:gdLst>
                  <a:gd name="connsiteX0" fmla="*/ 1334061 w 1334060"/>
                  <a:gd name="connsiteY0" fmla="*/ 667030 h 1334060"/>
                  <a:gd name="connsiteX1" fmla="*/ 667031 w 1334060"/>
                  <a:gd name="connsiteY1" fmla="*/ 1334060 h 1334060"/>
                  <a:gd name="connsiteX2" fmla="*/ 0 w 1334060"/>
                  <a:gd name="connsiteY2" fmla="*/ 667030 h 1334060"/>
                  <a:gd name="connsiteX3" fmla="*/ 667031 w 1334060"/>
                  <a:gd name="connsiteY3" fmla="*/ 0 h 1334060"/>
                  <a:gd name="connsiteX4" fmla="*/ 1334061 w 1334060"/>
                  <a:gd name="connsiteY4" fmla="*/ 667030 h 1334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4060" h="1334060">
                    <a:moveTo>
                      <a:pt x="1334061" y="667030"/>
                    </a:moveTo>
                    <a:cubicBezTo>
                      <a:pt x="1334061" y="1035421"/>
                      <a:pt x="1035421" y="1334060"/>
                      <a:pt x="667031" y="1334060"/>
                    </a:cubicBezTo>
                    <a:cubicBezTo>
                      <a:pt x="298640" y="1334060"/>
                      <a:pt x="0" y="1035421"/>
                      <a:pt x="0" y="667030"/>
                    </a:cubicBezTo>
                    <a:cubicBezTo>
                      <a:pt x="0" y="298640"/>
                      <a:pt x="298640" y="0"/>
                      <a:pt x="667031" y="0"/>
                    </a:cubicBezTo>
                    <a:cubicBezTo>
                      <a:pt x="1035421" y="0"/>
                      <a:pt x="1334061" y="298640"/>
                      <a:pt x="1334061" y="667030"/>
                    </a:cubicBezTo>
                    <a:close/>
                  </a:path>
                </a:pathLst>
              </a:custGeom>
              <a:solidFill>
                <a:srgbClr val="838383">
                  <a:alpha val="3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C4C41C17-4E46-AF01-01E9-1BC4538C30BC}"/>
                  </a:ext>
                </a:extLst>
              </p:cNvPr>
              <p:cNvSpPr/>
              <p:nvPr/>
            </p:nvSpPr>
            <p:spPr>
              <a:xfrm rot="-5010001">
                <a:off x="7532255" y="2441346"/>
                <a:ext cx="1329062" cy="1329061"/>
              </a:xfrm>
              <a:custGeom>
                <a:avLst/>
                <a:gdLst>
                  <a:gd name="connsiteX0" fmla="*/ 1329062 w 1329062"/>
                  <a:gd name="connsiteY0" fmla="*/ 664531 h 1329061"/>
                  <a:gd name="connsiteX1" fmla="*/ 664531 w 1329062"/>
                  <a:gd name="connsiteY1" fmla="*/ 1329062 h 1329061"/>
                  <a:gd name="connsiteX2" fmla="*/ 0 w 1329062"/>
                  <a:gd name="connsiteY2" fmla="*/ 664531 h 1329061"/>
                  <a:gd name="connsiteX3" fmla="*/ 664531 w 1329062"/>
                  <a:gd name="connsiteY3" fmla="*/ 0 h 1329061"/>
                  <a:gd name="connsiteX4" fmla="*/ 1329062 w 1329062"/>
                  <a:gd name="connsiteY4" fmla="*/ 664531 h 1329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9062" h="1329061">
                    <a:moveTo>
                      <a:pt x="1329062" y="664531"/>
                    </a:moveTo>
                    <a:cubicBezTo>
                      <a:pt x="1329062" y="1031541"/>
                      <a:pt x="1031542" y="1329062"/>
                      <a:pt x="664531" y="1329062"/>
                    </a:cubicBezTo>
                    <a:cubicBezTo>
                      <a:pt x="297521" y="1329062"/>
                      <a:pt x="0" y="1031541"/>
                      <a:pt x="0" y="664531"/>
                    </a:cubicBezTo>
                    <a:cubicBezTo>
                      <a:pt x="0" y="297521"/>
                      <a:pt x="297521" y="0"/>
                      <a:pt x="664531" y="0"/>
                    </a:cubicBezTo>
                    <a:cubicBezTo>
                      <a:pt x="1031542" y="0"/>
                      <a:pt x="1329062" y="297521"/>
                      <a:pt x="1329062" y="664531"/>
                    </a:cubicBezTo>
                    <a:close/>
                  </a:path>
                </a:pathLst>
              </a:custGeom>
              <a:solidFill>
                <a:srgbClr val="818181">
                  <a:alpha val="3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EEB3F552-1B46-9BA4-4A6C-C7B22E9BBD58}"/>
                  </a:ext>
                </a:extLst>
              </p:cNvPr>
              <p:cNvSpPr/>
              <p:nvPr/>
            </p:nvSpPr>
            <p:spPr>
              <a:xfrm rot="-5010001">
                <a:off x="7535032" y="2444123"/>
                <a:ext cx="1323508" cy="1323507"/>
              </a:xfrm>
              <a:custGeom>
                <a:avLst/>
                <a:gdLst>
                  <a:gd name="connsiteX0" fmla="*/ 1323509 w 1323508"/>
                  <a:gd name="connsiteY0" fmla="*/ 661754 h 1323507"/>
                  <a:gd name="connsiteX1" fmla="*/ 661754 w 1323508"/>
                  <a:gd name="connsiteY1" fmla="*/ 1323508 h 1323507"/>
                  <a:gd name="connsiteX2" fmla="*/ 0 w 1323508"/>
                  <a:gd name="connsiteY2" fmla="*/ 661754 h 1323507"/>
                  <a:gd name="connsiteX3" fmla="*/ 661754 w 1323508"/>
                  <a:gd name="connsiteY3" fmla="*/ 0 h 1323507"/>
                  <a:gd name="connsiteX4" fmla="*/ 1323509 w 1323508"/>
                  <a:gd name="connsiteY4" fmla="*/ 661754 h 1323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3508" h="1323507">
                    <a:moveTo>
                      <a:pt x="1323509" y="661754"/>
                    </a:moveTo>
                    <a:cubicBezTo>
                      <a:pt x="1323509" y="1027230"/>
                      <a:pt x="1027231" y="1323508"/>
                      <a:pt x="661754" y="1323508"/>
                    </a:cubicBezTo>
                    <a:cubicBezTo>
                      <a:pt x="296278" y="1323508"/>
                      <a:pt x="0" y="1027231"/>
                      <a:pt x="0" y="661754"/>
                    </a:cubicBezTo>
                    <a:cubicBezTo>
                      <a:pt x="0" y="296277"/>
                      <a:pt x="296277" y="0"/>
                      <a:pt x="661754" y="0"/>
                    </a:cubicBezTo>
                    <a:cubicBezTo>
                      <a:pt x="1027231" y="0"/>
                      <a:pt x="1323509" y="296277"/>
                      <a:pt x="1323509" y="661754"/>
                    </a:cubicBezTo>
                    <a:close/>
                  </a:path>
                </a:pathLst>
              </a:custGeom>
              <a:solidFill>
                <a:srgbClr val="7E7E7E">
                  <a:alpha val="3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C0ADC7BF-688C-6DC3-35A0-BDD39CA528BC}"/>
                  </a:ext>
                </a:extLst>
              </p:cNvPr>
              <p:cNvSpPr/>
              <p:nvPr/>
            </p:nvSpPr>
            <p:spPr>
              <a:xfrm>
                <a:off x="7537351" y="2446498"/>
                <a:ext cx="1318509" cy="1318508"/>
              </a:xfrm>
              <a:custGeom>
                <a:avLst/>
                <a:gdLst>
                  <a:gd name="connsiteX0" fmla="*/ 0 w 1318509"/>
                  <a:gd name="connsiteY0" fmla="*/ 659255 h 1318508"/>
                  <a:gd name="connsiteX1" fmla="*/ 659255 w 1318509"/>
                  <a:gd name="connsiteY1" fmla="*/ 0 h 1318508"/>
                  <a:gd name="connsiteX2" fmla="*/ 1318510 w 1318509"/>
                  <a:gd name="connsiteY2" fmla="*/ 659255 h 1318508"/>
                  <a:gd name="connsiteX3" fmla="*/ 659255 w 1318509"/>
                  <a:gd name="connsiteY3" fmla="*/ 1318509 h 1318508"/>
                  <a:gd name="connsiteX4" fmla="*/ 0 w 1318509"/>
                  <a:gd name="connsiteY4" fmla="*/ 659255 h 13185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8509" h="1318508">
                    <a:moveTo>
                      <a:pt x="0" y="659255"/>
                    </a:moveTo>
                    <a:cubicBezTo>
                      <a:pt x="0" y="295193"/>
                      <a:pt x="295193" y="0"/>
                      <a:pt x="659255" y="0"/>
                    </a:cubicBezTo>
                    <a:cubicBezTo>
                      <a:pt x="1023317" y="0"/>
                      <a:pt x="1318510" y="295193"/>
                      <a:pt x="1318510" y="659255"/>
                    </a:cubicBezTo>
                    <a:cubicBezTo>
                      <a:pt x="1318510" y="1023316"/>
                      <a:pt x="1023317" y="1318509"/>
                      <a:pt x="659255" y="1318509"/>
                    </a:cubicBezTo>
                    <a:cubicBezTo>
                      <a:pt x="295193" y="1318509"/>
                      <a:pt x="0" y="1023316"/>
                      <a:pt x="0" y="659255"/>
                    </a:cubicBezTo>
                    <a:close/>
                  </a:path>
                </a:pathLst>
              </a:custGeom>
              <a:solidFill>
                <a:srgbClr val="7C7C7C">
                  <a:alpha val="3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6BD32261-8A02-77A7-22E0-20FA985F6899}"/>
                  </a:ext>
                </a:extLst>
              </p:cNvPr>
              <p:cNvSpPr/>
              <p:nvPr/>
            </p:nvSpPr>
            <p:spPr>
              <a:xfrm rot="-5010001">
                <a:off x="7540031" y="2449122"/>
                <a:ext cx="1313511" cy="1313510"/>
              </a:xfrm>
              <a:custGeom>
                <a:avLst/>
                <a:gdLst>
                  <a:gd name="connsiteX0" fmla="*/ 1313511 w 1313511"/>
                  <a:gd name="connsiteY0" fmla="*/ 656755 h 1313510"/>
                  <a:gd name="connsiteX1" fmla="*/ 656755 w 1313511"/>
                  <a:gd name="connsiteY1" fmla="*/ 1313511 h 1313510"/>
                  <a:gd name="connsiteX2" fmla="*/ 0 w 1313511"/>
                  <a:gd name="connsiteY2" fmla="*/ 656755 h 1313510"/>
                  <a:gd name="connsiteX3" fmla="*/ 656755 w 1313511"/>
                  <a:gd name="connsiteY3" fmla="*/ 0 h 1313510"/>
                  <a:gd name="connsiteX4" fmla="*/ 1313511 w 1313511"/>
                  <a:gd name="connsiteY4" fmla="*/ 656755 h 13135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3511" h="1313510">
                    <a:moveTo>
                      <a:pt x="1313511" y="656755"/>
                    </a:moveTo>
                    <a:cubicBezTo>
                      <a:pt x="1313511" y="1019471"/>
                      <a:pt x="1019472" y="1313511"/>
                      <a:pt x="656755" y="1313511"/>
                    </a:cubicBezTo>
                    <a:cubicBezTo>
                      <a:pt x="294039" y="1313511"/>
                      <a:pt x="0" y="1019471"/>
                      <a:pt x="0" y="656755"/>
                    </a:cubicBezTo>
                    <a:cubicBezTo>
                      <a:pt x="0" y="294040"/>
                      <a:pt x="294039" y="0"/>
                      <a:pt x="656755" y="0"/>
                    </a:cubicBezTo>
                    <a:cubicBezTo>
                      <a:pt x="1019472" y="0"/>
                      <a:pt x="1313511" y="294039"/>
                      <a:pt x="1313511" y="656755"/>
                    </a:cubicBezTo>
                    <a:close/>
                  </a:path>
                </a:pathLst>
              </a:custGeom>
              <a:solidFill>
                <a:srgbClr val="7A7A7A">
                  <a:alpha val="3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6F32BA3F-F8BD-5DCA-ADBF-0AD43BF6766F}"/>
                  </a:ext>
                </a:extLst>
              </p:cNvPr>
              <p:cNvSpPr/>
              <p:nvPr/>
            </p:nvSpPr>
            <p:spPr>
              <a:xfrm rot="-5010001">
                <a:off x="7542530" y="2451621"/>
                <a:ext cx="1308512" cy="1308511"/>
              </a:xfrm>
              <a:custGeom>
                <a:avLst/>
                <a:gdLst>
                  <a:gd name="connsiteX0" fmla="*/ 1308513 w 1308512"/>
                  <a:gd name="connsiteY0" fmla="*/ 654256 h 1308511"/>
                  <a:gd name="connsiteX1" fmla="*/ 654256 w 1308512"/>
                  <a:gd name="connsiteY1" fmla="*/ 1308512 h 1308511"/>
                  <a:gd name="connsiteX2" fmla="*/ 0 w 1308512"/>
                  <a:gd name="connsiteY2" fmla="*/ 654256 h 1308511"/>
                  <a:gd name="connsiteX3" fmla="*/ 654256 w 1308512"/>
                  <a:gd name="connsiteY3" fmla="*/ 0 h 1308511"/>
                  <a:gd name="connsiteX4" fmla="*/ 1308513 w 1308512"/>
                  <a:gd name="connsiteY4" fmla="*/ 654256 h 1308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8512" h="1308511">
                    <a:moveTo>
                      <a:pt x="1308513" y="654256"/>
                    </a:moveTo>
                    <a:cubicBezTo>
                      <a:pt x="1308513" y="1015592"/>
                      <a:pt x="1015592" y="1308512"/>
                      <a:pt x="654256" y="1308512"/>
                    </a:cubicBezTo>
                    <a:cubicBezTo>
                      <a:pt x="292921" y="1308512"/>
                      <a:pt x="0" y="1015592"/>
                      <a:pt x="0" y="654256"/>
                    </a:cubicBezTo>
                    <a:cubicBezTo>
                      <a:pt x="0" y="292921"/>
                      <a:pt x="292921" y="0"/>
                      <a:pt x="654256" y="0"/>
                    </a:cubicBezTo>
                    <a:cubicBezTo>
                      <a:pt x="1015592" y="0"/>
                      <a:pt x="1308513" y="292921"/>
                      <a:pt x="1308513" y="654256"/>
                    </a:cubicBezTo>
                    <a:close/>
                  </a:path>
                </a:pathLst>
              </a:custGeom>
              <a:solidFill>
                <a:srgbClr val="787878">
                  <a:alpha val="3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05C02C8E-974C-CB2A-3B4C-F21AEFAB3C50}"/>
                  </a:ext>
                </a:extLst>
              </p:cNvPr>
              <p:cNvSpPr/>
              <p:nvPr/>
            </p:nvSpPr>
            <p:spPr>
              <a:xfrm>
                <a:off x="7545126" y="2454273"/>
                <a:ext cx="1302958" cy="1302957"/>
              </a:xfrm>
              <a:custGeom>
                <a:avLst/>
                <a:gdLst>
                  <a:gd name="connsiteX0" fmla="*/ 0 w 1302958"/>
                  <a:gd name="connsiteY0" fmla="*/ 651479 h 1302957"/>
                  <a:gd name="connsiteX1" fmla="*/ 651479 w 1302958"/>
                  <a:gd name="connsiteY1" fmla="*/ 0 h 1302957"/>
                  <a:gd name="connsiteX2" fmla="*/ 1302959 w 1302958"/>
                  <a:gd name="connsiteY2" fmla="*/ 651479 h 1302957"/>
                  <a:gd name="connsiteX3" fmla="*/ 651479 w 1302958"/>
                  <a:gd name="connsiteY3" fmla="*/ 1302958 h 1302957"/>
                  <a:gd name="connsiteX4" fmla="*/ 0 w 1302958"/>
                  <a:gd name="connsiteY4" fmla="*/ 651479 h 1302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02958" h="1302957">
                    <a:moveTo>
                      <a:pt x="0" y="651479"/>
                    </a:moveTo>
                    <a:cubicBezTo>
                      <a:pt x="0" y="291583"/>
                      <a:pt x="291583" y="0"/>
                      <a:pt x="651479" y="0"/>
                    </a:cubicBezTo>
                    <a:cubicBezTo>
                      <a:pt x="1011376" y="0"/>
                      <a:pt x="1302959" y="291583"/>
                      <a:pt x="1302959" y="651479"/>
                    </a:cubicBezTo>
                    <a:cubicBezTo>
                      <a:pt x="1302959" y="1011375"/>
                      <a:pt x="1011376" y="1302958"/>
                      <a:pt x="651479" y="1302958"/>
                    </a:cubicBezTo>
                    <a:cubicBezTo>
                      <a:pt x="291583" y="1302958"/>
                      <a:pt x="0" y="1011375"/>
                      <a:pt x="0" y="651479"/>
                    </a:cubicBezTo>
                    <a:close/>
                  </a:path>
                </a:pathLst>
              </a:custGeom>
              <a:solidFill>
                <a:srgbClr val="767676">
                  <a:alpha val="3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41A9D488-3015-9C2C-BACE-BD3E6463CD2F}"/>
                  </a:ext>
                </a:extLst>
              </p:cNvPr>
              <p:cNvSpPr/>
              <p:nvPr/>
            </p:nvSpPr>
            <p:spPr>
              <a:xfrm rot="-5010001">
                <a:off x="7547806" y="2456897"/>
                <a:ext cx="1297960" cy="1297959"/>
              </a:xfrm>
              <a:custGeom>
                <a:avLst/>
                <a:gdLst>
                  <a:gd name="connsiteX0" fmla="*/ 1297960 w 1297960"/>
                  <a:gd name="connsiteY0" fmla="*/ 648980 h 1297959"/>
                  <a:gd name="connsiteX1" fmla="*/ 648980 w 1297960"/>
                  <a:gd name="connsiteY1" fmla="*/ 1297960 h 1297959"/>
                  <a:gd name="connsiteX2" fmla="*/ 0 w 1297960"/>
                  <a:gd name="connsiteY2" fmla="*/ 648980 h 1297959"/>
                  <a:gd name="connsiteX3" fmla="*/ 648980 w 1297960"/>
                  <a:gd name="connsiteY3" fmla="*/ 0 h 1297959"/>
                  <a:gd name="connsiteX4" fmla="*/ 1297960 w 1297960"/>
                  <a:gd name="connsiteY4" fmla="*/ 648980 h 12979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7960" h="1297959">
                    <a:moveTo>
                      <a:pt x="1297960" y="648980"/>
                    </a:moveTo>
                    <a:cubicBezTo>
                      <a:pt x="1297960" y="1007401"/>
                      <a:pt x="1007402" y="1297960"/>
                      <a:pt x="648980" y="1297960"/>
                    </a:cubicBezTo>
                    <a:cubicBezTo>
                      <a:pt x="290558" y="1297960"/>
                      <a:pt x="0" y="1007402"/>
                      <a:pt x="0" y="648980"/>
                    </a:cubicBezTo>
                    <a:cubicBezTo>
                      <a:pt x="0" y="290558"/>
                      <a:pt x="290558" y="0"/>
                      <a:pt x="648980" y="0"/>
                    </a:cubicBezTo>
                    <a:cubicBezTo>
                      <a:pt x="1007402" y="0"/>
                      <a:pt x="1297960" y="290558"/>
                      <a:pt x="1297960" y="648980"/>
                    </a:cubicBezTo>
                    <a:close/>
                  </a:path>
                </a:pathLst>
              </a:custGeom>
              <a:solidFill>
                <a:srgbClr val="747474">
                  <a:alpha val="3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6CD3EB96-1ED5-F62A-3550-3F82901514A9}"/>
                  </a:ext>
                </a:extLst>
              </p:cNvPr>
              <p:cNvSpPr/>
              <p:nvPr/>
            </p:nvSpPr>
            <p:spPr>
              <a:xfrm rot="-5010001">
                <a:off x="7550305" y="2459397"/>
                <a:ext cx="1292961" cy="1292960"/>
              </a:xfrm>
              <a:custGeom>
                <a:avLst/>
                <a:gdLst>
                  <a:gd name="connsiteX0" fmla="*/ 1292962 w 1292961"/>
                  <a:gd name="connsiteY0" fmla="*/ 646481 h 1292960"/>
                  <a:gd name="connsiteX1" fmla="*/ 646481 w 1292961"/>
                  <a:gd name="connsiteY1" fmla="*/ 1292961 h 1292960"/>
                  <a:gd name="connsiteX2" fmla="*/ 0 w 1292961"/>
                  <a:gd name="connsiteY2" fmla="*/ 646481 h 1292960"/>
                  <a:gd name="connsiteX3" fmla="*/ 646481 w 1292961"/>
                  <a:gd name="connsiteY3" fmla="*/ 0 h 1292960"/>
                  <a:gd name="connsiteX4" fmla="*/ 1292962 w 1292961"/>
                  <a:gd name="connsiteY4" fmla="*/ 646481 h 1292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2961" h="1292960">
                    <a:moveTo>
                      <a:pt x="1292962" y="646481"/>
                    </a:moveTo>
                    <a:cubicBezTo>
                      <a:pt x="1292962" y="1003522"/>
                      <a:pt x="1003522" y="1292961"/>
                      <a:pt x="646481" y="1292961"/>
                    </a:cubicBezTo>
                    <a:cubicBezTo>
                      <a:pt x="289439" y="1292961"/>
                      <a:pt x="0" y="1003522"/>
                      <a:pt x="0" y="646481"/>
                    </a:cubicBezTo>
                    <a:cubicBezTo>
                      <a:pt x="0" y="289439"/>
                      <a:pt x="289439" y="0"/>
                      <a:pt x="646481" y="0"/>
                    </a:cubicBezTo>
                    <a:cubicBezTo>
                      <a:pt x="1003522" y="0"/>
                      <a:pt x="1292962" y="289439"/>
                      <a:pt x="1292962" y="646481"/>
                    </a:cubicBezTo>
                    <a:close/>
                  </a:path>
                </a:pathLst>
              </a:custGeom>
              <a:solidFill>
                <a:srgbClr val="727272">
                  <a:alpha val="3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B2491969-3F51-6D4F-F2BA-7CCB338A2A7E}"/>
                  </a:ext>
                </a:extLst>
              </p:cNvPr>
              <p:cNvSpPr/>
              <p:nvPr/>
            </p:nvSpPr>
            <p:spPr>
              <a:xfrm>
                <a:off x="7552902" y="2462049"/>
                <a:ext cx="1287407" cy="1287406"/>
              </a:xfrm>
              <a:custGeom>
                <a:avLst/>
                <a:gdLst>
                  <a:gd name="connsiteX0" fmla="*/ 0 w 1287407"/>
                  <a:gd name="connsiteY0" fmla="*/ 643703 h 1287406"/>
                  <a:gd name="connsiteX1" fmla="*/ 643704 w 1287407"/>
                  <a:gd name="connsiteY1" fmla="*/ 0 h 1287406"/>
                  <a:gd name="connsiteX2" fmla="*/ 1287407 w 1287407"/>
                  <a:gd name="connsiteY2" fmla="*/ 643703 h 1287406"/>
                  <a:gd name="connsiteX3" fmla="*/ 643704 w 1287407"/>
                  <a:gd name="connsiteY3" fmla="*/ 1287407 h 1287406"/>
                  <a:gd name="connsiteX4" fmla="*/ 0 w 1287407"/>
                  <a:gd name="connsiteY4" fmla="*/ 643703 h 1287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7407" h="1287406">
                    <a:moveTo>
                      <a:pt x="0" y="643703"/>
                    </a:moveTo>
                    <a:cubicBezTo>
                      <a:pt x="0" y="288250"/>
                      <a:pt x="288250" y="0"/>
                      <a:pt x="643704" y="0"/>
                    </a:cubicBezTo>
                    <a:cubicBezTo>
                      <a:pt x="999157" y="0"/>
                      <a:pt x="1287407" y="288250"/>
                      <a:pt x="1287407" y="643703"/>
                    </a:cubicBezTo>
                    <a:cubicBezTo>
                      <a:pt x="1287407" y="999156"/>
                      <a:pt x="999157" y="1287407"/>
                      <a:pt x="643704" y="1287407"/>
                    </a:cubicBezTo>
                    <a:cubicBezTo>
                      <a:pt x="288250" y="1287407"/>
                      <a:pt x="0" y="999156"/>
                      <a:pt x="0" y="643703"/>
                    </a:cubicBezTo>
                    <a:close/>
                  </a:path>
                </a:pathLst>
              </a:custGeom>
              <a:solidFill>
                <a:srgbClr val="707070">
                  <a:alpha val="3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3CC5577F-2CDB-6C19-8D84-ACB70BCB6AB3}"/>
                  </a:ext>
                </a:extLst>
              </p:cNvPr>
              <p:cNvSpPr/>
              <p:nvPr/>
            </p:nvSpPr>
            <p:spPr>
              <a:xfrm rot="-5010001">
                <a:off x="7555582" y="2464673"/>
                <a:ext cx="1282409" cy="1282408"/>
              </a:xfrm>
              <a:custGeom>
                <a:avLst/>
                <a:gdLst>
                  <a:gd name="connsiteX0" fmla="*/ 1282409 w 1282409"/>
                  <a:gd name="connsiteY0" fmla="*/ 641204 h 1282408"/>
                  <a:gd name="connsiteX1" fmla="*/ 641205 w 1282409"/>
                  <a:gd name="connsiteY1" fmla="*/ 1282408 h 1282408"/>
                  <a:gd name="connsiteX2" fmla="*/ 0 w 1282409"/>
                  <a:gd name="connsiteY2" fmla="*/ 641204 h 1282408"/>
                  <a:gd name="connsiteX3" fmla="*/ 641205 w 1282409"/>
                  <a:gd name="connsiteY3" fmla="*/ 0 h 1282408"/>
                  <a:gd name="connsiteX4" fmla="*/ 1282409 w 1282409"/>
                  <a:gd name="connsiteY4" fmla="*/ 641204 h 1282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2409" h="1282408">
                    <a:moveTo>
                      <a:pt x="1282409" y="641204"/>
                    </a:moveTo>
                    <a:cubicBezTo>
                      <a:pt x="1282409" y="995332"/>
                      <a:pt x="995332" y="1282408"/>
                      <a:pt x="641205" y="1282408"/>
                    </a:cubicBezTo>
                    <a:cubicBezTo>
                      <a:pt x="287077" y="1282408"/>
                      <a:pt x="0" y="995331"/>
                      <a:pt x="0" y="641204"/>
                    </a:cubicBezTo>
                    <a:cubicBezTo>
                      <a:pt x="0" y="287077"/>
                      <a:pt x="287077" y="0"/>
                      <a:pt x="641205" y="0"/>
                    </a:cubicBezTo>
                    <a:cubicBezTo>
                      <a:pt x="995332" y="0"/>
                      <a:pt x="1282409" y="287077"/>
                      <a:pt x="1282409" y="641204"/>
                    </a:cubicBezTo>
                    <a:close/>
                  </a:path>
                </a:pathLst>
              </a:custGeom>
              <a:solidFill>
                <a:srgbClr val="6E6E6E">
                  <a:alpha val="4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D3D05079-777B-2A17-8D9D-2F2B75D32934}"/>
                  </a:ext>
                </a:extLst>
              </p:cNvPr>
              <p:cNvSpPr/>
              <p:nvPr/>
            </p:nvSpPr>
            <p:spPr>
              <a:xfrm>
                <a:off x="7557900" y="2467047"/>
                <a:ext cx="1277410" cy="1277409"/>
              </a:xfrm>
              <a:custGeom>
                <a:avLst/>
                <a:gdLst>
                  <a:gd name="connsiteX0" fmla="*/ 0 w 1277410"/>
                  <a:gd name="connsiteY0" fmla="*/ 638705 h 1277409"/>
                  <a:gd name="connsiteX1" fmla="*/ 638705 w 1277410"/>
                  <a:gd name="connsiteY1" fmla="*/ 0 h 1277409"/>
                  <a:gd name="connsiteX2" fmla="*/ 1277410 w 1277410"/>
                  <a:gd name="connsiteY2" fmla="*/ 638705 h 1277409"/>
                  <a:gd name="connsiteX3" fmla="*/ 638705 w 1277410"/>
                  <a:gd name="connsiteY3" fmla="*/ 1277410 h 1277409"/>
                  <a:gd name="connsiteX4" fmla="*/ 0 w 1277410"/>
                  <a:gd name="connsiteY4" fmla="*/ 638705 h 12774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7410" h="1277409">
                    <a:moveTo>
                      <a:pt x="0" y="638705"/>
                    </a:moveTo>
                    <a:cubicBezTo>
                      <a:pt x="0" y="286029"/>
                      <a:pt x="286029" y="0"/>
                      <a:pt x="638705" y="0"/>
                    </a:cubicBezTo>
                    <a:cubicBezTo>
                      <a:pt x="991382" y="0"/>
                      <a:pt x="1277410" y="286029"/>
                      <a:pt x="1277410" y="638705"/>
                    </a:cubicBezTo>
                    <a:cubicBezTo>
                      <a:pt x="1277410" y="991381"/>
                      <a:pt x="991382" y="1277410"/>
                      <a:pt x="638705" y="1277410"/>
                    </a:cubicBezTo>
                    <a:cubicBezTo>
                      <a:pt x="286029" y="1277410"/>
                      <a:pt x="0" y="991381"/>
                      <a:pt x="0" y="638705"/>
                    </a:cubicBezTo>
                    <a:close/>
                  </a:path>
                </a:pathLst>
              </a:custGeom>
              <a:solidFill>
                <a:srgbClr val="6B6B6B">
                  <a:alpha val="4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37BD80D0-4798-8C17-C67F-142A89525DA1}"/>
                  </a:ext>
                </a:extLst>
              </p:cNvPr>
              <p:cNvSpPr/>
              <p:nvPr/>
            </p:nvSpPr>
            <p:spPr>
              <a:xfrm>
                <a:off x="7560399" y="2469547"/>
                <a:ext cx="1272412" cy="1272411"/>
              </a:xfrm>
              <a:custGeom>
                <a:avLst/>
                <a:gdLst>
                  <a:gd name="connsiteX0" fmla="*/ 0 w 1272412"/>
                  <a:gd name="connsiteY0" fmla="*/ 636206 h 1272411"/>
                  <a:gd name="connsiteX1" fmla="*/ 636206 w 1272412"/>
                  <a:gd name="connsiteY1" fmla="*/ 0 h 1272411"/>
                  <a:gd name="connsiteX2" fmla="*/ 1272412 w 1272412"/>
                  <a:gd name="connsiteY2" fmla="*/ 636206 h 1272411"/>
                  <a:gd name="connsiteX3" fmla="*/ 636206 w 1272412"/>
                  <a:gd name="connsiteY3" fmla="*/ 1272411 h 1272411"/>
                  <a:gd name="connsiteX4" fmla="*/ 0 w 1272412"/>
                  <a:gd name="connsiteY4" fmla="*/ 636206 h 12724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2412" h="1272411">
                    <a:moveTo>
                      <a:pt x="0" y="636206"/>
                    </a:moveTo>
                    <a:cubicBezTo>
                      <a:pt x="0" y="284918"/>
                      <a:pt x="284918" y="0"/>
                      <a:pt x="636206" y="0"/>
                    </a:cubicBezTo>
                    <a:cubicBezTo>
                      <a:pt x="987494" y="0"/>
                      <a:pt x="1272412" y="284918"/>
                      <a:pt x="1272412" y="636206"/>
                    </a:cubicBezTo>
                    <a:cubicBezTo>
                      <a:pt x="1272412" y="987493"/>
                      <a:pt x="987494" y="1272411"/>
                      <a:pt x="636206" y="1272411"/>
                    </a:cubicBezTo>
                    <a:cubicBezTo>
                      <a:pt x="284918" y="1272411"/>
                      <a:pt x="0" y="987493"/>
                      <a:pt x="0" y="636206"/>
                    </a:cubicBezTo>
                    <a:close/>
                  </a:path>
                </a:pathLst>
              </a:custGeom>
              <a:solidFill>
                <a:srgbClr val="696969">
                  <a:alpha val="4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D699FA07-A53C-5464-CD9B-79D19CBB090F}"/>
                  </a:ext>
                </a:extLst>
              </p:cNvPr>
              <p:cNvSpPr/>
              <p:nvPr/>
            </p:nvSpPr>
            <p:spPr>
              <a:xfrm>
                <a:off x="7563177" y="2472324"/>
                <a:ext cx="1266857" cy="1266857"/>
              </a:xfrm>
              <a:custGeom>
                <a:avLst/>
                <a:gdLst>
                  <a:gd name="connsiteX0" fmla="*/ 0 w 1266857"/>
                  <a:gd name="connsiteY0" fmla="*/ 633429 h 1266857"/>
                  <a:gd name="connsiteX1" fmla="*/ 633429 w 1266857"/>
                  <a:gd name="connsiteY1" fmla="*/ 0 h 1266857"/>
                  <a:gd name="connsiteX2" fmla="*/ 1266858 w 1266857"/>
                  <a:gd name="connsiteY2" fmla="*/ 633429 h 1266857"/>
                  <a:gd name="connsiteX3" fmla="*/ 633429 w 1266857"/>
                  <a:gd name="connsiteY3" fmla="*/ 1266857 h 1266857"/>
                  <a:gd name="connsiteX4" fmla="*/ 0 w 1266857"/>
                  <a:gd name="connsiteY4" fmla="*/ 633429 h 126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6857" h="1266857">
                    <a:moveTo>
                      <a:pt x="0" y="633429"/>
                    </a:moveTo>
                    <a:cubicBezTo>
                      <a:pt x="0" y="283529"/>
                      <a:pt x="283530" y="0"/>
                      <a:pt x="633429" y="0"/>
                    </a:cubicBezTo>
                    <a:cubicBezTo>
                      <a:pt x="983328" y="0"/>
                      <a:pt x="1266858" y="283529"/>
                      <a:pt x="1266858" y="633429"/>
                    </a:cubicBezTo>
                    <a:cubicBezTo>
                      <a:pt x="1266858" y="983328"/>
                      <a:pt x="983328" y="1266857"/>
                      <a:pt x="633429" y="1266857"/>
                    </a:cubicBezTo>
                    <a:cubicBezTo>
                      <a:pt x="283530" y="1266857"/>
                      <a:pt x="0" y="983328"/>
                      <a:pt x="0" y="633429"/>
                    </a:cubicBezTo>
                    <a:close/>
                  </a:path>
                </a:pathLst>
              </a:custGeom>
              <a:solidFill>
                <a:srgbClr val="676767">
                  <a:alpha val="4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79D2F73D-1592-2199-FA43-49A07AE26337}"/>
                  </a:ext>
                </a:extLst>
              </p:cNvPr>
              <p:cNvSpPr/>
              <p:nvPr/>
            </p:nvSpPr>
            <p:spPr>
              <a:xfrm>
                <a:off x="7565676" y="2474823"/>
                <a:ext cx="1261859" cy="1261858"/>
              </a:xfrm>
              <a:custGeom>
                <a:avLst/>
                <a:gdLst>
                  <a:gd name="connsiteX0" fmla="*/ 0 w 1261859"/>
                  <a:gd name="connsiteY0" fmla="*/ 630929 h 1261858"/>
                  <a:gd name="connsiteX1" fmla="*/ 630930 w 1261859"/>
                  <a:gd name="connsiteY1" fmla="*/ 0 h 1261858"/>
                  <a:gd name="connsiteX2" fmla="*/ 1261859 w 1261859"/>
                  <a:gd name="connsiteY2" fmla="*/ 630929 h 1261858"/>
                  <a:gd name="connsiteX3" fmla="*/ 630930 w 1261859"/>
                  <a:gd name="connsiteY3" fmla="*/ 1261858 h 1261858"/>
                  <a:gd name="connsiteX4" fmla="*/ 0 w 1261859"/>
                  <a:gd name="connsiteY4" fmla="*/ 630929 h 12618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61859" h="1261858">
                    <a:moveTo>
                      <a:pt x="0" y="630929"/>
                    </a:moveTo>
                    <a:cubicBezTo>
                      <a:pt x="0" y="282419"/>
                      <a:pt x="282419" y="0"/>
                      <a:pt x="630930" y="0"/>
                    </a:cubicBezTo>
                    <a:cubicBezTo>
                      <a:pt x="979441" y="0"/>
                      <a:pt x="1261859" y="282419"/>
                      <a:pt x="1261859" y="630929"/>
                    </a:cubicBezTo>
                    <a:cubicBezTo>
                      <a:pt x="1261859" y="979440"/>
                      <a:pt x="979441" y="1261858"/>
                      <a:pt x="630930" y="1261858"/>
                    </a:cubicBezTo>
                    <a:cubicBezTo>
                      <a:pt x="282419" y="1261858"/>
                      <a:pt x="0" y="979440"/>
                      <a:pt x="0" y="630929"/>
                    </a:cubicBezTo>
                    <a:close/>
                  </a:path>
                </a:pathLst>
              </a:custGeom>
              <a:solidFill>
                <a:srgbClr val="656565">
                  <a:alpha val="4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112069C1-9B78-9541-7AD3-E738EFE9B772}"/>
                  </a:ext>
                </a:extLst>
              </p:cNvPr>
              <p:cNvSpPr/>
              <p:nvPr/>
            </p:nvSpPr>
            <p:spPr>
              <a:xfrm>
                <a:off x="7568175" y="2477322"/>
                <a:ext cx="1256860" cy="1256860"/>
              </a:xfrm>
              <a:custGeom>
                <a:avLst/>
                <a:gdLst>
                  <a:gd name="connsiteX0" fmla="*/ 0 w 1256860"/>
                  <a:gd name="connsiteY0" fmla="*/ 628430 h 1256860"/>
                  <a:gd name="connsiteX1" fmla="*/ 628430 w 1256860"/>
                  <a:gd name="connsiteY1" fmla="*/ 0 h 1256860"/>
                  <a:gd name="connsiteX2" fmla="*/ 1256861 w 1256860"/>
                  <a:gd name="connsiteY2" fmla="*/ 628430 h 1256860"/>
                  <a:gd name="connsiteX3" fmla="*/ 628430 w 1256860"/>
                  <a:gd name="connsiteY3" fmla="*/ 1256860 h 1256860"/>
                  <a:gd name="connsiteX4" fmla="*/ 0 w 1256860"/>
                  <a:gd name="connsiteY4" fmla="*/ 628430 h 1256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56860" h="1256860">
                    <a:moveTo>
                      <a:pt x="0" y="628430"/>
                    </a:moveTo>
                    <a:cubicBezTo>
                      <a:pt x="0" y="281308"/>
                      <a:pt x="281308" y="0"/>
                      <a:pt x="628430" y="0"/>
                    </a:cubicBezTo>
                    <a:cubicBezTo>
                      <a:pt x="975553" y="0"/>
                      <a:pt x="1256861" y="281308"/>
                      <a:pt x="1256861" y="628430"/>
                    </a:cubicBezTo>
                    <a:cubicBezTo>
                      <a:pt x="1256861" y="975552"/>
                      <a:pt x="975553" y="1256860"/>
                      <a:pt x="628430" y="1256860"/>
                    </a:cubicBezTo>
                    <a:cubicBezTo>
                      <a:pt x="281308" y="1256860"/>
                      <a:pt x="0" y="975552"/>
                      <a:pt x="0" y="628430"/>
                    </a:cubicBezTo>
                    <a:close/>
                  </a:path>
                </a:pathLst>
              </a:custGeom>
              <a:solidFill>
                <a:srgbClr val="636363">
                  <a:alpha val="4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C3C0F6DF-E496-5C88-BFF7-7E68A6651D7E}"/>
                  </a:ext>
                </a:extLst>
              </p:cNvPr>
              <p:cNvSpPr/>
              <p:nvPr/>
            </p:nvSpPr>
            <p:spPr>
              <a:xfrm>
                <a:off x="7570674" y="2479822"/>
                <a:ext cx="1251584" cy="1251861"/>
              </a:xfrm>
              <a:custGeom>
                <a:avLst/>
                <a:gdLst>
                  <a:gd name="connsiteX0" fmla="*/ 0 w 1251584"/>
                  <a:gd name="connsiteY0" fmla="*/ 625931 h 1251861"/>
                  <a:gd name="connsiteX1" fmla="*/ 625931 w 1251584"/>
                  <a:gd name="connsiteY1" fmla="*/ 0 h 1251861"/>
                  <a:gd name="connsiteX2" fmla="*/ 1251585 w 1251584"/>
                  <a:gd name="connsiteY2" fmla="*/ 625931 h 1251861"/>
                  <a:gd name="connsiteX3" fmla="*/ 625931 w 1251584"/>
                  <a:gd name="connsiteY3" fmla="*/ 1251861 h 1251861"/>
                  <a:gd name="connsiteX4" fmla="*/ 0 w 1251584"/>
                  <a:gd name="connsiteY4" fmla="*/ 625931 h 1251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51584" h="1251861">
                    <a:moveTo>
                      <a:pt x="0" y="625931"/>
                    </a:moveTo>
                    <a:cubicBezTo>
                      <a:pt x="0" y="280197"/>
                      <a:pt x="280197" y="0"/>
                      <a:pt x="625931" y="0"/>
                    </a:cubicBezTo>
                    <a:cubicBezTo>
                      <a:pt x="971665" y="0"/>
                      <a:pt x="1251585" y="280197"/>
                      <a:pt x="1251585" y="625931"/>
                    </a:cubicBezTo>
                    <a:cubicBezTo>
                      <a:pt x="1251585" y="971664"/>
                      <a:pt x="971387" y="1251861"/>
                      <a:pt x="625931" y="1251861"/>
                    </a:cubicBezTo>
                    <a:cubicBezTo>
                      <a:pt x="280475" y="1251861"/>
                      <a:pt x="0" y="971664"/>
                      <a:pt x="0" y="625931"/>
                    </a:cubicBezTo>
                    <a:close/>
                  </a:path>
                </a:pathLst>
              </a:custGeom>
              <a:solidFill>
                <a:srgbClr val="616161">
                  <a:alpha val="4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C8C21E4E-5E5E-3FC8-4BEE-52D77D877978}"/>
                  </a:ext>
                </a:extLst>
              </p:cNvPr>
              <p:cNvSpPr/>
              <p:nvPr/>
            </p:nvSpPr>
            <p:spPr>
              <a:xfrm>
                <a:off x="7573451" y="2482598"/>
                <a:ext cx="1246308" cy="1246307"/>
              </a:xfrm>
              <a:custGeom>
                <a:avLst/>
                <a:gdLst>
                  <a:gd name="connsiteX0" fmla="*/ 0 w 1246308"/>
                  <a:gd name="connsiteY0" fmla="*/ 623154 h 1246307"/>
                  <a:gd name="connsiteX1" fmla="*/ 623154 w 1246308"/>
                  <a:gd name="connsiteY1" fmla="*/ 0 h 1246307"/>
                  <a:gd name="connsiteX2" fmla="*/ 1246308 w 1246308"/>
                  <a:gd name="connsiteY2" fmla="*/ 623154 h 1246307"/>
                  <a:gd name="connsiteX3" fmla="*/ 623154 w 1246308"/>
                  <a:gd name="connsiteY3" fmla="*/ 1246307 h 1246307"/>
                  <a:gd name="connsiteX4" fmla="*/ 0 w 1246308"/>
                  <a:gd name="connsiteY4" fmla="*/ 623154 h 1246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6308" h="1246307">
                    <a:moveTo>
                      <a:pt x="0" y="623154"/>
                    </a:moveTo>
                    <a:cubicBezTo>
                      <a:pt x="0" y="279086"/>
                      <a:pt x="279087" y="0"/>
                      <a:pt x="623154" y="0"/>
                    </a:cubicBezTo>
                    <a:cubicBezTo>
                      <a:pt x="967222" y="0"/>
                      <a:pt x="1246308" y="279086"/>
                      <a:pt x="1246308" y="623154"/>
                    </a:cubicBezTo>
                    <a:cubicBezTo>
                      <a:pt x="1246308" y="967221"/>
                      <a:pt x="967222" y="1246307"/>
                      <a:pt x="623154" y="1246307"/>
                    </a:cubicBezTo>
                    <a:cubicBezTo>
                      <a:pt x="279087" y="1246307"/>
                      <a:pt x="0" y="967221"/>
                      <a:pt x="0" y="623154"/>
                    </a:cubicBezTo>
                    <a:close/>
                  </a:path>
                </a:pathLst>
              </a:custGeom>
              <a:solidFill>
                <a:srgbClr val="5F5F5F">
                  <a:alpha val="4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B665637F-9CDE-C982-AE19-782C3CCE7DF8}"/>
                  </a:ext>
                </a:extLst>
              </p:cNvPr>
              <p:cNvSpPr/>
              <p:nvPr/>
            </p:nvSpPr>
            <p:spPr>
              <a:xfrm>
                <a:off x="7575951" y="2485098"/>
                <a:ext cx="1241309" cy="1241309"/>
              </a:xfrm>
              <a:custGeom>
                <a:avLst/>
                <a:gdLst>
                  <a:gd name="connsiteX0" fmla="*/ 0 w 1241309"/>
                  <a:gd name="connsiteY0" fmla="*/ 620655 h 1241309"/>
                  <a:gd name="connsiteX1" fmla="*/ 620655 w 1241309"/>
                  <a:gd name="connsiteY1" fmla="*/ 0 h 1241309"/>
                  <a:gd name="connsiteX2" fmla="*/ 1241310 w 1241309"/>
                  <a:gd name="connsiteY2" fmla="*/ 620655 h 1241309"/>
                  <a:gd name="connsiteX3" fmla="*/ 620655 w 1241309"/>
                  <a:gd name="connsiteY3" fmla="*/ 1241309 h 1241309"/>
                  <a:gd name="connsiteX4" fmla="*/ 0 w 1241309"/>
                  <a:gd name="connsiteY4" fmla="*/ 620655 h 1241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41309" h="1241309">
                    <a:moveTo>
                      <a:pt x="0" y="620655"/>
                    </a:moveTo>
                    <a:cubicBezTo>
                      <a:pt x="0" y="277976"/>
                      <a:pt x="277976" y="0"/>
                      <a:pt x="620655" y="0"/>
                    </a:cubicBezTo>
                    <a:cubicBezTo>
                      <a:pt x="963334" y="0"/>
                      <a:pt x="1241310" y="277976"/>
                      <a:pt x="1241310" y="620655"/>
                    </a:cubicBezTo>
                    <a:cubicBezTo>
                      <a:pt x="1241310" y="963334"/>
                      <a:pt x="963334" y="1241309"/>
                      <a:pt x="620655" y="1241309"/>
                    </a:cubicBezTo>
                    <a:cubicBezTo>
                      <a:pt x="277976" y="1241309"/>
                      <a:pt x="0" y="963334"/>
                      <a:pt x="0" y="620655"/>
                    </a:cubicBezTo>
                    <a:close/>
                  </a:path>
                </a:pathLst>
              </a:custGeom>
              <a:solidFill>
                <a:srgbClr val="5D5D5D">
                  <a:alpha val="4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3C8D0906-FAEC-A63E-70E8-536BB568E842}"/>
                  </a:ext>
                </a:extLst>
              </p:cNvPr>
              <p:cNvSpPr/>
              <p:nvPr/>
            </p:nvSpPr>
            <p:spPr>
              <a:xfrm>
                <a:off x="7578450" y="2487597"/>
                <a:ext cx="1236311" cy="1236310"/>
              </a:xfrm>
              <a:custGeom>
                <a:avLst/>
                <a:gdLst>
                  <a:gd name="connsiteX0" fmla="*/ 0 w 1236311"/>
                  <a:gd name="connsiteY0" fmla="*/ 618155 h 1236310"/>
                  <a:gd name="connsiteX1" fmla="*/ 618156 w 1236311"/>
                  <a:gd name="connsiteY1" fmla="*/ 0 h 1236310"/>
                  <a:gd name="connsiteX2" fmla="*/ 1236311 w 1236311"/>
                  <a:gd name="connsiteY2" fmla="*/ 618155 h 1236310"/>
                  <a:gd name="connsiteX3" fmla="*/ 618156 w 1236311"/>
                  <a:gd name="connsiteY3" fmla="*/ 1236310 h 1236310"/>
                  <a:gd name="connsiteX4" fmla="*/ 0 w 1236311"/>
                  <a:gd name="connsiteY4" fmla="*/ 618155 h 1236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6311" h="1236310">
                    <a:moveTo>
                      <a:pt x="0" y="618155"/>
                    </a:moveTo>
                    <a:cubicBezTo>
                      <a:pt x="0" y="276865"/>
                      <a:pt x="276587" y="0"/>
                      <a:pt x="618156" y="0"/>
                    </a:cubicBezTo>
                    <a:cubicBezTo>
                      <a:pt x="959724" y="0"/>
                      <a:pt x="1236311" y="276865"/>
                      <a:pt x="1236311" y="618155"/>
                    </a:cubicBezTo>
                    <a:cubicBezTo>
                      <a:pt x="1236311" y="959446"/>
                      <a:pt x="959724" y="1236310"/>
                      <a:pt x="618156" y="1236310"/>
                    </a:cubicBezTo>
                    <a:cubicBezTo>
                      <a:pt x="276587" y="1236310"/>
                      <a:pt x="0" y="959446"/>
                      <a:pt x="0" y="618155"/>
                    </a:cubicBezTo>
                    <a:close/>
                  </a:path>
                </a:pathLst>
              </a:custGeom>
              <a:solidFill>
                <a:srgbClr val="5B5B5B">
                  <a:alpha val="4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A84BF75D-A4CB-97A9-4DCA-6DEE889177E4}"/>
                  </a:ext>
                </a:extLst>
              </p:cNvPr>
              <p:cNvSpPr/>
              <p:nvPr/>
            </p:nvSpPr>
            <p:spPr>
              <a:xfrm>
                <a:off x="7581227" y="2490374"/>
                <a:ext cx="1230757" cy="1230756"/>
              </a:xfrm>
              <a:custGeom>
                <a:avLst/>
                <a:gdLst>
                  <a:gd name="connsiteX0" fmla="*/ 0 w 1230757"/>
                  <a:gd name="connsiteY0" fmla="*/ 615378 h 1230756"/>
                  <a:gd name="connsiteX1" fmla="*/ 615379 w 1230757"/>
                  <a:gd name="connsiteY1" fmla="*/ 0 h 1230756"/>
                  <a:gd name="connsiteX2" fmla="*/ 1230757 w 1230757"/>
                  <a:gd name="connsiteY2" fmla="*/ 615378 h 1230756"/>
                  <a:gd name="connsiteX3" fmla="*/ 615379 w 1230757"/>
                  <a:gd name="connsiteY3" fmla="*/ 1230756 h 1230756"/>
                  <a:gd name="connsiteX4" fmla="*/ 0 w 1230757"/>
                  <a:gd name="connsiteY4" fmla="*/ 615378 h 1230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0757" h="1230756">
                    <a:moveTo>
                      <a:pt x="0" y="615378"/>
                    </a:moveTo>
                    <a:cubicBezTo>
                      <a:pt x="0" y="275476"/>
                      <a:pt x="275477" y="0"/>
                      <a:pt x="615379" y="0"/>
                    </a:cubicBezTo>
                    <a:cubicBezTo>
                      <a:pt x="955281" y="0"/>
                      <a:pt x="1230757" y="275476"/>
                      <a:pt x="1230757" y="615378"/>
                    </a:cubicBezTo>
                    <a:cubicBezTo>
                      <a:pt x="1230757" y="955280"/>
                      <a:pt x="955281" y="1230756"/>
                      <a:pt x="615379" y="1230756"/>
                    </a:cubicBezTo>
                    <a:cubicBezTo>
                      <a:pt x="275477" y="1230756"/>
                      <a:pt x="0" y="955280"/>
                      <a:pt x="0" y="615378"/>
                    </a:cubicBezTo>
                    <a:close/>
                  </a:path>
                </a:pathLst>
              </a:custGeom>
              <a:solidFill>
                <a:srgbClr val="595959">
                  <a:alpha val="4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B5686A57-081A-82C1-212E-F73B8EDF6761}"/>
                  </a:ext>
                </a:extLst>
              </p:cNvPr>
              <p:cNvSpPr/>
              <p:nvPr/>
            </p:nvSpPr>
            <p:spPr>
              <a:xfrm>
                <a:off x="7583726" y="2492873"/>
                <a:ext cx="1225758" cy="1225757"/>
              </a:xfrm>
              <a:custGeom>
                <a:avLst/>
                <a:gdLst>
                  <a:gd name="connsiteX0" fmla="*/ 0 w 1225758"/>
                  <a:gd name="connsiteY0" fmla="*/ 612879 h 1225757"/>
                  <a:gd name="connsiteX1" fmla="*/ 612879 w 1225758"/>
                  <a:gd name="connsiteY1" fmla="*/ 0 h 1225757"/>
                  <a:gd name="connsiteX2" fmla="*/ 1225759 w 1225758"/>
                  <a:gd name="connsiteY2" fmla="*/ 612879 h 1225757"/>
                  <a:gd name="connsiteX3" fmla="*/ 612879 w 1225758"/>
                  <a:gd name="connsiteY3" fmla="*/ 1225758 h 1225757"/>
                  <a:gd name="connsiteX4" fmla="*/ 0 w 1225758"/>
                  <a:gd name="connsiteY4" fmla="*/ 612879 h 1225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5758" h="1225757">
                    <a:moveTo>
                      <a:pt x="0" y="612879"/>
                    </a:moveTo>
                    <a:cubicBezTo>
                      <a:pt x="0" y="274365"/>
                      <a:pt x="274365" y="0"/>
                      <a:pt x="612879" y="0"/>
                    </a:cubicBezTo>
                    <a:cubicBezTo>
                      <a:pt x="951393" y="0"/>
                      <a:pt x="1225759" y="274365"/>
                      <a:pt x="1225759" y="612879"/>
                    </a:cubicBezTo>
                    <a:cubicBezTo>
                      <a:pt x="1225759" y="951392"/>
                      <a:pt x="951393" y="1225758"/>
                      <a:pt x="612879" y="1225758"/>
                    </a:cubicBezTo>
                    <a:cubicBezTo>
                      <a:pt x="274365" y="1225758"/>
                      <a:pt x="0" y="951392"/>
                      <a:pt x="0" y="612879"/>
                    </a:cubicBezTo>
                    <a:close/>
                  </a:path>
                </a:pathLst>
              </a:custGeom>
              <a:solidFill>
                <a:srgbClr val="565656">
                  <a:alpha val="4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2BCA710D-1D8C-6298-7343-FA6FE6B7E8CB}"/>
                  </a:ext>
                </a:extLst>
              </p:cNvPr>
              <p:cNvSpPr/>
              <p:nvPr/>
            </p:nvSpPr>
            <p:spPr>
              <a:xfrm>
                <a:off x="7586225" y="2495373"/>
                <a:ext cx="1220760" cy="1220759"/>
              </a:xfrm>
              <a:custGeom>
                <a:avLst/>
                <a:gdLst>
                  <a:gd name="connsiteX0" fmla="*/ 0 w 1220760"/>
                  <a:gd name="connsiteY0" fmla="*/ 610380 h 1220759"/>
                  <a:gd name="connsiteX1" fmla="*/ 610380 w 1220760"/>
                  <a:gd name="connsiteY1" fmla="*/ 0 h 1220759"/>
                  <a:gd name="connsiteX2" fmla="*/ 1220760 w 1220760"/>
                  <a:gd name="connsiteY2" fmla="*/ 610380 h 1220759"/>
                  <a:gd name="connsiteX3" fmla="*/ 610380 w 1220760"/>
                  <a:gd name="connsiteY3" fmla="*/ 1220759 h 1220759"/>
                  <a:gd name="connsiteX4" fmla="*/ 0 w 1220760"/>
                  <a:gd name="connsiteY4" fmla="*/ 610380 h 1220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20760" h="1220759">
                    <a:moveTo>
                      <a:pt x="0" y="610380"/>
                    </a:moveTo>
                    <a:cubicBezTo>
                      <a:pt x="0" y="273254"/>
                      <a:pt x="273255" y="0"/>
                      <a:pt x="610380" y="0"/>
                    </a:cubicBezTo>
                    <a:cubicBezTo>
                      <a:pt x="947505" y="0"/>
                      <a:pt x="1220760" y="273254"/>
                      <a:pt x="1220760" y="610380"/>
                    </a:cubicBezTo>
                    <a:cubicBezTo>
                      <a:pt x="1220760" y="947505"/>
                      <a:pt x="947505" y="1220759"/>
                      <a:pt x="610380" y="1220759"/>
                    </a:cubicBezTo>
                    <a:cubicBezTo>
                      <a:pt x="273255" y="1220759"/>
                      <a:pt x="0" y="947505"/>
                      <a:pt x="0" y="610380"/>
                    </a:cubicBezTo>
                    <a:close/>
                  </a:path>
                </a:pathLst>
              </a:custGeom>
              <a:solidFill>
                <a:srgbClr val="545454">
                  <a:alpha val="4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15F0D712-E153-F7A1-ACDD-D6F0ECF29D3B}"/>
                  </a:ext>
                </a:extLst>
              </p:cNvPr>
              <p:cNvSpPr/>
              <p:nvPr/>
            </p:nvSpPr>
            <p:spPr>
              <a:xfrm>
                <a:off x="7588725" y="2497872"/>
                <a:ext cx="1215761" cy="1215760"/>
              </a:xfrm>
              <a:custGeom>
                <a:avLst/>
                <a:gdLst>
                  <a:gd name="connsiteX0" fmla="*/ 0 w 1215761"/>
                  <a:gd name="connsiteY0" fmla="*/ 607881 h 1215760"/>
                  <a:gd name="connsiteX1" fmla="*/ 607881 w 1215761"/>
                  <a:gd name="connsiteY1" fmla="*/ 0 h 1215760"/>
                  <a:gd name="connsiteX2" fmla="*/ 1215762 w 1215761"/>
                  <a:gd name="connsiteY2" fmla="*/ 607881 h 1215760"/>
                  <a:gd name="connsiteX3" fmla="*/ 607881 w 1215761"/>
                  <a:gd name="connsiteY3" fmla="*/ 1215761 h 1215760"/>
                  <a:gd name="connsiteX4" fmla="*/ 0 w 1215761"/>
                  <a:gd name="connsiteY4" fmla="*/ 607881 h 1215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5761" h="1215760">
                    <a:moveTo>
                      <a:pt x="0" y="607881"/>
                    </a:moveTo>
                    <a:cubicBezTo>
                      <a:pt x="0" y="272144"/>
                      <a:pt x="272144" y="0"/>
                      <a:pt x="607881" y="0"/>
                    </a:cubicBezTo>
                    <a:cubicBezTo>
                      <a:pt x="943617" y="0"/>
                      <a:pt x="1215762" y="272144"/>
                      <a:pt x="1215762" y="607881"/>
                    </a:cubicBezTo>
                    <a:cubicBezTo>
                      <a:pt x="1215762" y="943617"/>
                      <a:pt x="943617" y="1215761"/>
                      <a:pt x="607881" y="1215761"/>
                    </a:cubicBezTo>
                    <a:cubicBezTo>
                      <a:pt x="272144" y="1215761"/>
                      <a:pt x="0" y="943617"/>
                      <a:pt x="0" y="607881"/>
                    </a:cubicBezTo>
                    <a:close/>
                  </a:path>
                </a:pathLst>
              </a:custGeom>
              <a:solidFill>
                <a:srgbClr val="525252">
                  <a:alpha val="4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505EEFCB-80B5-47DB-7E38-6847062D94C5}"/>
                  </a:ext>
                </a:extLst>
              </p:cNvPr>
              <p:cNvSpPr/>
              <p:nvPr/>
            </p:nvSpPr>
            <p:spPr>
              <a:xfrm>
                <a:off x="7591502" y="2500649"/>
                <a:ext cx="1210207" cy="1210206"/>
              </a:xfrm>
              <a:custGeom>
                <a:avLst/>
                <a:gdLst>
                  <a:gd name="connsiteX0" fmla="*/ 0 w 1210207"/>
                  <a:gd name="connsiteY0" fmla="*/ 605103 h 1210206"/>
                  <a:gd name="connsiteX1" fmla="*/ 605104 w 1210207"/>
                  <a:gd name="connsiteY1" fmla="*/ 0 h 1210206"/>
                  <a:gd name="connsiteX2" fmla="*/ 1210207 w 1210207"/>
                  <a:gd name="connsiteY2" fmla="*/ 605103 h 1210206"/>
                  <a:gd name="connsiteX3" fmla="*/ 605104 w 1210207"/>
                  <a:gd name="connsiteY3" fmla="*/ 1210207 h 1210206"/>
                  <a:gd name="connsiteX4" fmla="*/ 0 w 1210207"/>
                  <a:gd name="connsiteY4" fmla="*/ 605103 h 1210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0207" h="1210206">
                    <a:moveTo>
                      <a:pt x="0" y="605103"/>
                    </a:moveTo>
                    <a:cubicBezTo>
                      <a:pt x="0" y="270755"/>
                      <a:pt x="271033" y="0"/>
                      <a:pt x="605104" y="0"/>
                    </a:cubicBezTo>
                    <a:cubicBezTo>
                      <a:pt x="939174" y="0"/>
                      <a:pt x="1210207" y="271033"/>
                      <a:pt x="1210207" y="605103"/>
                    </a:cubicBezTo>
                    <a:cubicBezTo>
                      <a:pt x="1210207" y="939174"/>
                      <a:pt x="939174" y="1210207"/>
                      <a:pt x="605104" y="1210207"/>
                    </a:cubicBezTo>
                    <a:cubicBezTo>
                      <a:pt x="271033" y="1210207"/>
                      <a:pt x="0" y="939174"/>
                      <a:pt x="0" y="605103"/>
                    </a:cubicBezTo>
                    <a:close/>
                  </a:path>
                </a:pathLst>
              </a:custGeom>
              <a:solidFill>
                <a:srgbClr val="505050">
                  <a:alpha val="4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C4542491-E38D-56B9-D76F-1DCE6AECF6EF}"/>
                  </a:ext>
                </a:extLst>
              </p:cNvPr>
              <p:cNvSpPr/>
              <p:nvPr/>
            </p:nvSpPr>
            <p:spPr>
              <a:xfrm>
                <a:off x="7594001" y="2503148"/>
                <a:ext cx="1205208" cy="1205208"/>
              </a:xfrm>
              <a:custGeom>
                <a:avLst/>
                <a:gdLst>
                  <a:gd name="connsiteX0" fmla="*/ 0 w 1205208"/>
                  <a:gd name="connsiteY0" fmla="*/ 602604 h 1205208"/>
                  <a:gd name="connsiteX1" fmla="*/ 602604 w 1205208"/>
                  <a:gd name="connsiteY1" fmla="*/ 0 h 1205208"/>
                  <a:gd name="connsiteX2" fmla="*/ 1205209 w 1205208"/>
                  <a:gd name="connsiteY2" fmla="*/ 602604 h 1205208"/>
                  <a:gd name="connsiteX3" fmla="*/ 602604 w 1205208"/>
                  <a:gd name="connsiteY3" fmla="*/ 1205208 h 1205208"/>
                  <a:gd name="connsiteX4" fmla="*/ 0 w 1205208"/>
                  <a:gd name="connsiteY4" fmla="*/ 602604 h 1205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5208" h="1205208">
                    <a:moveTo>
                      <a:pt x="0" y="602604"/>
                    </a:moveTo>
                    <a:cubicBezTo>
                      <a:pt x="0" y="269922"/>
                      <a:pt x="269922" y="0"/>
                      <a:pt x="602604" y="0"/>
                    </a:cubicBezTo>
                    <a:cubicBezTo>
                      <a:pt x="935286" y="0"/>
                      <a:pt x="1205209" y="269922"/>
                      <a:pt x="1205209" y="602604"/>
                    </a:cubicBezTo>
                    <a:cubicBezTo>
                      <a:pt x="1205209" y="935286"/>
                      <a:pt x="935286" y="1205208"/>
                      <a:pt x="602604" y="1205208"/>
                    </a:cubicBezTo>
                    <a:cubicBezTo>
                      <a:pt x="269922" y="1205208"/>
                      <a:pt x="0" y="935286"/>
                      <a:pt x="0" y="602604"/>
                    </a:cubicBezTo>
                    <a:close/>
                  </a:path>
                </a:pathLst>
              </a:custGeom>
              <a:solidFill>
                <a:srgbClr val="4E4E4E">
                  <a:alpha val="4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C2B9D49F-21CB-4C19-9350-13F602662AA0}"/>
                  </a:ext>
                </a:extLst>
              </p:cNvPr>
              <p:cNvSpPr/>
              <p:nvPr/>
            </p:nvSpPr>
            <p:spPr>
              <a:xfrm>
                <a:off x="7596500" y="2505647"/>
                <a:ext cx="1200210" cy="1200209"/>
              </a:xfrm>
              <a:custGeom>
                <a:avLst/>
                <a:gdLst>
                  <a:gd name="connsiteX0" fmla="*/ 0 w 1200210"/>
                  <a:gd name="connsiteY0" fmla="*/ 600105 h 1200209"/>
                  <a:gd name="connsiteX1" fmla="*/ 600105 w 1200210"/>
                  <a:gd name="connsiteY1" fmla="*/ 0 h 1200209"/>
                  <a:gd name="connsiteX2" fmla="*/ 1200210 w 1200210"/>
                  <a:gd name="connsiteY2" fmla="*/ 600105 h 1200209"/>
                  <a:gd name="connsiteX3" fmla="*/ 600105 w 1200210"/>
                  <a:gd name="connsiteY3" fmla="*/ 1200210 h 1200209"/>
                  <a:gd name="connsiteX4" fmla="*/ 0 w 1200210"/>
                  <a:gd name="connsiteY4" fmla="*/ 600105 h 12002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00210" h="1200209">
                    <a:moveTo>
                      <a:pt x="0" y="600105"/>
                    </a:moveTo>
                    <a:cubicBezTo>
                      <a:pt x="0" y="268811"/>
                      <a:pt x="268534" y="0"/>
                      <a:pt x="600105" y="0"/>
                    </a:cubicBezTo>
                    <a:cubicBezTo>
                      <a:pt x="931677" y="0"/>
                      <a:pt x="1200210" y="268534"/>
                      <a:pt x="1200210" y="600105"/>
                    </a:cubicBezTo>
                    <a:cubicBezTo>
                      <a:pt x="1200210" y="931676"/>
                      <a:pt x="931677" y="1200210"/>
                      <a:pt x="600105" y="1200210"/>
                    </a:cubicBezTo>
                    <a:cubicBezTo>
                      <a:pt x="268534" y="1200210"/>
                      <a:pt x="0" y="931676"/>
                      <a:pt x="0" y="600105"/>
                    </a:cubicBezTo>
                    <a:close/>
                  </a:path>
                </a:pathLst>
              </a:custGeom>
              <a:solidFill>
                <a:srgbClr val="4C4C4C">
                  <a:alpha val="4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C26A06FF-096F-459F-23BC-5777D88CD9C5}"/>
                  </a:ext>
                </a:extLst>
              </p:cNvPr>
              <p:cNvSpPr/>
              <p:nvPr/>
            </p:nvSpPr>
            <p:spPr>
              <a:xfrm>
                <a:off x="7599277" y="2508147"/>
                <a:ext cx="1194656" cy="1194933"/>
              </a:xfrm>
              <a:custGeom>
                <a:avLst/>
                <a:gdLst>
                  <a:gd name="connsiteX0" fmla="*/ 0 w 1194656"/>
                  <a:gd name="connsiteY0" fmla="*/ 597606 h 1194933"/>
                  <a:gd name="connsiteX1" fmla="*/ 597328 w 1194656"/>
                  <a:gd name="connsiteY1" fmla="*/ 0 h 1194933"/>
                  <a:gd name="connsiteX2" fmla="*/ 1194656 w 1194656"/>
                  <a:gd name="connsiteY2" fmla="*/ 597606 h 1194933"/>
                  <a:gd name="connsiteX3" fmla="*/ 597328 w 1194656"/>
                  <a:gd name="connsiteY3" fmla="*/ 1194933 h 1194933"/>
                  <a:gd name="connsiteX4" fmla="*/ 0 w 1194656"/>
                  <a:gd name="connsiteY4" fmla="*/ 597606 h 1194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94656" h="1194933">
                    <a:moveTo>
                      <a:pt x="0" y="597606"/>
                    </a:moveTo>
                    <a:cubicBezTo>
                      <a:pt x="0" y="267701"/>
                      <a:pt x="267423" y="0"/>
                      <a:pt x="597328" y="0"/>
                    </a:cubicBezTo>
                    <a:cubicBezTo>
                      <a:pt x="927234" y="0"/>
                      <a:pt x="1194656" y="267423"/>
                      <a:pt x="1194656" y="597606"/>
                    </a:cubicBezTo>
                    <a:cubicBezTo>
                      <a:pt x="1194656" y="927788"/>
                      <a:pt x="927234" y="1194933"/>
                      <a:pt x="597328" y="1194933"/>
                    </a:cubicBezTo>
                    <a:cubicBezTo>
                      <a:pt x="267423" y="1194933"/>
                      <a:pt x="0" y="927511"/>
                      <a:pt x="0" y="597606"/>
                    </a:cubicBezTo>
                    <a:close/>
                  </a:path>
                </a:pathLst>
              </a:custGeom>
              <a:solidFill>
                <a:srgbClr val="4A4A4A">
                  <a:alpha val="5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4664AB87-C4DB-D96D-3720-8D51F818CF56}"/>
                  </a:ext>
                </a:extLst>
              </p:cNvPr>
              <p:cNvSpPr/>
              <p:nvPr/>
            </p:nvSpPr>
            <p:spPr>
              <a:xfrm>
                <a:off x="7601777" y="2510924"/>
                <a:ext cx="1189657" cy="1189657"/>
              </a:xfrm>
              <a:custGeom>
                <a:avLst/>
                <a:gdLst>
                  <a:gd name="connsiteX0" fmla="*/ 0 w 1189657"/>
                  <a:gd name="connsiteY0" fmla="*/ 594829 h 1189657"/>
                  <a:gd name="connsiteX1" fmla="*/ 594829 w 1189657"/>
                  <a:gd name="connsiteY1" fmla="*/ 0 h 1189657"/>
                  <a:gd name="connsiteX2" fmla="*/ 1189658 w 1189657"/>
                  <a:gd name="connsiteY2" fmla="*/ 594829 h 1189657"/>
                  <a:gd name="connsiteX3" fmla="*/ 594829 w 1189657"/>
                  <a:gd name="connsiteY3" fmla="*/ 1189657 h 1189657"/>
                  <a:gd name="connsiteX4" fmla="*/ 0 w 1189657"/>
                  <a:gd name="connsiteY4" fmla="*/ 594829 h 1189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9657" h="1189657">
                    <a:moveTo>
                      <a:pt x="0" y="594829"/>
                    </a:moveTo>
                    <a:cubicBezTo>
                      <a:pt x="0" y="266312"/>
                      <a:pt x="266312" y="0"/>
                      <a:pt x="594829" y="0"/>
                    </a:cubicBezTo>
                    <a:cubicBezTo>
                      <a:pt x="923346" y="0"/>
                      <a:pt x="1189658" y="266312"/>
                      <a:pt x="1189658" y="594829"/>
                    </a:cubicBezTo>
                    <a:cubicBezTo>
                      <a:pt x="1189658" y="923345"/>
                      <a:pt x="923346" y="1189657"/>
                      <a:pt x="594829" y="1189657"/>
                    </a:cubicBezTo>
                    <a:cubicBezTo>
                      <a:pt x="266312" y="1189657"/>
                      <a:pt x="0" y="923345"/>
                      <a:pt x="0" y="594829"/>
                    </a:cubicBezTo>
                    <a:close/>
                  </a:path>
                </a:pathLst>
              </a:custGeom>
              <a:solidFill>
                <a:srgbClr val="484848">
                  <a:alpha val="5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CBB35AAA-DC96-A6D1-4117-77D5D5DBC43A}"/>
                  </a:ext>
                </a:extLst>
              </p:cNvPr>
              <p:cNvSpPr/>
              <p:nvPr/>
            </p:nvSpPr>
            <p:spPr>
              <a:xfrm>
                <a:off x="7604276" y="2513423"/>
                <a:ext cx="1184659" cy="1184658"/>
              </a:xfrm>
              <a:custGeom>
                <a:avLst/>
                <a:gdLst>
                  <a:gd name="connsiteX0" fmla="*/ 0 w 1184659"/>
                  <a:gd name="connsiteY0" fmla="*/ 592329 h 1184658"/>
                  <a:gd name="connsiteX1" fmla="*/ 592330 w 1184659"/>
                  <a:gd name="connsiteY1" fmla="*/ 0 h 1184658"/>
                  <a:gd name="connsiteX2" fmla="*/ 1184659 w 1184659"/>
                  <a:gd name="connsiteY2" fmla="*/ 592329 h 1184658"/>
                  <a:gd name="connsiteX3" fmla="*/ 592330 w 1184659"/>
                  <a:gd name="connsiteY3" fmla="*/ 1184659 h 1184658"/>
                  <a:gd name="connsiteX4" fmla="*/ 0 w 1184659"/>
                  <a:gd name="connsiteY4" fmla="*/ 592329 h 11846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4659" h="1184658">
                    <a:moveTo>
                      <a:pt x="0" y="592329"/>
                    </a:moveTo>
                    <a:cubicBezTo>
                      <a:pt x="0" y="265201"/>
                      <a:pt x="265202" y="0"/>
                      <a:pt x="592330" y="0"/>
                    </a:cubicBezTo>
                    <a:cubicBezTo>
                      <a:pt x="919458" y="0"/>
                      <a:pt x="1184659" y="265201"/>
                      <a:pt x="1184659" y="592329"/>
                    </a:cubicBezTo>
                    <a:cubicBezTo>
                      <a:pt x="1184659" y="919457"/>
                      <a:pt x="919458" y="1184659"/>
                      <a:pt x="592330" y="1184659"/>
                    </a:cubicBezTo>
                    <a:cubicBezTo>
                      <a:pt x="265202" y="1184659"/>
                      <a:pt x="0" y="919457"/>
                      <a:pt x="0" y="592329"/>
                    </a:cubicBezTo>
                    <a:close/>
                  </a:path>
                </a:pathLst>
              </a:custGeom>
              <a:solidFill>
                <a:srgbClr val="464646">
                  <a:alpha val="5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2EA7DC8F-AFD8-3160-111F-38679875FC2F}"/>
                  </a:ext>
                </a:extLst>
              </p:cNvPr>
              <p:cNvSpPr/>
              <p:nvPr/>
            </p:nvSpPr>
            <p:spPr>
              <a:xfrm>
                <a:off x="7606775" y="2515922"/>
                <a:ext cx="1179660" cy="1179660"/>
              </a:xfrm>
              <a:custGeom>
                <a:avLst/>
                <a:gdLst>
                  <a:gd name="connsiteX0" fmla="*/ 0 w 1179660"/>
                  <a:gd name="connsiteY0" fmla="*/ 589830 h 1179660"/>
                  <a:gd name="connsiteX1" fmla="*/ 589830 w 1179660"/>
                  <a:gd name="connsiteY1" fmla="*/ 0 h 1179660"/>
                  <a:gd name="connsiteX2" fmla="*/ 1179661 w 1179660"/>
                  <a:gd name="connsiteY2" fmla="*/ 589830 h 1179660"/>
                  <a:gd name="connsiteX3" fmla="*/ 589830 w 1179660"/>
                  <a:gd name="connsiteY3" fmla="*/ 1179660 h 1179660"/>
                  <a:gd name="connsiteX4" fmla="*/ 0 w 1179660"/>
                  <a:gd name="connsiteY4" fmla="*/ 589830 h 1179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9660" h="1179660">
                    <a:moveTo>
                      <a:pt x="0" y="589830"/>
                    </a:moveTo>
                    <a:cubicBezTo>
                      <a:pt x="0" y="264091"/>
                      <a:pt x="264091" y="0"/>
                      <a:pt x="589830" y="0"/>
                    </a:cubicBezTo>
                    <a:cubicBezTo>
                      <a:pt x="915570" y="0"/>
                      <a:pt x="1179661" y="264091"/>
                      <a:pt x="1179661" y="589830"/>
                    </a:cubicBezTo>
                    <a:cubicBezTo>
                      <a:pt x="1179661" y="915570"/>
                      <a:pt x="915570" y="1179660"/>
                      <a:pt x="589830" y="1179660"/>
                    </a:cubicBezTo>
                    <a:cubicBezTo>
                      <a:pt x="264091" y="1179660"/>
                      <a:pt x="0" y="915570"/>
                      <a:pt x="0" y="589830"/>
                    </a:cubicBezTo>
                    <a:close/>
                  </a:path>
                </a:pathLst>
              </a:custGeom>
              <a:solidFill>
                <a:srgbClr val="434343">
                  <a:alpha val="5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C787A905-1516-4027-F2EB-FC5CED32F068}"/>
                  </a:ext>
                </a:extLst>
              </p:cNvPr>
              <p:cNvSpPr/>
              <p:nvPr/>
            </p:nvSpPr>
            <p:spPr>
              <a:xfrm>
                <a:off x="7609552" y="2518699"/>
                <a:ext cx="1174106" cy="1174106"/>
              </a:xfrm>
              <a:custGeom>
                <a:avLst/>
                <a:gdLst>
                  <a:gd name="connsiteX0" fmla="*/ 0 w 1174106"/>
                  <a:gd name="connsiteY0" fmla="*/ 587053 h 1174106"/>
                  <a:gd name="connsiteX1" fmla="*/ 587053 w 1174106"/>
                  <a:gd name="connsiteY1" fmla="*/ 0 h 1174106"/>
                  <a:gd name="connsiteX2" fmla="*/ 1174107 w 1174106"/>
                  <a:gd name="connsiteY2" fmla="*/ 587053 h 1174106"/>
                  <a:gd name="connsiteX3" fmla="*/ 587053 w 1174106"/>
                  <a:gd name="connsiteY3" fmla="*/ 1174106 h 1174106"/>
                  <a:gd name="connsiteX4" fmla="*/ 0 w 1174106"/>
                  <a:gd name="connsiteY4" fmla="*/ 587053 h 1174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74106" h="1174106">
                    <a:moveTo>
                      <a:pt x="0" y="587053"/>
                    </a:moveTo>
                    <a:cubicBezTo>
                      <a:pt x="0" y="262702"/>
                      <a:pt x="262980" y="0"/>
                      <a:pt x="587053" y="0"/>
                    </a:cubicBezTo>
                    <a:cubicBezTo>
                      <a:pt x="911127" y="0"/>
                      <a:pt x="1174107" y="262980"/>
                      <a:pt x="1174107" y="587053"/>
                    </a:cubicBezTo>
                    <a:cubicBezTo>
                      <a:pt x="1174107" y="911126"/>
                      <a:pt x="911127" y="1174106"/>
                      <a:pt x="587053" y="1174106"/>
                    </a:cubicBezTo>
                    <a:cubicBezTo>
                      <a:pt x="262980" y="1174106"/>
                      <a:pt x="0" y="911126"/>
                      <a:pt x="0" y="587053"/>
                    </a:cubicBezTo>
                    <a:close/>
                  </a:path>
                </a:pathLst>
              </a:custGeom>
              <a:solidFill>
                <a:srgbClr val="414141">
                  <a:alpha val="5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CD55529A-CD67-15FE-634D-1F56250E4E8A}"/>
                  </a:ext>
                </a:extLst>
              </p:cNvPr>
              <p:cNvSpPr/>
              <p:nvPr/>
            </p:nvSpPr>
            <p:spPr>
              <a:xfrm>
                <a:off x="7612051" y="2521198"/>
                <a:ext cx="1169108" cy="1169107"/>
              </a:xfrm>
              <a:custGeom>
                <a:avLst/>
                <a:gdLst>
                  <a:gd name="connsiteX0" fmla="*/ 0 w 1169108"/>
                  <a:gd name="connsiteY0" fmla="*/ 584554 h 1169107"/>
                  <a:gd name="connsiteX1" fmla="*/ 584554 w 1169108"/>
                  <a:gd name="connsiteY1" fmla="*/ 0 h 1169107"/>
                  <a:gd name="connsiteX2" fmla="*/ 1169108 w 1169108"/>
                  <a:gd name="connsiteY2" fmla="*/ 584554 h 1169107"/>
                  <a:gd name="connsiteX3" fmla="*/ 584554 w 1169108"/>
                  <a:gd name="connsiteY3" fmla="*/ 1169108 h 1169107"/>
                  <a:gd name="connsiteX4" fmla="*/ 0 w 1169108"/>
                  <a:gd name="connsiteY4" fmla="*/ 584554 h 1169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9108" h="1169107">
                    <a:moveTo>
                      <a:pt x="0" y="584554"/>
                    </a:moveTo>
                    <a:cubicBezTo>
                      <a:pt x="0" y="261591"/>
                      <a:pt x="261592" y="0"/>
                      <a:pt x="584554" y="0"/>
                    </a:cubicBezTo>
                    <a:cubicBezTo>
                      <a:pt x="907517" y="0"/>
                      <a:pt x="1169108" y="261869"/>
                      <a:pt x="1169108" y="584554"/>
                    </a:cubicBezTo>
                    <a:cubicBezTo>
                      <a:pt x="1169108" y="907238"/>
                      <a:pt x="907517" y="1169108"/>
                      <a:pt x="584554" y="1169108"/>
                    </a:cubicBezTo>
                    <a:cubicBezTo>
                      <a:pt x="261592" y="1169108"/>
                      <a:pt x="0" y="907238"/>
                      <a:pt x="0" y="584554"/>
                    </a:cubicBezTo>
                    <a:close/>
                  </a:path>
                </a:pathLst>
              </a:custGeom>
              <a:solidFill>
                <a:srgbClr val="3F3F3F">
                  <a:alpha val="5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6D49D78B-E294-0791-4028-2995EA37DB62}"/>
                  </a:ext>
                </a:extLst>
              </p:cNvPr>
              <p:cNvSpPr/>
              <p:nvPr/>
            </p:nvSpPr>
            <p:spPr>
              <a:xfrm>
                <a:off x="7614551" y="2523698"/>
                <a:ext cx="1164109" cy="1164109"/>
              </a:xfrm>
              <a:custGeom>
                <a:avLst/>
                <a:gdLst>
                  <a:gd name="connsiteX0" fmla="*/ 0 w 1164109"/>
                  <a:gd name="connsiteY0" fmla="*/ 582055 h 1164109"/>
                  <a:gd name="connsiteX1" fmla="*/ 582055 w 1164109"/>
                  <a:gd name="connsiteY1" fmla="*/ 0 h 1164109"/>
                  <a:gd name="connsiteX2" fmla="*/ 1164110 w 1164109"/>
                  <a:gd name="connsiteY2" fmla="*/ 582055 h 1164109"/>
                  <a:gd name="connsiteX3" fmla="*/ 582055 w 1164109"/>
                  <a:gd name="connsiteY3" fmla="*/ 1164109 h 1164109"/>
                  <a:gd name="connsiteX4" fmla="*/ 0 w 1164109"/>
                  <a:gd name="connsiteY4" fmla="*/ 582055 h 1164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64109" h="1164109">
                    <a:moveTo>
                      <a:pt x="0" y="582055"/>
                    </a:moveTo>
                    <a:cubicBezTo>
                      <a:pt x="0" y="260758"/>
                      <a:pt x="260481" y="0"/>
                      <a:pt x="582055" y="0"/>
                    </a:cubicBezTo>
                    <a:cubicBezTo>
                      <a:pt x="903629" y="0"/>
                      <a:pt x="1164110" y="260481"/>
                      <a:pt x="1164110" y="582055"/>
                    </a:cubicBezTo>
                    <a:cubicBezTo>
                      <a:pt x="1164110" y="903628"/>
                      <a:pt x="903629" y="1164109"/>
                      <a:pt x="582055" y="1164109"/>
                    </a:cubicBezTo>
                    <a:cubicBezTo>
                      <a:pt x="260481" y="1164109"/>
                      <a:pt x="0" y="903628"/>
                      <a:pt x="0" y="582055"/>
                    </a:cubicBezTo>
                    <a:close/>
                  </a:path>
                </a:pathLst>
              </a:custGeom>
              <a:solidFill>
                <a:srgbClr val="3D3D3D">
                  <a:alpha val="5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DA33A564-4B20-9682-C002-F6F9343C2B4D}"/>
                  </a:ext>
                </a:extLst>
              </p:cNvPr>
              <p:cNvSpPr/>
              <p:nvPr/>
            </p:nvSpPr>
            <p:spPr>
              <a:xfrm>
                <a:off x="7617050" y="2526197"/>
                <a:ext cx="1159111" cy="1159110"/>
              </a:xfrm>
              <a:custGeom>
                <a:avLst/>
                <a:gdLst>
                  <a:gd name="connsiteX0" fmla="*/ 0 w 1159111"/>
                  <a:gd name="connsiteY0" fmla="*/ 579555 h 1159110"/>
                  <a:gd name="connsiteX1" fmla="*/ 579556 w 1159111"/>
                  <a:gd name="connsiteY1" fmla="*/ 0 h 1159110"/>
                  <a:gd name="connsiteX2" fmla="*/ 1159111 w 1159111"/>
                  <a:gd name="connsiteY2" fmla="*/ 579555 h 1159110"/>
                  <a:gd name="connsiteX3" fmla="*/ 579556 w 1159111"/>
                  <a:gd name="connsiteY3" fmla="*/ 1159110 h 1159110"/>
                  <a:gd name="connsiteX4" fmla="*/ 0 w 1159111"/>
                  <a:gd name="connsiteY4" fmla="*/ 579555 h 1159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9111" h="1159110">
                    <a:moveTo>
                      <a:pt x="0" y="579555"/>
                    </a:moveTo>
                    <a:cubicBezTo>
                      <a:pt x="0" y="259647"/>
                      <a:pt x="259370" y="0"/>
                      <a:pt x="579556" y="0"/>
                    </a:cubicBezTo>
                    <a:cubicBezTo>
                      <a:pt x="899741" y="0"/>
                      <a:pt x="1159111" y="259370"/>
                      <a:pt x="1159111" y="579555"/>
                    </a:cubicBezTo>
                    <a:cubicBezTo>
                      <a:pt x="1159111" y="899741"/>
                      <a:pt x="899741" y="1159110"/>
                      <a:pt x="579556" y="1159110"/>
                    </a:cubicBezTo>
                    <a:cubicBezTo>
                      <a:pt x="259370" y="1159110"/>
                      <a:pt x="0" y="899741"/>
                      <a:pt x="0" y="579555"/>
                    </a:cubicBezTo>
                    <a:close/>
                  </a:path>
                </a:pathLst>
              </a:custGeom>
              <a:solidFill>
                <a:srgbClr val="3B3B3B">
                  <a:alpha val="5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CD5AD5EE-41B9-914E-DF56-17348912EE2A}"/>
                  </a:ext>
                </a:extLst>
              </p:cNvPr>
              <p:cNvSpPr/>
              <p:nvPr/>
            </p:nvSpPr>
            <p:spPr>
              <a:xfrm>
                <a:off x="7619827" y="2528974"/>
                <a:ext cx="1153557" cy="1153556"/>
              </a:xfrm>
              <a:custGeom>
                <a:avLst/>
                <a:gdLst>
                  <a:gd name="connsiteX0" fmla="*/ 0 w 1153557"/>
                  <a:gd name="connsiteY0" fmla="*/ 576778 h 1153556"/>
                  <a:gd name="connsiteX1" fmla="*/ 576779 w 1153557"/>
                  <a:gd name="connsiteY1" fmla="*/ 0 h 1153556"/>
                  <a:gd name="connsiteX2" fmla="*/ 1153557 w 1153557"/>
                  <a:gd name="connsiteY2" fmla="*/ 576778 h 1153556"/>
                  <a:gd name="connsiteX3" fmla="*/ 576779 w 1153557"/>
                  <a:gd name="connsiteY3" fmla="*/ 1153556 h 1153556"/>
                  <a:gd name="connsiteX4" fmla="*/ 0 w 1153557"/>
                  <a:gd name="connsiteY4" fmla="*/ 576778 h 1153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3557" h="1153556">
                    <a:moveTo>
                      <a:pt x="0" y="576778"/>
                    </a:moveTo>
                    <a:cubicBezTo>
                      <a:pt x="0" y="258259"/>
                      <a:pt x="258259" y="0"/>
                      <a:pt x="576779" y="0"/>
                    </a:cubicBezTo>
                    <a:cubicBezTo>
                      <a:pt x="895298" y="0"/>
                      <a:pt x="1153557" y="258259"/>
                      <a:pt x="1153557" y="576778"/>
                    </a:cubicBezTo>
                    <a:cubicBezTo>
                      <a:pt x="1153557" y="895297"/>
                      <a:pt x="895298" y="1153556"/>
                      <a:pt x="576779" y="1153556"/>
                    </a:cubicBezTo>
                    <a:cubicBezTo>
                      <a:pt x="258259" y="1153556"/>
                      <a:pt x="0" y="895297"/>
                      <a:pt x="0" y="576778"/>
                    </a:cubicBezTo>
                    <a:close/>
                  </a:path>
                </a:pathLst>
              </a:custGeom>
              <a:solidFill>
                <a:srgbClr val="393939">
                  <a:alpha val="5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E4048CF5-3198-8025-C0BD-AA72D840ACA1}"/>
                  </a:ext>
                </a:extLst>
              </p:cNvPr>
              <p:cNvSpPr/>
              <p:nvPr/>
            </p:nvSpPr>
            <p:spPr>
              <a:xfrm>
                <a:off x="7622326" y="2531473"/>
                <a:ext cx="1148558" cy="1148557"/>
              </a:xfrm>
              <a:custGeom>
                <a:avLst/>
                <a:gdLst>
                  <a:gd name="connsiteX0" fmla="*/ 0 w 1148558"/>
                  <a:gd name="connsiteY0" fmla="*/ 574279 h 1148557"/>
                  <a:gd name="connsiteX1" fmla="*/ 574279 w 1148558"/>
                  <a:gd name="connsiteY1" fmla="*/ 0 h 1148557"/>
                  <a:gd name="connsiteX2" fmla="*/ 1148558 w 1148558"/>
                  <a:gd name="connsiteY2" fmla="*/ 574279 h 1148557"/>
                  <a:gd name="connsiteX3" fmla="*/ 574279 w 1148558"/>
                  <a:gd name="connsiteY3" fmla="*/ 1148558 h 1148557"/>
                  <a:gd name="connsiteX4" fmla="*/ 0 w 1148558"/>
                  <a:gd name="connsiteY4" fmla="*/ 574279 h 1148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8558" h="1148557">
                    <a:moveTo>
                      <a:pt x="0" y="574279"/>
                    </a:moveTo>
                    <a:cubicBezTo>
                      <a:pt x="0" y="257148"/>
                      <a:pt x="257148" y="0"/>
                      <a:pt x="574279" y="0"/>
                    </a:cubicBezTo>
                    <a:cubicBezTo>
                      <a:pt x="891410" y="0"/>
                      <a:pt x="1148558" y="257148"/>
                      <a:pt x="1148558" y="574279"/>
                    </a:cubicBezTo>
                    <a:cubicBezTo>
                      <a:pt x="1148558" y="891410"/>
                      <a:pt x="891410" y="1148558"/>
                      <a:pt x="574279" y="1148558"/>
                    </a:cubicBezTo>
                    <a:cubicBezTo>
                      <a:pt x="257148" y="1148558"/>
                      <a:pt x="0" y="891410"/>
                      <a:pt x="0" y="574279"/>
                    </a:cubicBezTo>
                    <a:close/>
                  </a:path>
                </a:pathLst>
              </a:custGeom>
              <a:solidFill>
                <a:srgbClr val="373737">
                  <a:alpha val="5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F1D5C35B-0779-2FC4-C793-01FDF0B62F08}"/>
                  </a:ext>
                </a:extLst>
              </p:cNvPr>
              <p:cNvSpPr/>
              <p:nvPr/>
            </p:nvSpPr>
            <p:spPr>
              <a:xfrm>
                <a:off x="7624826" y="2533973"/>
                <a:ext cx="1143559" cy="1143559"/>
              </a:xfrm>
              <a:custGeom>
                <a:avLst/>
                <a:gdLst>
                  <a:gd name="connsiteX0" fmla="*/ 0 w 1143559"/>
                  <a:gd name="connsiteY0" fmla="*/ 571780 h 1143559"/>
                  <a:gd name="connsiteX1" fmla="*/ 571780 w 1143559"/>
                  <a:gd name="connsiteY1" fmla="*/ 0 h 1143559"/>
                  <a:gd name="connsiteX2" fmla="*/ 1143560 w 1143559"/>
                  <a:gd name="connsiteY2" fmla="*/ 571780 h 1143559"/>
                  <a:gd name="connsiteX3" fmla="*/ 571780 w 1143559"/>
                  <a:gd name="connsiteY3" fmla="*/ 1143559 h 1143559"/>
                  <a:gd name="connsiteX4" fmla="*/ 0 w 1143559"/>
                  <a:gd name="connsiteY4" fmla="*/ 571780 h 11435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559" h="1143559">
                    <a:moveTo>
                      <a:pt x="0" y="571780"/>
                    </a:moveTo>
                    <a:cubicBezTo>
                      <a:pt x="0" y="256037"/>
                      <a:pt x="256037" y="0"/>
                      <a:pt x="571780" y="0"/>
                    </a:cubicBezTo>
                    <a:cubicBezTo>
                      <a:pt x="887522" y="0"/>
                      <a:pt x="1143560" y="256037"/>
                      <a:pt x="1143560" y="571780"/>
                    </a:cubicBezTo>
                    <a:cubicBezTo>
                      <a:pt x="1143560" y="887522"/>
                      <a:pt x="887522" y="1143559"/>
                      <a:pt x="571780" y="1143559"/>
                    </a:cubicBezTo>
                    <a:cubicBezTo>
                      <a:pt x="256037" y="1143559"/>
                      <a:pt x="0" y="887522"/>
                      <a:pt x="0" y="571780"/>
                    </a:cubicBezTo>
                    <a:close/>
                  </a:path>
                </a:pathLst>
              </a:custGeom>
              <a:solidFill>
                <a:srgbClr val="353535">
                  <a:alpha val="5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925C5FCB-F223-C2F7-3618-541453B8FF3F}"/>
                  </a:ext>
                </a:extLst>
              </p:cNvPr>
              <p:cNvSpPr/>
              <p:nvPr/>
            </p:nvSpPr>
            <p:spPr>
              <a:xfrm>
                <a:off x="7627603" y="2536749"/>
                <a:ext cx="1138006" cy="1138005"/>
              </a:xfrm>
              <a:custGeom>
                <a:avLst/>
                <a:gdLst>
                  <a:gd name="connsiteX0" fmla="*/ 0 w 1138006"/>
                  <a:gd name="connsiteY0" fmla="*/ 569003 h 1138005"/>
                  <a:gd name="connsiteX1" fmla="*/ 569003 w 1138006"/>
                  <a:gd name="connsiteY1" fmla="*/ 0 h 1138005"/>
                  <a:gd name="connsiteX2" fmla="*/ 1138006 w 1138006"/>
                  <a:gd name="connsiteY2" fmla="*/ 569003 h 1138005"/>
                  <a:gd name="connsiteX3" fmla="*/ 569003 w 1138006"/>
                  <a:gd name="connsiteY3" fmla="*/ 1138005 h 1138005"/>
                  <a:gd name="connsiteX4" fmla="*/ 0 w 1138006"/>
                  <a:gd name="connsiteY4" fmla="*/ 569003 h 1138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8006" h="1138005">
                    <a:moveTo>
                      <a:pt x="0" y="569003"/>
                    </a:moveTo>
                    <a:cubicBezTo>
                      <a:pt x="0" y="254649"/>
                      <a:pt x="254927" y="0"/>
                      <a:pt x="569003" y="0"/>
                    </a:cubicBezTo>
                    <a:cubicBezTo>
                      <a:pt x="883079" y="0"/>
                      <a:pt x="1138006" y="254927"/>
                      <a:pt x="1138006" y="569003"/>
                    </a:cubicBezTo>
                    <a:cubicBezTo>
                      <a:pt x="1138006" y="883079"/>
                      <a:pt x="883079" y="1138005"/>
                      <a:pt x="569003" y="1138005"/>
                    </a:cubicBezTo>
                    <a:cubicBezTo>
                      <a:pt x="254927" y="1138005"/>
                      <a:pt x="0" y="883079"/>
                      <a:pt x="0" y="569003"/>
                    </a:cubicBezTo>
                    <a:close/>
                  </a:path>
                </a:pathLst>
              </a:custGeom>
              <a:solidFill>
                <a:srgbClr val="333333">
                  <a:alpha val="5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950F9840-2831-48D3-BD36-0B5D3B08E579}"/>
                  </a:ext>
                </a:extLst>
              </p:cNvPr>
              <p:cNvSpPr/>
              <p:nvPr/>
            </p:nvSpPr>
            <p:spPr>
              <a:xfrm>
                <a:off x="7630102" y="2539249"/>
                <a:ext cx="1133007" cy="1133006"/>
              </a:xfrm>
              <a:custGeom>
                <a:avLst/>
                <a:gdLst>
                  <a:gd name="connsiteX0" fmla="*/ 0 w 1133007"/>
                  <a:gd name="connsiteY0" fmla="*/ 566503 h 1133006"/>
                  <a:gd name="connsiteX1" fmla="*/ 566504 w 1133007"/>
                  <a:gd name="connsiteY1" fmla="*/ 0 h 1133006"/>
                  <a:gd name="connsiteX2" fmla="*/ 1133007 w 1133007"/>
                  <a:gd name="connsiteY2" fmla="*/ 566503 h 1133006"/>
                  <a:gd name="connsiteX3" fmla="*/ 566504 w 1133007"/>
                  <a:gd name="connsiteY3" fmla="*/ 1133007 h 1133006"/>
                  <a:gd name="connsiteX4" fmla="*/ 0 w 1133007"/>
                  <a:gd name="connsiteY4" fmla="*/ 566503 h 1133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3007" h="1133006">
                    <a:moveTo>
                      <a:pt x="0" y="566503"/>
                    </a:moveTo>
                    <a:cubicBezTo>
                      <a:pt x="0" y="253538"/>
                      <a:pt x="253538" y="0"/>
                      <a:pt x="566504" y="0"/>
                    </a:cubicBezTo>
                    <a:cubicBezTo>
                      <a:pt x="879469" y="0"/>
                      <a:pt x="1133007" y="253538"/>
                      <a:pt x="1133007" y="566503"/>
                    </a:cubicBezTo>
                    <a:cubicBezTo>
                      <a:pt x="1133007" y="879469"/>
                      <a:pt x="879469" y="1133007"/>
                      <a:pt x="566504" y="1133007"/>
                    </a:cubicBezTo>
                    <a:cubicBezTo>
                      <a:pt x="253538" y="1133007"/>
                      <a:pt x="0" y="879469"/>
                      <a:pt x="0" y="566503"/>
                    </a:cubicBezTo>
                    <a:close/>
                  </a:path>
                </a:pathLst>
              </a:custGeom>
              <a:solidFill>
                <a:srgbClr val="303030">
                  <a:alpha val="5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BF5FBF1C-1A5A-7076-CC3E-6B61A1865659}"/>
                  </a:ext>
                </a:extLst>
              </p:cNvPr>
              <p:cNvSpPr/>
              <p:nvPr/>
            </p:nvSpPr>
            <p:spPr>
              <a:xfrm>
                <a:off x="7632601" y="2541748"/>
                <a:ext cx="1128008" cy="1128008"/>
              </a:xfrm>
              <a:custGeom>
                <a:avLst/>
                <a:gdLst>
                  <a:gd name="connsiteX0" fmla="*/ 0 w 1128008"/>
                  <a:gd name="connsiteY0" fmla="*/ 564004 h 1128008"/>
                  <a:gd name="connsiteX1" fmla="*/ 564004 w 1128008"/>
                  <a:gd name="connsiteY1" fmla="*/ 0 h 1128008"/>
                  <a:gd name="connsiteX2" fmla="*/ 1128009 w 1128008"/>
                  <a:gd name="connsiteY2" fmla="*/ 564004 h 1128008"/>
                  <a:gd name="connsiteX3" fmla="*/ 564004 w 1128008"/>
                  <a:gd name="connsiteY3" fmla="*/ 1128008 h 1128008"/>
                  <a:gd name="connsiteX4" fmla="*/ 0 w 1128008"/>
                  <a:gd name="connsiteY4" fmla="*/ 564004 h 1128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8008" h="1128008">
                    <a:moveTo>
                      <a:pt x="0" y="564004"/>
                    </a:moveTo>
                    <a:cubicBezTo>
                      <a:pt x="0" y="252427"/>
                      <a:pt x="252427" y="0"/>
                      <a:pt x="564004" y="0"/>
                    </a:cubicBezTo>
                    <a:cubicBezTo>
                      <a:pt x="875582" y="0"/>
                      <a:pt x="1128009" y="252427"/>
                      <a:pt x="1128009" y="564004"/>
                    </a:cubicBezTo>
                    <a:cubicBezTo>
                      <a:pt x="1128009" y="875581"/>
                      <a:pt x="875582" y="1128008"/>
                      <a:pt x="564004" y="1128008"/>
                    </a:cubicBezTo>
                    <a:cubicBezTo>
                      <a:pt x="252427" y="1128008"/>
                      <a:pt x="0" y="875581"/>
                      <a:pt x="0" y="564004"/>
                    </a:cubicBezTo>
                    <a:close/>
                  </a:path>
                </a:pathLst>
              </a:custGeom>
              <a:solidFill>
                <a:srgbClr val="2E2E2E">
                  <a:alpha val="5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4EC22454-28B5-CD99-0DDB-60A27BE4BF0F}"/>
                  </a:ext>
                </a:extLst>
              </p:cNvPr>
              <p:cNvSpPr/>
              <p:nvPr/>
            </p:nvSpPr>
            <p:spPr>
              <a:xfrm>
                <a:off x="7635100" y="2544247"/>
                <a:ext cx="1123010" cy="1123009"/>
              </a:xfrm>
              <a:custGeom>
                <a:avLst/>
                <a:gdLst>
                  <a:gd name="connsiteX0" fmla="*/ 0 w 1123010"/>
                  <a:gd name="connsiteY0" fmla="*/ 561505 h 1123009"/>
                  <a:gd name="connsiteX1" fmla="*/ 561505 w 1123010"/>
                  <a:gd name="connsiteY1" fmla="*/ 0 h 1123009"/>
                  <a:gd name="connsiteX2" fmla="*/ 1123011 w 1123010"/>
                  <a:gd name="connsiteY2" fmla="*/ 561505 h 1123009"/>
                  <a:gd name="connsiteX3" fmla="*/ 561505 w 1123010"/>
                  <a:gd name="connsiteY3" fmla="*/ 1123010 h 1123009"/>
                  <a:gd name="connsiteX4" fmla="*/ 0 w 1123010"/>
                  <a:gd name="connsiteY4" fmla="*/ 561505 h 1123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3010" h="1123009">
                    <a:moveTo>
                      <a:pt x="0" y="561505"/>
                    </a:moveTo>
                    <a:cubicBezTo>
                      <a:pt x="0" y="251316"/>
                      <a:pt x="251317" y="0"/>
                      <a:pt x="561505" y="0"/>
                    </a:cubicBezTo>
                    <a:cubicBezTo>
                      <a:pt x="871694" y="0"/>
                      <a:pt x="1123011" y="251316"/>
                      <a:pt x="1123011" y="561505"/>
                    </a:cubicBezTo>
                    <a:cubicBezTo>
                      <a:pt x="1123011" y="871693"/>
                      <a:pt x="871694" y="1123010"/>
                      <a:pt x="561505" y="1123010"/>
                    </a:cubicBezTo>
                    <a:cubicBezTo>
                      <a:pt x="251317" y="1123010"/>
                      <a:pt x="0" y="871693"/>
                      <a:pt x="0" y="561505"/>
                    </a:cubicBezTo>
                    <a:close/>
                  </a:path>
                </a:pathLst>
              </a:custGeom>
              <a:solidFill>
                <a:srgbClr val="2C2C2C">
                  <a:alpha val="5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14FEE208-21F9-0CF3-4743-CD383BA2FE8F}"/>
                  </a:ext>
                </a:extLst>
              </p:cNvPr>
              <p:cNvSpPr/>
              <p:nvPr/>
            </p:nvSpPr>
            <p:spPr>
              <a:xfrm>
                <a:off x="7637877" y="2547024"/>
                <a:ext cx="1117456" cy="1117455"/>
              </a:xfrm>
              <a:custGeom>
                <a:avLst/>
                <a:gdLst>
                  <a:gd name="connsiteX0" fmla="*/ 0 w 1117456"/>
                  <a:gd name="connsiteY0" fmla="*/ 558728 h 1117455"/>
                  <a:gd name="connsiteX1" fmla="*/ 558728 w 1117456"/>
                  <a:gd name="connsiteY1" fmla="*/ 0 h 1117455"/>
                  <a:gd name="connsiteX2" fmla="*/ 1117456 w 1117456"/>
                  <a:gd name="connsiteY2" fmla="*/ 558728 h 1117455"/>
                  <a:gd name="connsiteX3" fmla="*/ 558728 w 1117456"/>
                  <a:gd name="connsiteY3" fmla="*/ 1117456 h 1117455"/>
                  <a:gd name="connsiteX4" fmla="*/ 0 w 1117456"/>
                  <a:gd name="connsiteY4" fmla="*/ 558728 h 1117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7456" h="1117455">
                    <a:moveTo>
                      <a:pt x="0" y="558728"/>
                    </a:moveTo>
                    <a:cubicBezTo>
                      <a:pt x="0" y="250206"/>
                      <a:pt x="250206" y="0"/>
                      <a:pt x="558728" y="0"/>
                    </a:cubicBezTo>
                    <a:cubicBezTo>
                      <a:pt x="867251" y="0"/>
                      <a:pt x="1117456" y="250206"/>
                      <a:pt x="1117456" y="558728"/>
                    </a:cubicBezTo>
                    <a:cubicBezTo>
                      <a:pt x="1117456" y="867250"/>
                      <a:pt x="867251" y="1117456"/>
                      <a:pt x="558728" y="1117456"/>
                    </a:cubicBezTo>
                    <a:cubicBezTo>
                      <a:pt x="250206" y="1117456"/>
                      <a:pt x="0" y="867250"/>
                      <a:pt x="0" y="558728"/>
                    </a:cubicBezTo>
                    <a:close/>
                  </a:path>
                </a:pathLst>
              </a:custGeom>
              <a:solidFill>
                <a:srgbClr val="2A2A2A">
                  <a:alpha val="5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D2CD335B-EA42-AC7F-B95C-20265EC8C06E}"/>
                  </a:ext>
                </a:extLst>
              </p:cNvPr>
              <p:cNvSpPr/>
              <p:nvPr/>
            </p:nvSpPr>
            <p:spPr>
              <a:xfrm>
                <a:off x="7640377" y="2549524"/>
                <a:ext cx="1112457" cy="1112457"/>
              </a:xfrm>
              <a:custGeom>
                <a:avLst/>
                <a:gdLst>
                  <a:gd name="connsiteX0" fmla="*/ 0 w 1112457"/>
                  <a:gd name="connsiteY0" fmla="*/ 556229 h 1112457"/>
                  <a:gd name="connsiteX1" fmla="*/ 556229 w 1112457"/>
                  <a:gd name="connsiteY1" fmla="*/ 0 h 1112457"/>
                  <a:gd name="connsiteX2" fmla="*/ 1112458 w 1112457"/>
                  <a:gd name="connsiteY2" fmla="*/ 556229 h 1112457"/>
                  <a:gd name="connsiteX3" fmla="*/ 556229 w 1112457"/>
                  <a:gd name="connsiteY3" fmla="*/ 1112457 h 1112457"/>
                  <a:gd name="connsiteX4" fmla="*/ 0 w 1112457"/>
                  <a:gd name="connsiteY4" fmla="*/ 556229 h 1112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12457" h="1112457">
                    <a:moveTo>
                      <a:pt x="0" y="556229"/>
                    </a:moveTo>
                    <a:cubicBezTo>
                      <a:pt x="0" y="249095"/>
                      <a:pt x="249095" y="0"/>
                      <a:pt x="556229" y="0"/>
                    </a:cubicBezTo>
                    <a:cubicBezTo>
                      <a:pt x="863363" y="0"/>
                      <a:pt x="1112458" y="249095"/>
                      <a:pt x="1112458" y="556229"/>
                    </a:cubicBezTo>
                    <a:cubicBezTo>
                      <a:pt x="1112458" y="863362"/>
                      <a:pt x="863363" y="1112457"/>
                      <a:pt x="556229" y="1112457"/>
                    </a:cubicBezTo>
                    <a:cubicBezTo>
                      <a:pt x="249095" y="1112457"/>
                      <a:pt x="0" y="863362"/>
                      <a:pt x="0" y="556229"/>
                    </a:cubicBezTo>
                    <a:close/>
                  </a:path>
                </a:pathLst>
              </a:custGeom>
              <a:solidFill>
                <a:srgbClr val="282828">
                  <a:alpha val="5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DEF9ABEF-A204-BA41-0337-2C0072294461}"/>
                  </a:ext>
                </a:extLst>
              </p:cNvPr>
              <p:cNvSpPr/>
              <p:nvPr/>
            </p:nvSpPr>
            <p:spPr>
              <a:xfrm>
                <a:off x="7642876" y="2552023"/>
                <a:ext cx="1107459" cy="1107458"/>
              </a:xfrm>
              <a:custGeom>
                <a:avLst/>
                <a:gdLst>
                  <a:gd name="connsiteX0" fmla="*/ 0 w 1107459"/>
                  <a:gd name="connsiteY0" fmla="*/ 553729 h 1107458"/>
                  <a:gd name="connsiteX1" fmla="*/ 553730 w 1107459"/>
                  <a:gd name="connsiteY1" fmla="*/ 0 h 1107458"/>
                  <a:gd name="connsiteX2" fmla="*/ 1107459 w 1107459"/>
                  <a:gd name="connsiteY2" fmla="*/ 553729 h 1107458"/>
                  <a:gd name="connsiteX3" fmla="*/ 553730 w 1107459"/>
                  <a:gd name="connsiteY3" fmla="*/ 1107459 h 1107458"/>
                  <a:gd name="connsiteX4" fmla="*/ 0 w 1107459"/>
                  <a:gd name="connsiteY4" fmla="*/ 553729 h 11074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7459" h="1107458">
                    <a:moveTo>
                      <a:pt x="0" y="553729"/>
                    </a:moveTo>
                    <a:cubicBezTo>
                      <a:pt x="0" y="247984"/>
                      <a:pt x="247984" y="0"/>
                      <a:pt x="553730" y="0"/>
                    </a:cubicBezTo>
                    <a:cubicBezTo>
                      <a:pt x="859475" y="0"/>
                      <a:pt x="1107459" y="247984"/>
                      <a:pt x="1107459" y="553729"/>
                    </a:cubicBezTo>
                    <a:cubicBezTo>
                      <a:pt x="1107459" y="859474"/>
                      <a:pt x="859475" y="1107459"/>
                      <a:pt x="553730" y="1107459"/>
                    </a:cubicBezTo>
                    <a:cubicBezTo>
                      <a:pt x="247984" y="1107459"/>
                      <a:pt x="0" y="859474"/>
                      <a:pt x="0" y="553729"/>
                    </a:cubicBezTo>
                    <a:close/>
                  </a:path>
                </a:pathLst>
              </a:custGeom>
              <a:solidFill>
                <a:srgbClr val="262626">
                  <a:alpha val="6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00787E18-D380-CEA1-A568-8B1CF0EB09CF}"/>
                  </a:ext>
                </a:extLst>
              </p:cNvPr>
              <p:cNvSpPr/>
              <p:nvPr/>
            </p:nvSpPr>
            <p:spPr>
              <a:xfrm>
                <a:off x="7645653" y="2554522"/>
                <a:ext cx="1101905" cy="1102182"/>
              </a:xfrm>
              <a:custGeom>
                <a:avLst/>
                <a:gdLst>
                  <a:gd name="connsiteX0" fmla="*/ 0 w 1101905"/>
                  <a:gd name="connsiteY0" fmla="*/ 551230 h 1102182"/>
                  <a:gd name="connsiteX1" fmla="*/ 550953 w 1101905"/>
                  <a:gd name="connsiteY1" fmla="*/ 0 h 1102182"/>
                  <a:gd name="connsiteX2" fmla="*/ 1101905 w 1101905"/>
                  <a:gd name="connsiteY2" fmla="*/ 551230 h 1102182"/>
                  <a:gd name="connsiteX3" fmla="*/ 550953 w 1101905"/>
                  <a:gd name="connsiteY3" fmla="*/ 1102182 h 1102182"/>
                  <a:gd name="connsiteX4" fmla="*/ 0 w 1101905"/>
                  <a:gd name="connsiteY4" fmla="*/ 551230 h 1102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01905" h="1102182">
                    <a:moveTo>
                      <a:pt x="0" y="551230"/>
                    </a:moveTo>
                    <a:cubicBezTo>
                      <a:pt x="0" y="246873"/>
                      <a:pt x="246596" y="0"/>
                      <a:pt x="550953" y="0"/>
                    </a:cubicBezTo>
                    <a:cubicBezTo>
                      <a:pt x="855310" y="0"/>
                      <a:pt x="1101905" y="246873"/>
                      <a:pt x="1101905" y="551230"/>
                    </a:cubicBezTo>
                    <a:cubicBezTo>
                      <a:pt x="1101905" y="855587"/>
                      <a:pt x="855310" y="1102182"/>
                      <a:pt x="550953" y="1102182"/>
                    </a:cubicBezTo>
                    <a:cubicBezTo>
                      <a:pt x="246596" y="1102182"/>
                      <a:pt x="0" y="855309"/>
                      <a:pt x="0" y="551230"/>
                    </a:cubicBezTo>
                    <a:close/>
                  </a:path>
                </a:pathLst>
              </a:custGeom>
              <a:solidFill>
                <a:srgbClr val="242424">
                  <a:alpha val="6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BD8AECF6-BDEA-3523-5667-63EEDF778E3A}"/>
                  </a:ext>
                </a:extLst>
              </p:cNvPr>
              <p:cNvSpPr/>
              <p:nvPr/>
            </p:nvSpPr>
            <p:spPr>
              <a:xfrm>
                <a:off x="7648152" y="2557299"/>
                <a:ext cx="1096906" cy="1096906"/>
              </a:xfrm>
              <a:custGeom>
                <a:avLst/>
                <a:gdLst>
                  <a:gd name="connsiteX0" fmla="*/ 0 w 1096906"/>
                  <a:gd name="connsiteY0" fmla="*/ 548453 h 1096906"/>
                  <a:gd name="connsiteX1" fmla="*/ 548453 w 1096906"/>
                  <a:gd name="connsiteY1" fmla="*/ 0 h 1096906"/>
                  <a:gd name="connsiteX2" fmla="*/ 1096907 w 1096906"/>
                  <a:gd name="connsiteY2" fmla="*/ 548453 h 1096906"/>
                  <a:gd name="connsiteX3" fmla="*/ 548453 w 1096906"/>
                  <a:gd name="connsiteY3" fmla="*/ 1096906 h 1096906"/>
                  <a:gd name="connsiteX4" fmla="*/ 0 w 1096906"/>
                  <a:gd name="connsiteY4" fmla="*/ 548453 h 1096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6906" h="1096906">
                    <a:moveTo>
                      <a:pt x="0" y="548453"/>
                    </a:moveTo>
                    <a:cubicBezTo>
                      <a:pt x="0" y="245485"/>
                      <a:pt x="245485" y="0"/>
                      <a:pt x="548453" y="0"/>
                    </a:cubicBezTo>
                    <a:cubicBezTo>
                      <a:pt x="851422" y="0"/>
                      <a:pt x="1096907" y="245485"/>
                      <a:pt x="1096907" y="548453"/>
                    </a:cubicBezTo>
                    <a:cubicBezTo>
                      <a:pt x="1096907" y="851421"/>
                      <a:pt x="851422" y="1096906"/>
                      <a:pt x="548453" y="1096906"/>
                    </a:cubicBezTo>
                    <a:cubicBezTo>
                      <a:pt x="245485" y="1096906"/>
                      <a:pt x="0" y="851421"/>
                      <a:pt x="0" y="548453"/>
                    </a:cubicBezTo>
                    <a:close/>
                  </a:path>
                </a:pathLst>
              </a:custGeom>
              <a:solidFill>
                <a:srgbClr val="222222">
                  <a:alpha val="6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BD3ECF5E-FFA8-0E74-2029-4D3DA5B1E020}"/>
                  </a:ext>
                </a:extLst>
              </p:cNvPr>
              <p:cNvSpPr/>
              <p:nvPr/>
            </p:nvSpPr>
            <p:spPr>
              <a:xfrm>
                <a:off x="7650651" y="2559798"/>
                <a:ext cx="1091908" cy="1091907"/>
              </a:xfrm>
              <a:custGeom>
                <a:avLst/>
                <a:gdLst>
                  <a:gd name="connsiteX0" fmla="*/ 0 w 1091908"/>
                  <a:gd name="connsiteY0" fmla="*/ 545954 h 1091907"/>
                  <a:gd name="connsiteX1" fmla="*/ 545954 w 1091908"/>
                  <a:gd name="connsiteY1" fmla="*/ 0 h 1091907"/>
                  <a:gd name="connsiteX2" fmla="*/ 1091908 w 1091908"/>
                  <a:gd name="connsiteY2" fmla="*/ 545954 h 1091907"/>
                  <a:gd name="connsiteX3" fmla="*/ 545954 w 1091908"/>
                  <a:gd name="connsiteY3" fmla="*/ 1091908 h 1091907"/>
                  <a:gd name="connsiteX4" fmla="*/ 0 w 1091908"/>
                  <a:gd name="connsiteY4" fmla="*/ 545954 h 1091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1908" h="1091907">
                    <a:moveTo>
                      <a:pt x="0" y="545954"/>
                    </a:moveTo>
                    <a:cubicBezTo>
                      <a:pt x="0" y="244374"/>
                      <a:pt x="244374" y="0"/>
                      <a:pt x="545954" y="0"/>
                    </a:cubicBezTo>
                    <a:cubicBezTo>
                      <a:pt x="847534" y="0"/>
                      <a:pt x="1091908" y="244374"/>
                      <a:pt x="1091908" y="545954"/>
                    </a:cubicBezTo>
                    <a:cubicBezTo>
                      <a:pt x="1091908" y="847533"/>
                      <a:pt x="847534" y="1091908"/>
                      <a:pt x="545954" y="1091908"/>
                    </a:cubicBezTo>
                    <a:cubicBezTo>
                      <a:pt x="244374" y="1091908"/>
                      <a:pt x="0" y="847533"/>
                      <a:pt x="0" y="545954"/>
                    </a:cubicBezTo>
                    <a:close/>
                  </a:path>
                </a:pathLst>
              </a:custGeom>
              <a:solidFill>
                <a:srgbClr val="202020">
                  <a:alpha val="61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4D5C4817-4E11-8E58-2762-0B8DEC051A3E}"/>
                  </a:ext>
                </a:extLst>
              </p:cNvPr>
              <p:cNvSpPr/>
              <p:nvPr/>
            </p:nvSpPr>
            <p:spPr>
              <a:xfrm>
                <a:off x="7653151" y="2562298"/>
                <a:ext cx="1086909" cy="1086908"/>
              </a:xfrm>
              <a:custGeom>
                <a:avLst/>
                <a:gdLst>
                  <a:gd name="connsiteX0" fmla="*/ 0 w 1086909"/>
                  <a:gd name="connsiteY0" fmla="*/ 543454 h 1086908"/>
                  <a:gd name="connsiteX1" fmla="*/ 543455 w 1086909"/>
                  <a:gd name="connsiteY1" fmla="*/ 0 h 1086908"/>
                  <a:gd name="connsiteX2" fmla="*/ 1086910 w 1086909"/>
                  <a:gd name="connsiteY2" fmla="*/ 543454 h 1086908"/>
                  <a:gd name="connsiteX3" fmla="*/ 543455 w 1086909"/>
                  <a:gd name="connsiteY3" fmla="*/ 1086909 h 1086908"/>
                  <a:gd name="connsiteX4" fmla="*/ 0 w 1086909"/>
                  <a:gd name="connsiteY4" fmla="*/ 543454 h 1086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6909" h="1086908">
                    <a:moveTo>
                      <a:pt x="0" y="543454"/>
                    </a:moveTo>
                    <a:cubicBezTo>
                      <a:pt x="0" y="243263"/>
                      <a:pt x="243263" y="0"/>
                      <a:pt x="543455" y="0"/>
                    </a:cubicBezTo>
                    <a:cubicBezTo>
                      <a:pt x="843646" y="0"/>
                      <a:pt x="1086910" y="243263"/>
                      <a:pt x="1086910" y="543454"/>
                    </a:cubicBezTo>
                    <a:cubicBezTo>
                      <a:pt x="1086910" y="843646"/>
                      <a:pt x="843646" y="1086909"/>
                      <a:pt x="543455" y="1086909"/>
                    </a:cubicBezTo>
                    <a:cubicBezTo>
                      <a:pt x="243263" y="1086909"/>
                      <a:pt x="0" y="843646"/>
                      <a:pt x="0" y="543454"/>
                    </a:cubicBezTo>
                    <a:close/>
                  </a:path>
                </a:pathLst>
              </a:custGeom>
              <a:solidFill>
                <a:srgbClr val="1E1E1E">
                  <a:alpha val="6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66A4D950-C8D3-1888-904F-BBF02B4E83DD}"/>
                  </a:ext>
                </a:extLst>
              </p:cNvPr>
              <p:cNvSpPr/>
              <p:nvPr/>
            </p:nvSpPr>
            <p:spPr>
              <a:xfrm>
                <a:off x="7655928" y="2565075"/>
                <a:ext cx="1081355" cy="1081354"/>
              </a:xfrm>
              <a:custGeom>
                <a:avLst/>
                <a:gdLst>
                  <a:gd name="connsiteX0" fmla="*/ 0 w 1081355"/>
                  <a:gd name="connsiteY0" fmla="*/ 540678 h 1081354"/>
                  <a:gd name="connsiteX1" fmla="*/ 540678 w 1081355"/>
                  <a:gd name="connsiteY1" fmla="*/ 0 h 1081354"/>
                  <a:gd name="connsiteX2" fmla="*/ 1081356 w 1081355"/>
                  <a:gd name="connsiteY2" fmla="*/ 540678 h 1081354"/>
                  <a:gd name="connsiteX3" fmla="*/ 540678 w 1081355"/>
                  <a:gd name="connsiteY3" fmla="*/ 1081355 h 1081354"/>
                  <a:gd name="connsiteX4" fmla="*/ 0 w 1081355"/>
                  <a:gd name="connsiteY4" fmla="*/ 540678 h 1081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1355" h="1081354">
                    <a:moveTo>
                      <a:pt x="0" y="540678"/>
                    </a:moveTo>
                    <a:cubicBezTo>
                      <a:pt x="0" y="241875"/>
                      <a:pt x="242153" y="0"/>
                      <a:pt x="540678" y="0"/>
                    </a:cubicBezTo>
                    <a:cubicBezTo>
                      <a:pt x="839203" y="0"/>
                      <a:pt x="1081356" y="242152"/>
                      <a:pt x="1081356" y="540678"/>
                    </a:cubicBezTo>
                    <a:cubicBezTo>
                      <a:pt x="1081356" y="839203"/>
                      <a:pt x="839203" y="1081355"/>
                      <a:pt x="540678" y="1081355"/>
                    </a:cubicBezTo>
                    <a:cubicBezTo>
                      <a:pt x="242153" y="1081355"/>
                      <a:pt x="0" y="839203"/>
                      <a:pt x="0" y="540678"/>
                    </a:cubicBezTo>
                    <a:close/>
                  </a:path>
                </a:pathLst>
              </a:custGeom>
              <a:solidFill>
                <a:srgbClr val="1B1B1B">
                  <a:alpha val="62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1EE645D6-587B-F3B5-8685-69929F4EEFAA}"/>
                  </a:ext>
                </a:extLst>
              </p:cNvPr>
              <p:cNvSpPr/>
              <p:nvPr/>
            </p:nvSpPr>
            <p:spPr>
              <a:xfrm>
                <a:off x="7658427" y="2567574"/>
                <a:ext cx="1076357" cy="1076356"/>
              </a:xfrm>
              <a:custGeom>
                <a:avLst/>
                <a:gdLst>
                  <a:gd name="connsiteX0" fmla="*/ 0 w 1076357"/>
                  <a:gd name="connsiteY0" fmla="*/ 538178 h 1076356"/>
                  <a:gd name="connsiteX1" fmla="*/ 538179 w 1076357"/>
                  <a:gd name="connsiteY1" fmla="*/ 0 h 1076356"/>
                  <a:gd name="connsiteX2" fmla="*/ 1076357 w 1076357"/>
                  <a:gd name="connsiteY2" fmla="*/ 538178 h 1076356"/>
                  <a:gd name="connsiteX3" fmla="*/ 538179 w 1076357"/>
                  <a:gd name="connsiteY3" fmla="*/ 1076357 h 1076356"/>
                  <a:gd name="connsiteX4" fmla="*/ 0 w 1076357"/>
                  <a:gd name="connsiteY4" fmla="*/ 538178 h 1076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6357" h="1076356">
                    <a:moveTo>
                      <a:pt x="0" y="538178"/>
                    </a:moveTo>
                    <a:cubicBezTo>
                      <a:pt x="0" y="241042"/>
                      <a:pt x="241042" y="0"/>
                      <a:pt x="538179" y="0"/>
                    </a:cubicBezTo>
                    <a:cubicBezTo>
                      <a:pt x="835315" y="0"/>
                      <a:pt x="1076357" y="241042"/>
                      <a:pt x="1076357" y="538178"/>
                    </a:cubicBezTo>
                    <a:cubicBezTo>
                      <a:pt x="1076357" y="835315"/>
                      <a:pt x="835315" y="1076357"/>
                      <a:pt x="538179" y="1076357"/>
                    </a:cubicBezTo>
                    <a:cubicBezTo>
                      <a:pt x="241042" y="1076357"/>
                      <a:pt x="0" y="835315"/>
                      <a:pt x="0" y="538178"/>
                    </a:cubicBezTo>
                    <a:close/>
                  </a:path>
                </a:pathLst>
              </a:custGeom>
              <a:solidFill>
                <a:srgbClr val="191919">
                  <a:alpha val="63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A1903BD0-55CD-7718-346F-996A46D234ED}"/>
                  </a:ext>
                </a:extLst>
              </p:cNvPr>
              <p:cNvSpPr/>
              <p:nvPr/>
            </p:nvSpPr>
            <p:spPr>
              <a:xfrm>
                <a:off x="7660926" y="2570073"/>
                <a:ext cx="1071358" cy="1071357"/>
              </a:xfrm>
              <a:custGeom>
                <a:avLst/>
                <a:gdLst>
                  <a:gd name="connsiteX0" fmla="*/ 0 w 1071358"/>
                  <a:gd name="connsiteY0" fmla="*/ 535679 h 1071357"/>
                  <a:gd name="connsiteX1" fmla="*/ 535679 w 1071358"/>
                  <a:gd name="connsiteY1" fmla="*/ 0 h 1071357"/>
                  <a:gd name="connsiteX2" fmla="*/ 1071358 w 1071358"/>
                  <a:gd name="connsiteY2" fmla="*/ 535679 h 1071357"/>
                  <a:gd name="connsiteX3" fmla="*/ 535679 w 1071358"/>
                  <a:gd name="connsiteY3" fmla="*/ 1071358 h 1071357"/>
                  <a:gd name="connsiteX4" fmla="*/ 0 w 1071358"/>
                  <a:gd name="connsiteY4" fmla="*/ 535679 h 1071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1358" h="1071357">
                    <a:moveTo>
                      <a:pt x="0" y="535679"/>
                    </a:moveTo>
                    <a:cubicBezTo>
                      <a:pt x="0" y="239931"/>
                      <a:pt x="239931" y="0"/>
                      <a:pt x="535679" y="0"/>
                    </a:cubicBezTo>
                    <a:cubicBezTo>
                      <a:pt x="831427" y="0"/>
                      <a:pt x="1071358" y="239931"/>
                      <a:pt x="1071358" y="535679"/>
                    </a:cubicBezTo>
                    <a:cubicBezTo>
                      <a:pt x="1071358" y="831427"/>
                      <a:pt x="831427" y="1071358"/>
                      <a:pt x="535679" y="1071358"/>
                    </a:cubicBezTo>
                    <a:cubicBezTo>
                      <a:pt x="239931" y="1071358"/>
                      <a:pt x="0" y="831427"/>
                      <a:pt x="0" y="535679"/>
                    </a:cubicBezTo>
                    <a:close/>
                  </a:path>
                </a:pathLst>
              </a:custGeom>
              <a:solidFill>
                <a:srgbClr val="171717">
                  <a:alpha val="6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E295FC19-8D96-391D-5C5E-BCD6E9DE2A9A}"/>
                  </a:ext>
                </a:extLst>
              </p:cNvPr>
              <p:cNvSpPr/>
              <p:nvPr/>
            </p:nvSpPr>
            <p:spPr>
              <a:xfrm>
                <a:off x="7663426" y="2572572"/>
                <a:ext cx="1066359" cy="1066359"/>
              </a:xfrm>
              <a:custGeom>
                <a:avLst/>
                <a:gdLst>
                  <a:gd name="connsiteX0" fmla="*/ 0 w 1066359"/>
                  <a:gd name="connsiteY0" fmla="*/ 533180 h 1066359"/>
                  <a:gd name="connsiteX1" fmla="*/ 533180 w 1066359"/>
                  <a:gd name="connsiteY1" fmla="*/ 0 h 1066359"/>
                  <a:gd name="connsiteX2" fmla="*/ 1066360 w 1066359"/>
                  <a:gd name="connsiteY2" fmla="*/ 533180 h 1066359"/>
                  <a:gd name="connsiteX3" fmla="*/ 533180 w 1066359"/>
                  <a:gd name="connsiteY3" fmla="*/ 1066359 h 1066359"/>
                  <a:gd name="connsiteX4" fmla="*/ 0 w 1066359"/>
                  <a:gd name="connsiteY4" fmla="*/ 533180 h 1066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6359" h="1066359">
                    <a:moveTo>
                      <a:pt x="0" y="533180"/>
                    </a:moveTo>
                    <a:cubicBezTo>
                      <a:pt x="0" y="238820"/>
                      <a:pt x="238542" y="0"/>
                      <a:pt x="533180" y="0"/>
                    </a:cubicBezTo>
                    <a:cubicBezTo>
                      <a:pt x="827817" y="0"/>
                      <a:pt x="1066360" y="238542"/>
                      <a:pt x="1066360" y="533180"/>
                    </a:cubicBezTo>
                    <a:cubicBezTo>
                      <a:pt x="1066360" y="827817"/>
                      <a:pt x="827817" y="1066359"/>
                      <a:pt x="533180" y="1066359"/>
                    </a:cubicBezTo>
                    <a:cubicBezTo>
                      <a:pt x="238542" y="1066359"/>
                      <a:pt x="0" y="827817"/>
                      <a:pt x="0" y="533180"/>
                    </a:cubicBezTo>
                    <a:close/>
                  </a:path>
                </a:pathLst>
              </a:custGeom>
              <a:solidFill>
                <a:srgbClr val="151515">
                  <a:alpha val="64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9CDE8503-23A1-2E2E-9CD0-A5194805B630}"/>
                  </a:ext>
                </a:extLst>
              </p:cNvPr>
              <p:cNvSpPr/>
              <p:nvPr/>
            </p:nvSpPr>
            <p:spPr>
              <a:xfrm>
                <a:off x="7666203" y="2575349"/>
                <a:ext cx="1060806" cy="1060805"/>
              </a:xfrm>
              <a:custGeom>
                <a:avLst/>
                <a:gdLst>
                  <a:gd name="connsiteX0" fmla="*/ 0 w 1060806"/>
                  <a:gd name="connsiteY0" fmla="*/ 530403 h 1060805"/>
                  <a:gd name="connsiteX1" fmla="*/ 530403 w 1060806"/>
                  <a:gd name="connsiteY1" fmla="*/ 0 h 1060805"/>
                  <a:gd name="connsiteX2" fmla="*/ 1060806 w 1060806"/>
                  <a:gd name="connsiteY2" fmla="*/ 530403 h 1060805"/>
                  <a:gd name="connsiteX3" fmla="*/ 530403 w 1060806"/>
                  <a:gd name="connsiteY3" fmla="*/ 1060806 h 1060805"/>
                  <a:gd name="connsiteX4" fmla="*/ 0 w 1060806"/>
                  <a:gd name="connsiteY4" fmla="*/ 530403 h 1060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60806" h="1060805">
                    <a:moveTo>
                      <a:pt x="0" y="530403"/>
                    </a:moveTo>
                    <a:cubicBezTo>
                      <a:pt x="0" y="237432"/>
                      <a:pt x="237432" y="0"/>
                      <a:pt x="530403" y="0"/>
                    </a:cubicBezTo>
                    <a:cubicBezTo>
                      <a:pt x="823374" y="0"/>
                      <a:pt x="1060806" y="237432"/>
                      <a:pt x="1060806" y="530403"/>
                    </a:cubicBezTo>
                    <a:cubicBezTo>
                      <a:pt x="1060806" y="823374"/>
                      <a:pt x="823374" y="1060806"/>
                      <a:pt x="530403" y="1060806"/>
                    </a:cubicBezTo>
                    <a:cubicBezTo>
                      <a:pt x="237432" y="1060806"/>
                      <a:pt x="0" y="823374"/>
                      <a:pt x="0" y="530403"/>
                    </a:cubicBezTo>
                    <a:close/>
                  </a:path>
                </a:pathLst>
              </a:custGeom>
              <a:solidFill>
                <a:srgbClr val="131313">
                  <a:alpha val="6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7C892C60-F786-077E-F019-38A4F783EBFE}"/>
                  </a:ext>
                </a:extLst>
              </p:cNvPr>
              <p:cNvSpPr/>
              <p:nvPr/>
            </p:nvSpPr>
            <p:spPr>
              <a:xfrm>
                <a:off x="7668702" y="2577849"/>
                <a:ext cx="1055807" cy="1055806"/>
              </a:xfrm>
              <a:custGeom>
                <a:avLst/>
                <a:gdLst>
                  <a:gd name="connsiteX0" fmla="*/ 0 w 1055807"/>
                  <a:gd name="connsiteY0" fmla="*/ 527903 h 1055806"/>
                  <a:gd name="connsiteX1" fmla="*/ 527904 w 1055807"/>
                  <a:gd name="connsiteY1" fmla="*/ 0 h 1055806"/>
                  <a:gd name="connsiteX2" fmla="*/ 1055807 w 1055807"/>
                  <a:gd name="connsiteY2" fmla="*/ 527903 h 1055806"/>
                  <a:gd name="connsiteX3" fmla="*/ 527904 w 1055807"/>
                  <a:gd name="connsiteY3" fmla="*/ 1055807 h 1055806"/>
                  <a:gd name="connsiteX4" fmla="*/ 0 w 1055807"/>
                  <a:gd name="connsiteY4" fmla="*/ 527903 h 1055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5807" h="1055806">
                    <a:moveTo>
                      <a:pt x="0" y="527903"/>
                    </a:moveTo>
                    <a:cubicBezTo>
                      <a:pt x="0" y="236321"/>
                      <a:pt x="236321" y="0"/>
                      <a:pt x="527904" y="0"/>
                    </a:cubicBezTo>
                    <a:cubicBezTo>
                      <a:pt x="819487" y="0"/>
                      <a:pt x="1055807" y="236321"/>
                      <a:pt x="1055807" y="527903"/>
                    </a:cubicBezTo>
                    <a:cubicBezTo>
                      <a:pt x="1055807" y="819486"/>
                      <a:pt x="819487" y="1055807"/>
                      <a:pt x="527904" y="1055807"/>
                    </a:cubicBezTo>
                    <a:cubicBezTo>
                      <a:pt x="236321" y="1055807"/>
                      <a:pt x="0" y="819486"/>
                      <a:pt x="0" y="527903"/>
                    </a:cubicBezTo>
                    <a:close/>
                  </a:path>
                </a:pathLst>
              </a:custGeom>
              <a:solidFill>
                <a:srgbClr val="111111">
                  <a:alpha val="65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C323F2B4-430B-6900-0BD4-854CF23CCC45}"/>
                  </a:ext>
                </a:extLst>
              </p:cNvPr>
              <p:cNvSpPr/>
              <p:nvPr/>
            </p:nvSpPr>
            <p:spPr>
              <a:xfrm>
                <a:off x="7671201" y="2580348"/>
                <a:ext cx="1050808" cy="1050808"/>
              </a:xfrm>
              <a:custGeom>
                <a:avLst/>
                <a:gdLst>
                  <a:gd name="connsiteX0" fmla="*/ 0 w 1050808"/>
                  <a:gd name="connsiteY0" fmla="*/ 525404 h 1050808"/>
                  <a:gd name="connsiteX1" fmla="*/ 525404 w 1050808"/>
                  <a:gd name="connsiteY1" fmla="*/ 0 h 1050808"/>
                  <a:gd name="connsiteX2" fmla="*/ 1050809 w 1050808"/>
                  <a:gd name="connsiteY2" fmla="*/ 525404 h 1050808"/>
                  <a:gd name="connsiteX3" fmla="*/ 525404 w 1050808"/>
                  <a:gd name="connsiteY3" fmla="*/ 1050808 h 1050808"/>
                  <a:gd name="connsiteX4" fmla="*/ 0 w 1050808"/>
                  <a:gd name="connsiteY4" fmla="*/ 525404 h 1050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0808" h="1050808">
                    <a:moveTo>
                      <a:pt x="0" y="525404"/>
                    </a:moveTo>
                    <a:cubicBezTo>
                      <a:pt x="0" y="235210"/>
                      <a:pt x="235210" y="0"/>
                      <a:pt x="525404" y="0"/>
                    </a:cubicBezTo>
                    <a:cubicBezTo>
                      <a:pt x="815599" y="0"/>
                      <a:pt x="1050809" y="235210"/>
                      <a:pt x="1050809" y="525404"/>
                    </a:cubicBezTo>
                    <a:cubicBezTo>
                      <a:pt x="1050809" y="815598"/>
                      <a:pt x="815599" y="1050808"/>
                      <a:pt x="525404" y="1050808"/>
                    </a:cubicBezTo>
                    <a:cubicBezTo>
                      <a:pt x="235210" y="1050808"/>
                      <a:pt x="0" y="815598"/>
                      <a:pt x="0" y="525404"/>
                    </a:cubicBezTo>
                    <a:close/>
                  </a:path>
                </a:pathLst>
              </a:custGeom>
              <a:solidFill>
                <a:srgbClr val="0F0F0F">
                  <a:alpha val="66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6215329E-7C0A-5DFA-EBF4-EB2EC22D18AD}"/>
                  </a:ext>
                </a:extLst>
              </p:cNvPr>
              <p:cNvSpPr/>
              <p:nvPr/>
            </p:nvSpPr>
            <p:spPr>
              <a:xfrm>
                <a:off x="7673978" y="2583125"/>
                <a:ext cx="1045255" cy="1045254"/>
              </a:xfrm>
              <a:custGeom>
                <a:avLst/>
                <a:gdLst>
                  <a:gd name="connsiteX0" fmla="*/ 0 w 1045255"/>
                  <a:gd name="connsiteY0" fmla="*/ 522627 h 1045254"/>
                  <a:gd name="connsiteX1" fmla="*/ 522627 w 1045255"/>
                  <a:gd name="connsiteY1" fmla="*/ 0 h 1045254"/>
                  <a:gd name="connsiteX2" fmla="*/ 1045255 w 1045255"/>
                  <a:gd name="connsiteY2" fmla="*/ 522627 h 1045254"/>
                  <a:gd name="connsiteX3" fmla="*/ 522627 w 1045255"/>
                  <a:gd name="connsiteY3" fmla="*/ 1045254 h 1045254"/>
                  <a:gd name="connsiteX4" fmla="*/ 0 w 1045255"/>
                  <a:gd name="connsiteY4" fmla="*/ 522627 h 1045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5255" h="1045254">
                    <a:moveTo>
                      <a:pt x="0" y="522627"/>
                    </a:moveTo>
                    <a:cubicBezTo>
                      <a:pt x="0" y="233821"/>
                      <a:pt x="234099" y="0"/>
                      <a:pt x="522627" y="0"/>
                    </a:cubicBezTo>
                    <a:cubicBezTo>
                      <a:pt x="811156" y="0"/>
                      <a:pt x="1045255" y="234099"/>
                      <a:pt x="1045255" y="522627"/>
                    </a:cubicBezTo>
                    <a:cubicBezTo>
                      <a:pt x="1045255" y="811155"/>
                      <a:pt x="811156" y="1045254"/>
                      <a:pt x="522627" y="1045254"/>
                    </a:cubicBezTo>
                    <a:cubicBezTo>
                      <a:pt x="234099" y="1045254"/>
                      <a:pt x="0" y="811155"/>
                      <a:pt x="0" y="522627"/>
                    </a:cubicBezTo>
                    <a:close/>
                  </a:path>
                </a:pathLst>
              </a:custGeom>
              <a:solidFill>
                <a:srgbClr val="0D0D0D">
                  <a:alpha val="6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CB9BA0EA-A90A-715B-FCA3-3DD175930349}"/>
                  </a:ext>
                </a:extLst>
              </p:cNvPr>
              <p:cNvSpPr/>
              <p:nvPr/>
            </p:nvSpPr>
            <p:spPr>
              <a:xfrm>
                <a:off x="7676477" y="2585624"/>
                <a:ext cx="1040256" cy="1040255"/>
              </a:xfrm>
              <a:custGeom>
                <a:avLst/>
                <a:gdLst>
                  <a:gd name="connsiteX0" fmla="*/ 0 w 1040256"/>
                  <a:gd name="connsiteY0" fmla="*/ 520128 h 1040255"/>
                  <a:gd name="connsiteX1" fmla="*/ 520128 w 1040256"/>
                  <a:gd name="connsiteY1" fmla="*/ 0 h 1040255"/>
                  <a:gd name="connsiteX2" fmla="*/ 1040256 w 1040256"/>
                  <a:gd name="connsiteY2" fmla="*/ 520128 h 1040255"/>
                  <a:gd name="connsiteX3" fmla="*/ 520128 w 1040256"/>
                  <a:gd name="connsiteY3" fmla="*/ 1040256 h 1040255"/>
                  <a:gd name="connsiteX4" fmla="*/ 0 w 1040256"/>
                  <a:gd name="connsiteY4" fmla="*/ 520128 h 1040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0256" h="1040255">
                    <a:moveTo>
                      <a:pt x="0" y="520128"/>
                    </a:moveTo>
                    <a:cubicBezTo>
                      <a:pt x="0" y="232711"/>
                      <a:pt x="232989" y="0"/>
                      <a:pt x="520128" y="0"/>
                    </a:cubicBezTo>
                    <a:cubicBezTo>
                      <a:pt x="807268" y="0"/>
                      <a:pt x="1040256" y="232988"/>
                      <a:pt x="1040256" y="520128"/>
                    </a:cubicBezTo>
                    <a:cubicBezTo>
                      <a:pt x="1040256" y="807267"/>
                      <a:pt x="807268" y="1040256"/>
                      <a:pt x="520128" y="1040256"/>
                    </a:cubicBezTo>
                    <a:cubicBezTo>
                      <a:pt x="232989" y="1040256"/>
                      <a:pt x="0" y="807267"/>
                      <a:pt x="0" y="520128"/>
                    </a:cubicBezTo>
                    <a:close/>
                  </a:path>
                </a:pathLst>
              </a:custGeom>
              <a:solidFill>
                <a:srgbClr val="0B0B0B">
                  <a:alpha val="67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D97F9C07-8485-22AB-4528-7DC6F2B9F9EF}"/>
                  </a:ext>
                </a:extLst>
              </p:cNvPr>
              <p:cNvSpPr/>
              <p:nvPr/>
            </p:nvSpPr>
            <p:spPr>
              <a:xfrm>
                <a:off x="7678977" y="2588123"/>
                <a:ext cx="1035257" cy="1035257"/>
              </a:xfrm>
              <a:custGeom>
                <a:avLst/>
                <a:gdLst>
                  <a:gd name="connsiteX0" fmla="*/ 0 w 1035257"/>
                  <a:gd name="connsiteY0" fmla="*/ 517629 h 1035257"/>
                  <a:gd name="connsiteX1" fmla="*/ 517629 w 1035257"/>
                  <a:gd name="connsiteY1" fmla="*/ 0 h 1035257"/>
                  <a:gd name="connsiteX2" fmla="*/ 1035258 w 1035257"/>
                  <a:gd name="connsiteY2" fmla="*/ 517629 h 1035257"/>
                  <a:gd name="connsiteX3" fmla="*/ 517629 w 1035257"/>
                  <a:gd name="connsiteY3" fmla="*/ 1035257 h 1035257"/>
                  <a:gd name="connsiteX4" fmla="*/ 0 w 1035257"/>
                  <a:gd name="connsiteY4" fmla="*/ 517629 h 1035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5257" h="1035257">
                    <a:moveTo>
                      <a:pt x="0" y="517629"/>
                    </a:moveTo>
                    <a:cubicBezTo>
                      <a:pt x="0" y="231878"/>
                      <a:pt x="231600" y="0"/>
                      <a:pt x="517629" y="0"/>
                    </a:cubicBezTo>
                    <a:cubicBezTo>
                      <a:pt x="803658" y="0"/>
                      <a:pt x="1035258" y="231878"/>
                      <a:pt x="1035258" y="517629"/>
                    </a:cubicBezTo>
                    <a:cubicBezTo>
                      <a:pt x="1035258" y="803380"/>
                      <a:pt x="803658" y="1035257"/>
                      <a:pt x="517629" y="1035257"/>
                    </a:cubicBezTo>
                    <a:cubicBezTo>
                      <a:pt x="231600" y="1035257"/>
                      <a:pt x="0" y="803380"/>
                      <a:pt x="0" y="517629"/>
                    </a:cubicBezTo>
                    <a:close/>
                  </a:path>
                </a:pathLst>
              </a:custGeom>
              <a:solidFill>
                <a:srgbClr val="080808">
                  <a:alpha val="6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1A635039-712A-91C5-D9F8-EF5A3A308711}"/>
                  </a:ext>
                </a:extLst>
              </p:cNvPr>
              <p:cNvSpPr/>
              <p:nvPr/>
            </p:nvSpPr>
            <p:spPr>
              <a:xfrm>
                <a:off x="7681476" y="2590623"/>
                <a:ext cx="1030259" cy="1030258"/>
              </a:xfrm>
              <a:custGeom>
                <a:avLst/>
                <a:gdLst>
                  <a:gd name="connsiteX0" fmla="*/ 0 w 1030259"/>
                  <a:gd name="connsiteY0" fmla="*/ 515129 h 1030258"/>
                  <a:gd name="connsiteX1" fmla="*/ 515130 w 1030259"/>
                  <a:gd name="connsiteY1" fmla="*/ 0 h 1030258"/>
                  <a:gd name="connsiteX2" fmla="*/ 1030259 w 1030259"/>
                  <a:gd name="connsiteY2" fmla="*/ 515129 h 1030258"/>
                  <a:gd name="connsiteX3" fmla="*/ 515130 w 1030259"/>
                  <a:gd name="connsiteY3" fmla="*/ 1030259 h 1030258"/>
                  <a:gd name="connsiteX4" fmla="*/ 0 w 1030259"/>
                  <a:gd name="connsiteY4" fmla="*/ 515129 h 1030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0259" h="1030258">
                    <a:moveTo>
                      <a:pt x="0" y="515129"/>
                    </a:moveTo>
                    <a:cubicBezTo>
                      <a:pt x="0" y="230767"/>
                      <a:pt x="230489" y="0"/>
                      <a:pt x="515130" y="0"/>
                    </a:cubicBezTo>
                    <a:cubicBezTo>
                      <a:pt x="799770" y="0"/>
                      <a:pt x="1030259" y="230489"/>
                      <a:pt x="1030259" y="515129"/>
                    </a:cubicBezTo>
                    <a:cubicBezTo>
                      <a:pt x="1030259" y="799770"/>
                      <a:pt x="799770" y="1030259"/>
                      <a:pt x="515130" y="1030259"/>
                    </a:cubicBezTo>
                    <a:cubicBezTo>
                      <a:pt x="230489" y="1030259"/>
                      <a:pt x="0" y="799770"/>
                      <a:pt x="0" y="515129"/>
                    </a:cubicBezTo>
                    <a:close/>
                  </a:path>
                </a:pathLst>
              </a:custGeom>
              <a:solidFill>
                <a:srgbClr val="060606">
                  <a:alpha val="68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08E7B873-F214-3AB3-4310-F7AF725845F1}"/>
                  </a:ext>
                </a:extLst>
              </p:cNvPr>
              <p:cNvSpPr/>
              <p:nvPr/>
            </p:nvSpPr>
            <p:spPr>
              <a:xfrm>
                <a:off x="7684253" y="2593400"/>
                <a:ext cx="1024705" cy="1024704"/>
              </a:xfrm>
              <a:custGeom>
                <a:avLst/>
                <a:gdLst>
                  <a:gd name="connsiteX0" fmla="*/ 0 w 1024705"/>
                  <a:gd name="connsiteY0" fmla="*/ 512352 h 1024704"/>
                  <a:gd name="connsiteX1" fmla="*/ 512353 w 1024705"/>
                  <a:gd name="connsiteY1" fmla="*/ 0 h 1024704"/>
                  <a:gd name="connsiteX2" fmla="*/ 1024705 w 1024705"/>
                  <a:gd name="connsiteY2" fmla="*/ 512352 h 1024704"/>
                  <a:gd name="connsiteX3" fmla="*/ 512353 w 1024705"/>
                  <a:gd name="connsiteY3" fmla="*/ 1024705 h 1024704"/>
                  <a:gd name="connsiteX4" fmla="*/ 0 w 1024705"/>
                  <a:gd name="connsiteY4" fmla="*/ 512352 h 1024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4705" h="1024704">
                    <a:moveTo>
                      <a:pt x="0" y="512352"/>
                    </a:moveTo>
                    <a:cubicBezTo>
                      <a:pt x="0" y="229378"/>
                      <a:pt x="229378" y="0"/>
                      <a:pt x="512353" y="0"/>
                    </a:cubicBezTo>
                    <a:cubicBezTo>
                      <a:pt x="795327" y="0"/>
                      <a:pt x="1024705" y="229378"/>
                      <a:pt x="1024705" y="512352"/>
                    </a:cubicBezTo>
                    <a:cubicBezTo>
                      <a:pt x="1024705" y="795326"/>
                      <a:pt x="795327" y="1024705"/>
                      <a:pt x="512353" y="1024705"/>
                    </a:cubicBezTo>
                    <a:cubicBezTo>
                      <a:pt x="229378" y="1024705"/>
                      <a:pt x="0" y="795326"/>
                      <a:pt x="0" y="512352"/>
                    </a:cubicBezTo>
                    <a:close/>
                  </a:path>
                </a:pathLst>
              </a:custGeom>
              <a:solidFill>
                <a:srgbClr val="040404">
                  <a:alpha val="6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3A99150D-3389-2D18-8F77-A3D24F0DBA30}"/>
                  </a:ext>
                </a:extLst>
              </p:cNvPr>
              <p:cNvSpPr/>
              <p:nvPr/>
            </p:nvSpPr>
            <p:spPr>
              <a:xfrm>
                <a:off x="7686752" y="2595899"/>
                <a:ext cx="1019706" cy="1019705"/>
              </a:xfrm>
              <a:custGeom>
                <a:avLst/>
                <a:gdLst>
                  <a:gd name="connsiteX0" fmla="*/ 0 w 1019706"/>
                  <a:gd name="connsiteY0" fmla="*/ 509853 h 1019705"/>
                  <a:gd name="connsiteX1" fmla="*/ 509853 w 1019706"/>
                  <a:gd name="connsiteY1" fmla="*/ 0 h 1019705"/>
                  <a:gd name="connsiteX2" fmla="*/ 1019707 w 1019706"/>
                  <a:gd name="connsiteY2" fmla="*/ 509853 h 1019705"/>
                  <a:gd name="connsiteX3" fmla="*/ 509853 w 1019706"/>
                  <a:gd name="connsiteY3" fmla="*/ 1019706 h 1019705"/>
                  <a:gd name="connsiteX4" fmla="*/ 0 w 1019706"/>
                  <a:gd name="connsiteY4" fmla="*/ 509853 h 1019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9706" h="1019705">
                    <a:moveTo>
                      <a:pt x="0" y="509853"/>
                    </a:moveTo>
                    <a:cubicBezTo>
                      <a:pt x="0" y="228267"/>
                      <a:pt x="228268" y="0"/>
                      <a:pt x="509853" y="0"/>
                    </a:cubicBezTo>
                    <a:cubicBezTo>
                      <a:pt x="791439" y="0"/>
                      <a:pt x="1019707" y="228267"/>
                      <a:pt x="1019707" y="509853"/>
                    </a:cubicBezTo>
                    <a:cubicBezTo>
                      <a:pt x="1019707" y="791439"/>
                      <a:pt x="791439" y="1019706"/>
                      <a:pt x="509853" y="1019706"/>
                    </a:cubicBezTo>
                    <a:cubicBezTo>
                      <a:pt x="228268" y="1019706"/>
                      <a:pt x="0" y="791439"/>
                      <a:pt x="0" y="509853"/>
                    </a:cubicBezTo>
                    <a:close/>
                  </a:path>
                </a:pathLst>
              </a:custGeom>
              <a:solidFill>
                <a:srgbClr val="020202">
                  <a:alpha val="69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88D53D72-D907-19C9-8E65-D328C006DD62}"/>
                  </a:ext>
                </a:extLst>
              </p:cNvPr>
              <p:cNvSpPr/>
              <p:nvPr/>
            </p:nvSpPr>
            <p:spPr>
              <a:xfrm>
                <a:off x="7689251" y="2598398"/>
                <a:ext cx="1014708" cy="1014707"/>
              </a:xfrm>
              <a:custGeom>
                <a:avLst/>
                <a:gdLst>
                  <a:gd name="connsiteX0" fmla="*/ 0 w 1014708"/>
                  <a:gd name="connsiteY0" fmla="*/ 507354 h 1014707"/>
                  <a:gd name="connsiteX1" fmla="*/ 507354 w 1014708"/>
                  <a:gd name="connsiteY1" fmla="*/ 0 h 1014707"/>
                  <a:gd name="connsiteX2" fmla="*/ 1014708 w 1014708"/>
                  <a:gd name="connsiteY2" fmla="*/ 507354 h 1014707"/>
                  <a:gd name="connsiteX3" fmla="*/ 507354 w 1014708"/>
                  <a:gd name="connsiteY3" fmla="*/ 1014708 h 1014707"/>
                  <a:gd name="connsiteX4" fmla="*/ 0 w 1014708"/>
                  <a:gd name="connsiteY4" fmla="*/ 507354 h 1014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14708" h="1014707">
                    <a:moveTo>
                      <a:pt x="0" y="507354"/>
                    </a:moveTo>
                    <a:cubicBezTo>
                      <a:pt x="0" y="227157"/>
                      <a:pt x="227157" y="0"/>
                      <a:pt x="507354" y="0"/>
                    </a:cubicBezTo>
                    <a:cubicBezTo>
                      <a:pt x="787551" y="0"/>
                      <a:pt x="1014708" y="227157"/>
                      <a:pt x="1014708" y="507354"/>
                    </a:cubicBezTo>
                    <a:cubicBezTo>
                      <a:pt x="1014708" y="787551"/>
                      <a:pt x="787551" y="1014708"/>
                      <a:pt x="507354" y="1014708"/>
                    </a:cubicBezTo>
                    <a:cubicBezTo>
                      <a:pt x="227157" y="1014708"/>
                      <a:pt x="0" y="787551"/>
                      <a:pt x="0" y="507354"/>
                    </a:cubicBezTo>
                    <a:close/>
                  </a:path>
                </a:pathLst>
              </a:custGeom>
              <a:solidFill>
                <a:srgbClr val="000000">
                  <a:alpha val="70000"/>
                </a:srgbClr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A5AF499-3730-2761-2092-36514C6A3FFD}"/>
                </a:ext>
              </a:extLst>
            </p:cNvPr>
            <p:cNvSpPr/>
            <p:nvPr/>
          </p:nvSpPr>
          <p:spPr>
            <a:xfrm>
              <a:off x="7504582" y="2413729"/>
              <a:ext cx="1384046" cy="1384045"/>
            </a:xfrm>
            <a:custGeom>
              <a:avLst/>
              <a:gdLst>
                <a:gd name="connsiteX0" fmla="*/ 1384046 w 1384046"/>
                <a:gd name="connsiteY0" fmla="*/ 692023 h 1384045"/>
                <a:gd name="connsiteX1" fmla="*/ 692023 w 1384046"/>
                <a:gd name="connsiteY1" fmla="*/ 1384046 h 1384045"/>
                <a:gd name="connsiteX2" fmla="*/ 0 w 1384046"/>
                <a:gd name="connsiteY2" fmla="*/ 692023 h 1384045"/>
                <a:gd name="connsiteX3" fmla="*/ 692023 w 1384046"/>
                <a:gd name="connsiteY3" fmla="*/ 0 h 1384045"/>
                <a:gd name="connsiteX4" fmla="*/ 1384046 w 1384046"/>
                <a:gd name="connsiteY4" fmla="*/ 692023 h 138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84046" h="1384045">
                  <a:moveTo>
                    <a:pt x="1384046" y="692023"/>
                  </a:moveTo>
                  <a:cubicBezTo>
                    <a:pt x="1384046" y="1074217"/>
                    <a:pt x="1074217" y="1384046"/>
                    <a:pt x="692023" y="1384046"/>
                  </a:cubicBezTo>
                  <a:cubicBezTo>
                    <a:pt x="309829" y="1384046"/>
                    <a:pt x="0" y="1074216"/>
                    <a:pt x="0" y="692023"/>
                  </a:cubicBezTo>
                  <a:cubicBezTo>
                    <a:pt x="0" y="309829"/>
                    <a:pt x="309829" y="0"/>
                    <a:pt x="692023" y="0"/>
                  </a:cubicBezTo>
                  <a:cubicBezTo>
                    <a:pt x="1074217" y="0"/>
                    <a:pt x="1384046" y="309829"/>
                    <a:pt x="1384046" y="692023"/>
                  </a:cubicBezTo>
                  <a:close/>
                </a:path>
              </a:pathLst>
            </a:custGeom>
            <a:solidFill>
              <a:srgbClr val="B5B5B5"/>
            </a:solidFill>
            <a:ln w="27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A222415-FCF5-733F-906C-FDD3E252F696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2741611" y="2759484"/>
            <a:ext cx="2143515" cy="2143618"/>
          </a:xfrm>
          <a:custGeom>
            <a:avLst/>
            <a:gdLst>
              <a:gd name="connsiteX0" fmla="*/ 313694 w 2143515"/>
              <a:gd name="connsiteY0" fmla="*/ 1829646 h 2143618"/>
              <a:gd name="connsiteX1" fmla="*/ 1829648 w 2143515"/>
              <a:gd name="connsiteY1" fmla="*/ 1829646 h 2143618"/>
              <a:gd name="connsiteX2" fmla="*/ 1829648 w 2143515"/>
              <a:gd name="connsiteY2" fmla="*/ 313972 h 2143618"/>
              <a:gd name="connsiteX3" fmla="*/ 313972 w 2143515"/>
              <a:gd name="connsiteY3" fmla="*/ 313972 h 2143618"/>
              <a:gd name="connsiteX4" fmla="*/ 313972 w 2143515"/>
              <a:gd name="connsiteY4" fmla="*/ 1829924 h 2143618"/>
              <a:gd name="connsiteX5" fmla="*/ 1636648 w 2143515"/>
              <a:gd name="connsiteY5" fmla="*/ 506694 h 2143618"/>
              <a:gd name="connsiteX6" fmla="*/ 1636648 w 2143515"/>
              <a:gd name="connsiteY6" fmla="*/ 1636646 h 2143618"/>
              <a:gd name="connsiteX7" fmla="*/ 506695 w 2143515"/>
              <a:gd name="connsiteY7" fmla="*/ 1636646 h 2143618"/>
              <a:gd name="connsiteX8" fmla="*/ 506695 w 2143515"/>
              <a:gd name="connsiteY8" fmla="*/ 506694 h 2143618"/>
              <a:gd name="connsiteX9" fmla="*/ 1636648 w 2143515"/>
              <a:gd name="connsiteY9" fmla="*/ 506694 h 2143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43515" h="2143618">
                <a:moveTo>
                  <a:pt x="313694" y="1829646"/>
                </a:moveTo>
                <a:cubicBezTo>
                  <a:pt x="732185" y="2248137"/>
                  <a:pt x="1410879" y="2248415"/>
                  <a:pt x="1829648" y="1829646"/>
                </a:cubicBezTo>
                <a:cubicBezTo>
                  <a:pt x="2248416" y="1410878"/>
                  <a:pt x="2247861" y="732463"/>
                  <a:pt x="1829648" y="313972"/>
                </a:cubicBezTo>
                <a:cubicBezTo>
                  <a:pt x="1411157" y="-104518"/>
                  <a:pt x="732463" y="-104796"/>
                  <a:pt x="313972" y="313972"/>
                </a:cubicBezTo>
                <a:cubicBezTo>
                  <a:pt x="-104796" y="732740"/>
                  <a:pt x="-104519" y="1411433"/>
                  <a:pt x="313972" y="1829924"/>
                </a:cubicBezTo>
                <a:close/>
                <a:moveTo>
                  <a:pt x="1636648" y="506694"/>
                </a:moveTo>
                <a:cubicBezTo>
                  <a:pt x="1948502" y="818549"/>
                  <a:pt x="1948502" y="1324514"/>
                  <a:pt x="1636648" y="1636646"/>
                </a:cubicBezTo>
                <a:cubicBezTo>
                  <a:pt x="1324515" y="1948779"/>
                  <a:pt x="818827" y="1948501"/>
                  <a:pt x="506695" y="1636646"/>
                </a:cubicBezTo>
                <a:cubicBezTo>
                  <a:pt x="194840" y="1324792"/>
                  <a:pt x="194562" y="818827"/>
                  <a:pt x="506695" y="506694"/>
                </a:cubicBezTo>
                <a:cubicBezTo>
                  <a:pt x="818549" y="194840"/>
                  <a:pt x="1324515" y="194840"/>
                  <a:pt x="1636648" y="506694"/>
                </a:cubicBezTo>
                <a:close/>
              </a:path>
            </a:pathLst>
          </a:custGeom>
          <a:solidFill>
            <a:schemeClr val="accent2"/>
          </a:solidFill>
          <a:ln w="27742" cap="flat">
            <a:noFill/>
            <a:prstDash val="solid"/>
            <a:miter/>
          </a:ln>
          <a:effectLst>
            <a:outerShdw blurRad="2794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9F5F6D6-C608-AEFD-E888-4F2ECB1CDEDD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4308834" y="4094836"/>
            <a:ext cx="2165765" cy="56372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mnipresent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7A76E8E8-6311-2464-14C3-8E0DE0BEC4A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1151687" y="4094836"/>
            <a:ext cx="2165766" cy="56372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ase of Use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B68463B4-9AAD-4417-AE66-FF99E8C9294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1151687" y="2940654"/>
            <a:ext cx="2165766" cy="56372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vention Focus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A74CCE17-E64F-E819-4DDB-97BA37ACFB0E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308834" y="2940654"/>
            <a:ext cx="2165765" cy="563726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r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ellness Products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d Services</a:t>
            </a:r>
          </a:p>
        </p:txBody>
      </p:sp>
      <p:sp>
        <p:nvSpPr>
          <p:cNvPr id="261" name="TextBox 260">
            <a:extLst>
              <a:ext uri="{FF2B5EF4-FFF2-40B4-BE49-F238E27FC236}">
                <a16:creationId xmlns:a16="http://schemas.microsoft.com/office/drawing/2014/main" id="{BF6D8D15-2DFF-6499-31A7-661E10B08B81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897307" y="1646695"/>
            <a:ext cx="222318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2pPr marL="0" lvl="1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defRPr sz="1400">
                <a:solidFill>
                  <a:schemeClr val="bg1"/>
                </a:solidFill>
              </a:defRPr>
            </a:lvl2pPr>
          </a:lstStyle>
          <a:p>
            <a:pPr marL="0" marR="0" lvl="1" indent="0" algn="l" defTabSz="488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iet, nutrition, exercise, sleep, and self-care are all dominated by non–health system brands.</a:t>
            </a:r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8694D0F2-7F30-6A76-B07D-56071E120B9F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4897307" y="4844872"/>
            <a:ext cx="222318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488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s, push messaging, and emails are rare except for pre- and postvisit interactions.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8FF3D2D7-B488-6DB7-FABB-E4F6A4E93E18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205925" y="1646695"/>
            <a:ext cx="248068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488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st branding today still focuses on diagnosis and treatments.</a:t>
            </a: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E2150613-A54B-6F1C-1529-1FC402E78522}"/>
              </a:ext>
            </a:extLst>
          </p:cNvPr>
          <p:cNvSpPr txBox="1"/>
          <p:nvPr>
            <p:custDataLst>
              <p:tags r:id="rId23"/>
            </p:custDataLst>
          </p:nvPr>
        </p:nvSpPr>
        <p:spPr>
          <a:xfrm>
            <a:off x="205925" y="4844872"/>
            <a:ext cx="248068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48895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one walks away from an interaction with a health system saying, “that was so easy.”</a:t>
            </a:r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43F39359-6565-9AFF-4BA2-708AA5E4B807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7759303" y="3428203"/>
            <a:ext cx="444352" cy="707886"/>
          </a:xfrm>
          <a:prstGeom prst="rect">
            <a:avLst/>
          </a:prstGeom>
          <a:noFill/>
          <a:ln>
            <a:solidFill>
              <a:schemeClr val="accent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66D4F726-C3A0-426A-60C9-3A373514C8E1}"/>
              </a:ext>
            </a:extLst>
          </p:cNvPr>
          <p:cNvSpPr txBox="1"/>
          <p:nvPr>
            <p:custDataLst>
              <p:tags r:id="rId25"/>
            </p:custDataLst>
          </p:nvPr>
        </p:nvSpPr>
        <p:spPr>
          <a:xfrm>
            <a:off x="7759303" y="4396783"/>
            <a:ext cx="444352" cy="707886"/>
          </a:xfrm>
          <a:prstGeom prst="rect">
            <a:avLst/>
          </a:prstGeom>
          <a:noFill/>
          <a:ln>
            <a:solidFill>
              <a:schemeClr val="accent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5A711317-EF7F-86FD-E827-5F1D6C492933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7759303" y="5380463"/>
            <a:ext cx="444352" cy="707886"/>
          </a:xfrm>
          <a:prstGeom prst="rect">
            <a:avLst/>
          </a:prstGeom>
          <a:noFill/>
          <a:ln>
            <a:solidFill>
              <a:schemeClr val="accent2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CB117E5D-4819-A225-E80F-65077C8E3273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8242493" y="3582091"/>
            <a:ext cx="37907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the brand.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EAA4F56B-5564-D97C-CF74-EF02B563829C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8242493" y="4550671"/>
            <a:ext cx="37907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nge the mission.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908C1B8B-0BFE-3F20-9476-CB826F6CEBEB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8242493" y="5226575"/>
            <a:ext cx="37907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pt the consequences of presenting a brand that doesn’t match the mission.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CF7CF09F-294C-0501-1952-3961B1021C9B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2949434" y="2967306"/>
            <a:ext cx="1727593" cy="1727696"/>
          </a:xfrm>
          <a:custGeom>
            <a:avLst/>
            <a:gdLst>
              <a:gd name="connsiteX0" fmla="*/ 252775 w 1727593"/>
              <a:gd name="connsiteY0" fmla="*/ 1474644 h 1727696"/>
              <a:gd name="connsiteX1" fmla="*/ 1474645 w 1727593"/>
              <a:gd name="connsiteY1" fmla="*/ 1474644 h 1727696"/>
              <a:gd name="connsiteX2" fmla="*/ 1474645 w 1727593"/>
              <a:gd name="connsiteY2" fmla="*/ 253052 h 1727696"/>
              <a:gd name="connsiteX3" fmla="*/ 253052 w 1727593"/>
              <a:gd name="connsiteY3" fmla="*/ 253052 h 1727696"/>
              <a:gd name="connsiteX4" fmla="*/ 253052 w 1727593"/>
              <a:gd name="connsiteY4" fmla="*/ 1474922 h 1727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27593" h="1727696">
                <a:moveTo>
                  <a:pt x="252775" y="1474644"/>
                </a:moveTo>
                <a:cubicBezTo>
                  <a:pt x="590178" y="1812047"/>
                  <a:pt x="1137243" y="1812047"/>
                  <a:pt x="1474645" y="1474644"/>
                </a:cubicBezTo>
                <a:cubicBezTo>
                  <a:pt x="1812048" y="1137242"/>
                  <a:pt x="1811771" y="590177"/>
                  <a:pt x="1474645" y="253052"/>
                </a:cubicBezTo>
                <a:cubicBezTo>
                  <a:pt x="1137243" y="-84351"/>
                  <a:pt x="590178" y="-84351"/>
                  <a:pt x="253052" y="253052"/>
                </a:cubicBezTo>
                <a:cubicBezTo>
                  <a:pt x="-84351" y="590455"/>
                  <a:pt x="-84351" y="1137519"/>
                  <a:pt x="253052" y="1474922"/>
                </a:cubicBezTo>
                <a:close/>
              </a:path>
            </a:pathLst>
          </a:custGeom>
          <a:solidFill>
            <a:schemeClr val="accent1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262C94A-8844-C01D-132E-1A0AC8F3BE7F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3146252" y="3164124"/>
            <a:ext cx="1333956" cy="1334059"/>
          </a:xfrm>
          <a:custGeom>
            <a:avLst/>
            <a:gdLst>
              <a:gd name="connsiteX0" fmla="*/ 195360 w 1333956"/>
              <a:gd name="connsiteY0" fmla="*/ 1138700 h 1334059"/>
              <a:gd name="connsiteX1" fmla="*/ 1138701 w 1333956"/>
              <a:gd name="connsiteY1" fmla="*/ 1138700 h 1334059"/>
              <a:gd name="connsiteX2" fmla="*/ 1138701 w 1333956"/>
              <a:gd name="connsiteY2" fmla="*/ 195360 h 1334059"/>
              <a:gd name="connsiteX3" fmla="*/ 195360 w 1333956"/>
              <a:gd name="connsiteY3" fmla="*/ 195360 h 1334059"/>
              <a:gd name="connsiteX4" fmla="*/ 195360 w 1333956"/>
              <a:gd name="connsiteY4" fmla="*/ 1138700 h 1334059"/>
              <a:gd name="connsiteX5" fmla="*/ 979857 w 1333956"/>
              <a:gd name="connsiteY5" fmla="*/ 353926 h 1334059"/>
              <a:gd name="connsiteX6" fmla="*/ 979857 w 1333956"/>
              <a:gd name="connsiteY6" fmla="*/ 979857 h 1334059"/>
              <a:gd name="connsiteX7" fmla="*/ 353926 w 1333956"/>
              <a:gd name="connsiteY7" fmla="*/ 979857 h 1334059"/>
              <a:gd name="connsiteX8" fmla="*/ 353926 w 1333956"/>
              <a:gd name="connsiteY8" fmla="*/ 353926 h 1334059"/>
              <a:gd name="connsiteX9" fmla="*/ 979857 w 1333956"/>
              <a:gd name="connsiteY9" fmla="*/ 353926 h 1334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33956" h="1334059">
                <a:moveTo>
                  <a:pt x="195360" y="1138700"/>
                </a:moveTo>
                <a:cubicBezTo>
                  <a:pt x="455841" y="1399180"/>
                  <a:pt x="878220" y="1399180"/>
                  <a:pt x="1138701" y="1138700"/>
                </a:cubicBezTo>
                <a:cubicBezTo>
                  <a:pt x="1399181" y="878219"/>
                  <a:pt x="1398903" y="455841"/>
                  <a:pt x="1138701" y="195360"/>
                </a:cubicBezTo>
                <a:cubicBezTo>
                  <a:pt x="878220" y="-65120"/>
                  <a:pt x="455841" y="-65120"/>
                  <a:pt x="195360" y="195360"/>
                </a:cubicBezTo>
                <a:cubicBezTo>
                  <a:pt x="-65120" y="455841"/>
                  <a:pt x="-65120" y="878219"/>
                  <a:pt x="195360" y="1138700"/>
                </a:cubicBezTo>
                <a:close/>
                <a:moveTo>
                  <a:pt x="979857" y="353926"/>
                </a:moveTo>
                <a:cubicBezTo>
                  <a:pt x="1152585" y="526654"/>
                  <a:pt x="1152585" y="806851"/>
                  <a:pt x="979857" y="979857"/>
                </a:cubicBezTo>
                <a:cubicBezTo>
                  <a:pt x="806851" y="1152862"/>
                  <a:pt x="526932" y="1152584"/>
                  <a:pt x="353926" y="979857"/>
                </a:cubicBezTo>
                <a:cubicBezTo>
                  <a:pt x="181198" y="807129"/>
                  <a:pt x="180920" y="526931"/>
                  <a:pt x="353926" y="353926"/>
                </a:cubicBezTo>
                <a:cubicBezTo>
                  <a:pt x="526932" y="180920"/>
                  <a:pt x="806851" y="181198"/>
                  <a:pt x="979857" y="353926"/>
                </a:cubicBezTo>
                <a:close/>
              </a:path>
            </a:pathLst>
          </a:custGeom>
          <a:solidFill>
            <a:schemeClr val="accent1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6" name="Graphic 2">
            <a:extLst>
              <a:ext uri="{FF2B5EF4-FFF2-40B4-BE49-F238E27FC236}">
                <a16:creationId xmlns:a16="http://schemas.microsoft.com/office/drawing/2014/main" id="{2805466A-7AB6-63FB-72C2-1A7EAF77B18E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3409926" y="3381422"/>
            <a:ext cx="806712" cy="806712"/>
            <a:chOff x="7793388" y="2702257"/>
            <a:chExt cx="806712" cy="806712"/>
          </a:xfrm>
        </p:grpSpPr>
        <p:grpSp>
          <p:nvGrpSpPr>
            <p:cNvPr id="125" name="Graphic 2">
              <a:extLst>
                <a:ext uri="{FF2B5EF4-FFF2-40B4-BE49-F238E27FC236}">
                  <a16:creationId xmlns:a16="http://schemas.microsoft.com/office/drawing/2014/main" id="{C83637C3-4DCF-623F-6368-32754AB5283A}"/>
                </a:ext>
              </a:extLst>
            </p:cNvPr>
            <p:cNvGrpSpPr/>
            <p:nvPr/>
          </p:nvGrpSpPr>
          <p:grpSpPr>
            <a:xfrm>
              <a:off x="7793388" y="3057988"/>
              <a:ext cx="806712" cy="95527"/>
              <a:chOff x="7793388" y="3057988"/>
              <a:chExt cx="806712" cy="95527"/>
            </a:xfrm>
            <a:solidFill>
              <a:srgbClr val="FFFFFF"/>
            </a:solidFill>
          </p:grpSpPr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A1A49796-153B-4872-831F-DF0191B53DCE}"/>
                  </a:ext>
                </a:extLst>
              </p:cNvPr>
              <p:cNvSpPr/>
              <p:nvPr/>
            </p:nvSpPr>
            <p:spPr>
              <a:xfrm>
                <a:off x="7793388" y="3057988"/>
                <a:ext cx="95527" cy="95527"/>
              </a:xfrm>
              <a:custGeom>
                <a:avLst/>
                <a:gdLst>
                  <a:gd name="connsiteX0" fmla="*/ 95528 w 95527"/>
                  <a:gd name="connsiteY0" fmla="*/ 47764 h 95527"/>
                  <a:gd name="connsiteX1" fmla="*/ 47764 w 95527"/>
                  <a:gd name="connsiteY1" fmla="*/ 95528 h 95527"/>
                  <a:gd name="connsiteX2" fmla="*/ 0 w 95527"/>
                  <a:gd name="connsiteY2" fmla="*/ 47764 h 95527"/>
                  <a:gd name="connsiteX3" fmla="*/ 47764 w 95527"/>
                  <a:gd name="connsiteY3" fmla="*/ 0 h 95527"/>
                  <a:gd name="connsiteX4" fmla="*/ 95528 w 95527"/>
                  <a:gd name="connsiteY4" fmla="*/ 47764 h 95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527" h="95527">
                    <a:moveTo>
                      <a:pt x="95528" y="47764"/>
                    </a:moveTo>
                    <a:cubicBezTo>
                      <a:pt x="95528" y="74145"/>
                      <a:pt x="74145" y="95528"/>
                      <a:pt x="47764" y="95528"/>
                    </a:cubicBezTo>
                    <a:cubicBezTo>
                      <a:pt x="21383" y="95528"/>
                      <a:pt x="0" y="74145"/>
                      <a:pt x="0" y="47764"/>
                    </a:cubicBezTo>
                    <a:cubicBezTo>
                      <a:pt x="0" y="21383"/>
                      <a:pt x="21383" y="0"/>
                      <a:pt x="47764" y="0"/>
                    </a:cubicBezTo>
                    <a:cubicBezTo>
                      <a:pt x="74145" y="0"/>
                      <a:pt x="95528" y="21383"/>
                      <a:pt x="95528" y="477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2316A80D-9883-B59B-9FEE-5C931AB685B5}"/>
                  </a:ext>
                </a:extLst>
              </p:cNvPr>
              <p:cNvSpPr/>
              <p:nvPr/>
            </p:nvSpPr>
            <p:spPr>
              <a:xfrm>
                <a:off x="8504572" y="3057988"/>
                <a:ext cx="95528" cy="95527"/>
              </a:xfrm>
              <a:custGeom>
                <a:avLst/>
                <a:gdLst>
                  <a:gd name="connsiteX0" fmla="*/ 95528 w 95528"/>
                  <a:gd name="connsiteY0" fmla="*/ 47764 h 95527"/>
                  <a:gd name="connsiteX1" fmla="*/ 47764 w 95528"/>
                  <a:gd name="connsiteY1" fmla="*/ 95528 h 95527"/>
                  <a:gd name="connsiteX2" fmla="*/ 0 w 95528"/>
                  <a:gd name="connsiteY2" fmla="*/ 47764 h 95527"/>
                  <a:gd name="connsiteX3" fmla="*/ 47764 w 95528"/>
                  <a:gd name="connsiteY3" fmla="*/ 0 h 95527"/>
                  <a:gd name="connsiteX4" fmla="*/ 95528 w 95528"/>
                  <a:gd name="connsiteY4" fmla="*/ 47764 h 95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528" h="95527">
                    <a:moveTo>
                      <a:pt x="95528" y="47764"/>
                    </a:moveTo>
                    <a:cubicBezTo>
                      <a:pt x="95528" y="74145"/>
                      <a:pt x="74145" y="95528"/>
                      <a:pt x="47764" y="95528"/>
                    </a:cubicBezTo>
                    <a:cubicBezTo>
                      <a:pt x="21383" y="95528"/>
                      <a:pt x="0" y="74145"/>
                      <a:pt x="0" y="47764"/>
                    </a:cubicBezTo>
                    <a:cubicBezTo>
                      <a:pt x="0" y="21383"/>
                      <a:pt x="21383" y="0"/>
                      <a:pt x="47764" y="0"/>
                    </a:cubicBezTo>
                    <a:cubicBezTo>
                      <a:pt x="74145" y="0"/>
                      <a:pt x="95528" y="21383"/>
                      <a:pt x="95528" y="47764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26" name="Graphic 2">
              <a:extLst>
                <a:ext uri="{FF2B5EF4-FFF2-40B4-BE49-F238E27FC236}">
                  <a16:creationId xmlns:a16="http://schemas.microsoft.com/office/drawing/2014/main" id="{5E64EE75-0C1C-E812-DFB5-F3FA6CE29DAB}"/>
                </a:ext>
              </a:extLst>
            </p:cNvPr>
            <p:cNvGrpSpPr/>
            <p:nvPr/>
          </p:nvGrpSpPr>
          <p:grpSpPr>
            <a:xfrm>
              <a:off x="8148841" y="2702257"/>
              <a:ext cx="95528" cy="806712"/>
              <a:chOff x="8148841" y="2702257"/>
              <a:chExt cx="95528" cy="806712"/>
            </a:xfrm>
            <a:solidFill>
              <a:srgbClr val="FFFFFF"/>
            </a:solidFill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7F534107-AE75-FE8E-2868-42687206E1AA}"/>
                  </a:ext>
                </a:extLst>
              </p:cNvPr>
              <p:cNvSpPr/>
              <p:nvPr/>
            </p:nvSpPr>
            <p:spPr>
              <a:xfrm>
                <a:off x="8148841" y="3413441"/>
                <a:ext cx="95528" cy="95528"/>
              </a:xfrm>
              <a:custGeom>
                <a:avLst/>
                <a:gdLst>
                  <a:gd name="connsiteX0" fmla="*/ 47764 w 95528"/>
                  <a:gd name="connsiteY0" fmla="*/ 0 h 95528"/>
                  <a:gd name="connsiteX1" fmla="*/ 95528 w 95528"/>
                  <a:gd name="connsiteY1" fmla="*/ 47764 h 95528"/>
                  <a:gd name="connsiteX2" fmla="*/ 47764 w 95528"/>
                  <a:gd name="connsiteY2" fmla="*/ 95528 h 95528"/>
                  <a:gd name="connsiteX3" fmla="*/ 0 w 95528"/>
                  <a:gd name="connsiteY3" fmla="*/ 47764 h 95528"/>
                  <a:gd name="connsiteX4" fmla="*/ 47764 w 95528"/>
                  <a:gd name="connsiteY4" fmla="*/ 0 h 95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528" h="95528">
                    <a:moveTo>
                      <a:pt x="47764" y="0"/>
                    </a:moveTo>
                    <a:cubicBezTo>
                      <a:pt x="74145" y="0"/>
                      <a:pt x="95528" y="21383"/>
                      <a:pt x="95528" y="47764"/>
                    </a:cubicBezTo>
                    <a:cubicBezTo>
                      <a:pt x="95528" y="74145"/>
                      <a:pt x="74145" y="95528"/>
                      <a:pt x="47764" y="95528"/>
                    </a:cubicBezTo>
                    <a:cubicBezTo>
                      <a:pt x="21383" y="95528"/>
                      <a:pt x="0" y="74145"/>
                      <a:pt x="0" y="47764"/>
                    </a:cubicBezTo>
                    <a:cubicBezTo>
                      <a:pt x="0" y="21383"/>
                      <a:pt x="21383" y="0"/>
                      <a:pt x="4776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5A3B61A7-F1F0-742A-470C-F41884EC2417}"/>
                  </a:ext>
                </a:extLst>
              </p:cNvPr>
              <p:cNvSpPr/>
              <p:nvPr/>
            </p:nvSpPr>
            <p:spPr>
              <a:xfrm>
                <a:off x="8148841" y="2702257"/>
                <a:ext cx="95528" cy="95528"/>
              </a:xfrm>
              <a:custGeom>
                <a:avLst/>
                <a:gdLst>
                  <a:gd name="connsiteX0" fmla="*/ 47764 w 95528"/>
                  <a:gd name="connsiteY0" fmla="*/ 0 h 95528"/>
                  <a:gd name="connsiteX1" fmla="*/ 95528 w 95528"/>
                  <a:gd name="connsiteY1" fmla="*/ 47764 h 95528"/>
                  <a:gd name="connsiteX2" fmla="*/ 47764 w 95528"/>
                  <a:gd name="connsiteY2" fmla="*/ 95528 h 95528"/>
                  <a:gd name="connsiteX3" fmla="*/ 0 w 95528"/>
                  <a:gd name="connsiteY3" fmla="*/ 47764 h 95528"/>
                  <a:gd name="connsiteX4" fmla="*/ 47764 w 95528"/>
                  <a:gd name="connsiteY4" fmla="*/ 0 h 95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5528" h="95528">
                    <a:moveTo>
                      <a:pt x="47764" y="0"/>
                    </a:moveTo>
                    <a:cubicBezTo>
                      <a:pt x="74145" y="0"/>
                      <a:pt x="95528" y="21383"/>
                      <a:pt x="95528" y="47764"/>
                    </a:cubicBezTo>
                    <a:cubicBezTo>
                      <a:pt x="95528" y="74145"/>
                      <a:pt x="74145" y="95528"/>
                      <a:pt x="47764" y="95528"/>
                    </a:cubicBezTo>
                    <a:cubicBezTo>
                      <a:pt x="21383" y="95528"/>
                      <a:pt x="0" y="74145"/>
                      <a:pt x="0" y="47764"/>
                    </a:cubicBezTo>
                    <a:cubicBezTo>
                      <a:pt x="0" y="21383"/>
                      <a:pt x="21383" y="0"/>
                      <a:pt x="4776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774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E8B5C4F-0211-D174-0FF5-F6735ED97551}"/>
                </a:ext>
              </a:extLst>
            </p:cNvPr>
            <p:cNvSpPr/>
            <p:nvPr/>
          </p:nvSpPr>
          <p:spPr>
            <a:xfrm>
              <a:off x="8021933" y="2931080"/>
              <a:ext cx="349344" cy="349343"/>
            </a:xfrm>
            <a:custGeom>
              <a:avLst/>
              <a:gdLst>
                <a:gd name="connsiteX0" fmla="*/ 349344 w 349344"/>
                <a:gd name="connsiteY0" fmla="*/ 174672 h 349343"/>
                <a:gd name="connsiteX1" fmla="*/ 174672 w 349344"/>
                <a:gd name="connsiteY1" fmla="*/ 349344 h 349343"/>
                <a:gd name="connsiteX2" fmla="*/ 0 w 349344"/>
                <a:gd name="connsiteY2" fmla="*/ 174672 h 349343"/>
                <a:gd name="connsiteX3" fmla="*/ 174672 w 349344"/>
                <a:gd name="connsiteY3" fmla="*/ 0 h 349343"/>
                <a:gd name="connsiteX4" fmla="*/ 349344 w 349344"/>
                <a:gd name="connsiteY4" fmla="*/ 174672 h 34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344" h="349343">
                  <a:moveTo>
                    <a:pt x="349344" y="174672"/>
                  </a:moveTo>
                  <a:cubicBezTo>
                    <a:pt x="349344" y="271033"/>
                    <a:pt x="271033" y="349344"/>
                    <a:pt x="174672" y="349344"/>
                  </a:cubicBezTo>
                  <a:cubicBezTo>
                    <a:pt x="78311" y="349344"/>
                    <a:pt x="0" y="271033"/>
                    <a:pt x="0" y="174672"/>
                  </a:cubicBezTo>
                  <a:cubicBezTo>
                    <a:pt x="0" y="78311"/>
                    <a:pt x="78033" y="0"/>
                    <a:pt x="174672" y="0"/>
                  </a:cubicBezTo>
                  <a:cubicBezTo>
                    <a:pt x="271311" y="0"/>
                    <a:pt x="349344" y="78311"/>
                    <a:pt x="349344" y="174672"/>
                  </a:cubicBez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2774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C244199-349F-9D08-D241-0FE56031E92D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3334739" y="3352611"/>
            <a:ext cx="956981" cy="957085"/>
          </a:xfrm>
          <a:custGeom>
            <a:avLst/>
            <a:gdLst>
              <a:gd name="connsiteX0" fmla="*/ 140168 w 956981"/>
              <a:gd name="connsiteY0" fmla="*/ 816917 h 957085"/>
              <a:gd name="connsiteX1" fmla="*/ 816918 w 956981"/>
              <a:gd name="connsiteY1" fmla="*/ 816917 h 957085"/>
              <a:gd name="connsiteX2" fmla="*/ 816918 w 956981"/>
              <a:gd name="connsiteY2" fmla="*/ 140168 h 957085"/>
              <a:gd name="connsiteX3" fmla="*/ 140168 w 956981"/>
              <a:gd name="connsiteY3" fmla="*/ 140168 h 957085"/>
              <a:gd name="connsiteX4" fmla="*/ 140168 w 956981"/>
              <a:gd name="connsiteY4" fmla="*/ 816917 h 957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6981" h="957085">
                <a:moveTo>
                  <a:pt x="140168" y="816917"/>
                </a:moveTo>
                <a:cubicBezTo>
                  <a:pt x="327059" y="1003808"/>
                  <a:pt x="630027" y="1003808"/>
                  <a:pt x="816918" y="816917"/>
                </a:cubicBezTo>
                <a:cubicBezTo>
                  <a:pt x="1003809" y="630027"/>
                  <a:pt x="1003531" y="327059"/>
                  <a:pt x="816918" y="140168"/>
                </a:cubicBezTo>
                <a:cubicBezTo>
                  <a:pt x="630027" y="-46723"/>
                  <a:pt x="327059" y="-46723"/>
                  <a:pt x="140168" y="140168"/>
                </a:cubicBezTo>
                <a:cubicBezTo>
                  <a:pt x="-46723" y="327059"/>
                  <a:pt x="-46723" y="630027"/>
                  <a:pt x="140168" y="816917"/>
                </a:cubicBezTo>
                <a:close/>
              </a:path>
            </a:pathLst>
          </a:custGeom>
          <a:solidFill>
            <a:schemeClr val="accent1"/>
          </a:solidFill>
          <a:ln w="2774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E835A693-58D3-9684-FA08-0B1DD6FE15F6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2942305" y="2965374"/>
            <a:ext cx="1745886" cy="1745876"/>
          </a:xfrm>
          <a:custGeom>
            <a:avLst/>
            <a:gdLst>
              <a:gd name="connsiteX0" fmla="*/ 227226 w 266173"/>
              <a:gd name="connsiteY0" fmla="*/ 227226 h 266173"/>
              <a:gd name="connsiteX1" fmla="*/ 38947 w 266173"/>
              <a:gd name="connsiteY1" fmla="*/ 227226 h 266173"/>
              <a:gd name="connsiteX2" fmla="*/ 38947 w 266173"/>
              <a:gd name="connsiteY2" fmla="*/ 38947 h 266173"/>
              <a:gd name="connsiteX3" fmla="*/ 227226 w 266173"/>
              <a:gd name="connsiteY3" fmla="*/ 38947 h 266173"/>
              <a:gd name="connsiteX4" fmla="*/ 227226 w 266173"/>
              <a:gd name="connsiteY4" fmla="*/ 227226 h 266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173" h="266173">
                <a:moveTo>
                  <a:pt x="227226" y="227226"/>
                </a:moveTo>
                <a:cubicBezTo>
                  <a:pt x="175297" y="279156"/>
                  <a:pt x="90877" y="279156"/>
                  <a:pt x="38947" y="227226"/>
                </a:cubicBezTo>
                <a:cubicBezTo>
                  <a:pt x="-12982" y="175297"/>
                  <a:pt x="-12982" y="90877"/>
                  <a:pt x="38947" y="38947"/>
                </a:cubicBezTo>
                <a:cubicBezTo>
                  <a:pt x="90877" y="-12982"/>
                  <a:pt x="175297" y="-12982"/>
                  <a:pt x="227226" y="38947"/>
                </a:cubicBezTo>
                <a:cubicBezTo>
                  <a:pt x="279156" y="90877"/>
                  <a:pt x="279156" y="175297"/>
                  <a:pt x="227226" y="227226"/>
                </a:cubicBez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49AB40D9-4331-1105-7FB1-5E2B2E4D925F}"/>
              </a:ext>
            </a:extLst>
          </p:cNvPr>
          <p:cNvGrpSpPr/>
          <p:nvPr>
            <p:custDataLst>
              <p:tags r:id="rId35"/>
            </p:custDataLst>
          </p:nvPr>
        </p:nvGrpSpPr>
        <p:grpSpPr>
          <a:xfrm>
            <a:off x="3122061" y="3141214"/>
            <a:ext cx="1370048" cy="1372430"/>
            <a:chOff x="-2667550" y="2481702"/>
            <a:chExt cx="1387558" cy="1389969"/>
          </a:xfrm>
          <a:solidFill>
            <a:schemeClr val="accent2"/>
          </a:solidFill>
        </p:grpSpPr>
        <p:sp>
          <p:nvSpPr>
            <p:cNvPr id="299" name="Freeform: Shape 298">
              <a:extLst>
                <a:ext uri="{FF2B5EF4-FFF2-40B4-BE49-F238E27FC236}">
                  <a16:creationId xmlns:a16="http://schemas.microsoft.com/office/drawing/2014/main" id="{D79D70E5-21F1-C8F8-6774-B6CF02C6567E}"/>
                </a:ext>
              </a:extLst>
            </p:cNvPr>
            <p:cNvSpPr/>
            <p:nvPr/>
          </p:nvSpPr>
          <p:spPr>
            <a:xfrm>
              <a:off x="-1863214" y="2554545"/>
              <a:ext cx="583222" cy="696088"/>
            </a:xfrm>
            <a:custGeom>
              <a:avLst/>
              <a:gdLst>
                <a:gd name="connsiteX0" fmla="*/ 528625 w 583222"/>
                <a:gd name="connsiteY0" fmla="*/ 581404 h 696088"/>
                <a:gd name="connsiteX1" fmla="*/ 574821 w 583222"/>
                <a:gd name="connsiteY1" fmla="*/ 553020 h 696088"/>
                <a:gd name="connsiteX2" fmla="*/ 525576 w 583222"/>
                <a:gd name="connsiteY2" fmla="*/ 688751 h 696088"/>
                <a:gd name="connsiteX3" fmla="*/ 489191 w 583222"/>
                <a:gd name="connsiteY3" fmla="*/ 688275 h 696088"/>
                <a:gd name="connsiteX4" fmla="*/ 428517 w 583222"/>
                <a:gd name="connsiteY4" fmla="*/ 577785 h 696088"/>
                <a:gd name="connsiteX5" fmla="*/ 453758 w 583222"/>
                <a:gd name="connsiteY5" fmla="*/ 552544 h 696088"/>
                <a:gd name="connsiteX6" fmla="*/ 485667 w 583222"/>
                <a:gd name="connsiteY6" fmla="*/ 581404 h 696088"/>
                <a:gd name="connsiteX7" fmla="*/ 145434 w 583222"/>
                <a:gd name="connsiteY7" fmla="*/ 84199 h 696088"/>
                <a:gd name="connsiteX8" fmla="*/ 463 w 583222"/>
                <a:gd name="connsiteY8" fmla="*/ 21811 h 696088"/>
                <a:gd name="connsiteX9" fmla="*/ 76854 w 583222"/>
                <a:gd name="connsiteY9" fmla="*/ 10190 h 696088"/>
                <a:gd name="connsiteX10" fmla="*/ 528720 w 583222"/>
                <a:gd name="connsiteY10" fmla="*/ 581404 h 696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3222" h="696088">
                  <a:moveTo>
                    <a:pt x="528625" y="581404"/>
                  </a:moveTo>
                  <a:cubicBezTo>
                    <a:pt x="551294" y="586357"/>
                    <a:pt x="546722" y="544733"/>
                    <a:pt x="574821" y="553020"/>
                  </a:cubicBezTo>
                  <a:cubicBezTo>
                    <a:pt x="606825" y="562450"/>
                    <a:pt x="537959" y="679512"/>
                    <a:pt x="525576" y="688751"/>
                  </a:cubicBezTo>
                  <a:cubicBezTo>
                    <a:pt x="513194" y="697990"/>
                    <a:pt x="501192" y="699229"/>
                    <a:pt x="489191" y="688275"/>
                  </a:cubicBezTo>
                  <a:cubicBezTo>
                    <a:pt x="484524" y="683989"/>
                    <a:pt x="428612" y="584071"/>
                    <a:pt x="428517" y="577785"/>
                  </a:cubicBezTo>
                  <a:cubicBezTo>
                    <a:pt x="428421" y="566831"/>
                    <a:pt x="442614" y="552448"/>
                    <a:pt x="453758" y="552544"/>
                  </a:cubicBezTo>
                  <a:lnTo>
                    <a:pt x="485667" y="581404"/>
                  </a:lnTo>
                  <a:cubicBezTo>
                    <a:pt x="475380" y="374807"/>
                    <a:pt x="333267" y="170877"/>
                    <a:pt x="145434" y="84199"/>
                  </a:cubicBezTo>
                  <a:cubicBezTo>
                    <a:pt x="118764" y="71912"/>
                    <a:pt x="3702" y="40480"/>
                    <a:pt x="463" y="21811"/>
                  </a:cubicBezTo>
                  <a:cubicBezTo>
                    <a:pt x="-6204" y="-15908"/>
                    <a:pt x="61042" y="5809"/>
                    <a:pt x="76854" y="10190"/>
                  </a:cubicBezTo>
                  <a:cubicBezTo>
                    <a:pt x="321742" y="77818"/>
                    <a:pt x="521767" y="327182"/>
                    <a:pt x="528720" y="5814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: Shape 299">
              <a:extLst>
                <a:ext uri="{FF2B5EF4-FFF2-40B4-BE49-F238E27FC236}">
                  <a16:creationId xmlns:a16="http://schemas.microsoft.com/office/drawing/2014/main" id="{25FB2B47-9127-8DE4-8FCD-F7522D5C618C}"/>
                </a:ext>
              </a:extLst>
            </p:cNvPr>
            <p:cNvSpPr/>
            <p:nvPr/>
          </p:nvSpPr>
          <p:spPr>
            <a:xfrm>
              <a:off x="-2667550" y="3108523"/>
              <a:ext cx="581533" cy="695605"/>
            </a:xfrm>
            <a:custGeom>
              <a:avLst/>
              <a:gdLst>
                <a:gd name="connsiteX0" fmla="*/ 104141 w 581533"/>
                <a:gd name="connsiteY0" fmla="*/ 112961 h 695605"/>
                <a:gd name="connsiteX1" fmla="*/ 97950 w 581533"/>
                <a:gd name="connsiteY1" fmla="*/ 144012 h 695605"/>
                <a:gd name="connsiteX2" fmla="*/ 461614 w 581533"/>
                <a:gd name="connsiteY2" fmla="*/ 621501 h 695605"/>
                <a:gd name="connsiteX3" fmla="*/ 581534 w 581533"/>
                <a:gd name="connsiteY3" fmla="*/ 672555 h 695605"/>
                <a:gd name="connsiteX4" fmla="*/ 574771 w 581533"/>
                <a:gd name="connsiteY4" fmla="*/ 695605 h 695605"/>
                <a:gd name="connsiteX5" fmla="*/ 54135 w 581533"/>
                <a:gd name="connsiteY5" fmla="*/ 112770 h 695605"/>
                <a:gd name="connsiteX6" fmla="*/ 28227 w 581533"/>
                <a:gd name="connsiteY6" fmla="*/ 140393 h 695605"/>
                <a:gd name="connsiteX7" fmla="*/ 53944 w 581533"/>
                <a:gd name="connsiteY7" fmla="*/ 11139 h 695605"/>
                <a:gd name="connsiteX8" fmla="*/ 100236 w 581533"/>
                <a:gd name="connsiteY8" fmla="*/ 20664 h 695605"/>
                <a:gd name="connsiteX9" fmla="*/ 153099 w 581533"/>
                <a:gd name="connsiteY9" fmla="*/ 117914 h 695605"/>
                <a:gd name="connsiteX10" fmla="*/ 104141 w 581533"/>
                <a:gd name="connsiteY10" fmla="*/ 112770 h 695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81533" h="695605">
                  <a:moveTo>
                    <a:pt x="104141" y="112961"/>
                  </a:moveTo>
                  <a:cubicBezTo>
                    <a:pt x="90996" y="111723"/>
                    <a:pt x="97092" y="136297"/>
                    <a:pt x="97950" y="144012"/>
                  </a:cubicBezTo>
                  <a:cubicBezTo>
                    <a:pt x="122143" y="352610"/>
                    <a:pt x="270162" y="539871"/>
                    <a:pt x="461614" y="621501"/>
                  </a:cubicBezTo>
                  <a:cubicBezTo>
                    <a:pt x="485808" y="631883"/>
                    <a:pt x="578200" y="654648"/>
                    <a:pt x="581534" y="672555"/>
                  </a:cubicBezTo>
                  <a:lnTo>
                    <a:pt x="574771" y="695605"/>
                  </a:lnTo>
                  <a:cubicBezTo>
                    <a:pt x="292545" y="659696"/>
                    <a:pt x="64136" y="393663"/>
                    <a:pt x="54135" y="112770"/>
                  </a:cubicBezTo>
                  <a:lnTo>
                    <a:pt x="28227" y="140393"/>
                  </a:lnTo>
                  <a:cubicBezTo>
                    <a:pt x="-42068" y="164205"/>
                    <a:pt x="39276" y="29427"/>
                    <a:pt x="53944" y="11139"/>
                  </a:cubicBezTo>
                  <a:cubicBezTo>
                    <a:pt x="71280" y="-10483"/>
                    <a:pt x="87186" y="3042"/>
                    <a:pt x="100236" y="20664"/>
                  </a:cubicBezTo>
                  <a:cubicBezTo>
                    <a:pt x="108713" y="31998"/>
                    <a:pt x="151671" y="108198"/>
                    <a:pt x="153099" y="117914"/>
                  </a:cubicBezTo>
                  <a:cubicBezTo>
                    <a:pt x="158624" y="154299"/>
                    <a:pt x="105379" y="146584"/>
                    <a:pt x="104141" y="1127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1" name="Freeform: Shape 300">
              <a:extLst>
                <a:ext uri="{FF2B5EF4-FFF2-40B4-BE49-F238E27FC236}">
                  <a16:creationId xmlns:a16="http://schemas.microsoft.com/office/drawing/2014/main" id="{6CD94469-2001-A134-3EC6-87E8CE1A06C6}"/>
                </a:ext>
              </a:extLst>
            </p:cNvPr>
            <p:cNvSpPr/>
            <p:nvPr/>
          </p:nvSpPr>
          <p:spPr>
            <a:xfrm>
              <a:off x="-2042846" y="3293397"/>
              <a:ext cx="694140" cy="578274"/>
            </a:xfrm>
            <a:custGeom>
              <a:avLst/>
              <a:gdLst>
                <a:gd name="connsiteX0" fmla="*/ 108182 w 694140"/>
                <a:gd name="connsiteY0" fmla="*/ 525875 h 578274"/>
                <a:gd name="connsiteX1" fmla="*/ 143424 w 694140"/>
                <a:gd name="connsiteY1" fmla="*/ 564071 h 578274"/>
                <a:gd name="connsiteX2" fmla="*/ 4550 w 694140"/>
                <a:gd name="connsiteY2" fmla="*/ 518732 h 578274"/>
                <a:gd name="connsiteX3" fmla="*/ 8265 w 694140"/>
                <a:gd name="connsiteY3" fmla="*/ 486728 h 578274"/>
                <a:gd name="connsiteX4" fmla="*/ 112182 w 694140"/>
                <a:gd name="connsiteY4" fmla="*/ 425958 h 578274"/>
                <a:gd name="connsiteX5" fmla="*/ 108087 w 694140"/>
                <a:gd name="connsiteY5" fmla="*/ 483013 h 578274"/>
                <a:gd name="connsiteX6" fmla="*/ 609483 w 694140"/>
                <a:gd name="connsiteY6" fmla="*/ 146304 h 578274"/>
                <a:gd name="connsiteX7" fmla="*/ 669966 w 694140"/>
                <a:gd name="connsiteY7" fmla="*/ 0 h 578274"/>
                <a:gd name="connsiteX8" fmla="*/ 690540 w 694140"/>
                <a:gd name="connsiteY8" fmla="*/ 6001 h 578274"/>
                <a:gd name="connsiteX9" fmla="*/ 645202 w 694140"/>
                <a:gd name="connsiteY9" fmla="*/ 174784 h 578274"/>
                <a:gd name="connsiteX10" fmla="*/ 108182 w 694140"/>
                <a:gd name="connsiteY10" fmla="*/ 525875 h 578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94140" h="578274">
                  <a:moveTo>
                    <a:pt x="108182" y="525875"/>
                  </a:moveTo>
                  <a:cubicBezTo>
                    <a:pt x="111706" y="539020"/>
                    <a:pt x="146663" y="545497"/>
                    <a:pt x="143424" y="564071"/>
                  </a:cubicBezTo>
                  <a:cubicBezTo>
                    <a:pt x="135423" y="609695"/>
                    <a:pt x="12741" y="531971"/>
                    <a:pt x="4550" y="518732"/>
                  </a:cubicBezTo>
                  <a:cubicBezTo>
                    <a:pt x="-3165" y="506349"/>
                    <a:pt x="-498" y="497110"/>
                    <a:pt x="8265" y="486728"/>
                  </a:cubicBezTo>
                  <a:cubicBezTo>
                    <a:pt x="12551" y="481584"/>
                    <a:pt x="106182" y="426434"/>
                    <a:pt x="112182" y="425958"/>
                  </a:cubicBezTo>
                  <a:cubicBezTo>
                    <a:pt x="160665" y="421481"/>
                    <a:pt x="138852" y="467201"/>
                    <a:pt x="108087" y="483013"/>
                  </a:cubicBezTo>
                  <a:cubicBezTo>
                    <a:pt x="316113" y="469487"/>
                    <a:pt x="520519" y="333756"/>
                    <a:pt x="609483" y="146304"/>
                  </a:cubicBezTo>
                  <a:cubicBezTo>
                    <a:pt x="622437" y="119063"/>
                    <a:pt x="652821" y="4477"/>
                    <a:pt x="669966" y="0"/>
                  </a:cubicBezTo>
                  <a:lnTo>
                    <a:pt x="690540" y="6001"/>
                  </a:lnTo>
                  <a:cubicBezTo>
                    <a:pt x="707495" y="31052"/>
                    <a:pt x="659870" y="145256"/>
                    <a:pt x="645202" y="174784"/>
                  </a:cubicBezTo>
                  <a:cubicBezTo>
                    <a:pt x="546427" y="372428"/>
                    <a:pt x="330877" y="515874"/>
                    <a:pt x="108182" y="5258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Freeform: Shape 301">
              <a:extLst>
                <a:ext uri="{FF2B5EF4-FFF2-40B4-BE49-F238E27FC236}">
                  <a16:creationId xmlns:a16="http://schemas.microsoft.com/office/drawing/2014/main" id="{47BCF120-85D2-1FBA-1C20-2A097BEC367D}"/>
                </a:ext>
              </a:extLst>
            </p:cNvPr>
            <p:cNvSpPr/>
            <p:nvPr/>
          </p:nvSpPr>
          <p:spPr>
            <a:xfrm>
              <a:off x="-2598271" y="2481702"/>
              <a:ext cx="693168" cy="568045"/>
            </a:xfrm>
            <a:custGeom>
              <a:avLst/>
              <a:gdLst>
                <a:gd name="connsiteX0" fmla="*/ 691039 w 693168"/>
                <a:gd name="connsiteY0" fmla="*/ 98082 h 568045"/>
                <a:gd name="connsiteX1" fmla="*/ 574262 w 693168"/>
                <a:gd name="connsiteY1" fmla="*/ 160280 h 568045"/>
                <a:gd name="connsiteX2" fmla="*/ 558070 w 693168"/>
                <a:gd name="connsiteY2" fmla="*/ 154375 h 568045"/>
                <a:gd name="connsiteX3" fmla="*/ 552641 w 693168"/>
                <a:gd name="connsiteY3" fmla="*/ 133896 h 568045"/>
                <a:gd name="connsiteX4" fmla="*/ 585026 w 693168"/>
                <a:gd name="connsiteY4" fmla="*/ 99130 h 568045"/>
                <a:gd name="connsiteX5" fmla="*/ 40672 w 693168"/>
                <a:gd name="connsiteY5" fmla="*/ 567284 h 568045"/>
                <a:gd name="connsiteX6" fmla="*/ 0 w 693168"/>
                <a:gd name="connsiteY6" fmla="*/ 568046 h 568045"/>
                <a:gd name="connsiteX7" fmla="*/ 577882 w 693168"/>
                <a:gd name="connsiteY7" fmla="*/ 56363 h 568045"/>
                <a:gd name="connsiteX8" fmla="*/ 552545 w 693168"/>
                <a:gd name="connsiteY8" fmla="*/ 28835 h 568045"/>
                <a:gd name="connsiteX9" fmla="*/ 568262 w 693168"/>
                <a:gd name="connsiteY9" fmla="*/ 70 h 568045"/>
                <a:gd name="connsiteX10" fmla="*/ 685038 w 693168"/>
                <a:gd name="connsiteY10" fmla="*/ 59887 h 568045"/>
                <a:gd name="connsiteX11" fmla="*/ 690943 w 693168"/>
                <a:gd name="connsiteY11" fmla="*/ 98082 h 568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93168" h="568045">
                  <a:moveTo>
                    <a:pt x="691039" y="98082"/>
                  </a:moveTo>
                  <a:lnTo>
                    <a:pt x="574262" y="160280"/>
                  </a:lnTo>
                  <a:lnTo>
                    <a:pt x="558070" y="154375"/>
                  </a:lnTo>
                  <a:lnTo>
                    <a:pt x="552641" y="133896"/>
                  </a:lnTo>
                  <a:lnTo>
                    <a:pt x="585026" y="99130"/>
                  </a:lnTo>
                  <a:cubicBezTo>
                    <a:pt x="321183" y="120085"/>
                    <a:pt x="95631" y="308204"/>
                    <a:pt x="40672" y="567284"/>
                  </a:cubicBezTo>
                  <a:lnTo>
                    <a:pt x="0" y="568046"/>
                  </a:lnTo>
                  <a:cubicBezTo>
                    <a:pt x="41053" y="291344"/>
                    <a:pt x="301466" y="75032"/>
                    <a:pt x="577882" y="56363"/>
                  </a:cubicBezTo>
                  <a:lnTo>
                    <a:pt x="552545" y="28835"/>
                  </a:lnTo>
                  <a:cubicBezTo>
                    <a:pt x="550926" y="18453"/>
                    <a:pt x="558737" y="2927"/>
                    <a:pt x="568262" y="70"/>
                  </a:cubicBezTo>
                  <a:cubicBezTo>
                    <a:pt x="575881" y="-2216"/>
                    <a:pt x="678371" y="52362"/>
                    <a:pt x="685038" y="59887"/>
                  </a:cubicBezTo>
                  <a:cubicBezTo>
                    <a:pt x="694372" y="70460"/>
                    <a:pt x="694658" y="85033"/>
                    <a:pt x="690943" y="9808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123239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8C58C93-AC33-C2D2-4739-603309601B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249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C58C93-AC33-C2D2-4739-603309601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346995-F5FC-3819-7648-2152340B21A6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288000" y="6928874"/>
            <a:ext cx="4144041" cy="125069"/>
          </a:xfrm>
        </p:spPr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CC33811-05D0-F8CB-55E6-1C64CA330B0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 anchor="ctr"/>
          <a:lstStyle/>
          <a:p>
            <a:r>
              <a:rPr lang="en-US"/>
              <a:t>Remember </a:t>
            </a:r>
            <a:r>
              <a:rPr lang="en-US" i="1"/>
              <a:t>As Good as It Gets</a:t>
            </a:r>
            <a:r>
              <a:rPr lang="en-US"/>
              <a:t>? Are we perceived as the problem, or the solution?</a:t>
            </a:r>
          </a:p>
        </p:txBody>
      </p:sp>
      <p:sp>
        <p:nvSpPr>
          <p:cNvPr id="213" name="Slide Number Placeholder 9">
            <a:extLst>
              <a:ext uri="{FF2B5EF4-FFF2-40B4-BE49-F238E27FC236}">
                <a16:creationId xmlns:a16="http://schemas.microsoft.com/office/drawing/2014/main" id="{2AF48601-3263-3B4A-26F1-81A6AC01CAA6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27</a:t>
            </a:fld>
            <a:endParaRPr lang="en-US" noProof="0"/>
          </a:p>
        </p:txBody>
      </p:sp>
      <p:sp>
        <p:nvSpPr>
          <p:cNvPr id="424" name="Rectangle 423">
            <a:extLst>
              <a:ext uri="{FF2B5EF4-FFF2-40B4-BE49-F238E27FC236}">
                <a16:creationId xmlns:a16="http://schemas.microsoft.com/office/drawing/2014/main" id="{4D97CF9A-3BD7-EE82-2470-C6C3E86AA06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150736" y="1134336"/>
            <a:ext cx="4040575" cy="5723663"/>
          </a:xfrm>
          <a:prstGeom prst="rect">
            <a:avLst/>
          </a:prstGeom>
          <a:gradFill flip="none" rotWithShape="1">
            <a:gsLst>
              <a:gs pos="0">
                <a:srgbClr val="1BC0D3">
                  <a:shade val="30000"/>
                  <a:satMod val="115000"/>
                </a:srgbClr>
              </a:gs>
              <a:gs pos="50000">
                <a:srgbClr val="1BC0D3">
                  <a:shade val="67500"/>
                  <a:satMod val="115000"/>
                </a:srgbClr>
              </a:gs>
              <a:gs pos="100000">
                <a:srgbClr val="1BC0D3">
                  <a:shade val="100000"/>
                  <a:satMod val="115000"/>
                </a:srgbClr>
              </a:gs>
            </a:gsLst>
            <a:lin ang="108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5" name="Rectangle 424">
            <a:extLst>
              <a:ext uri="{FF2B5EF4-FFF2-40B4-BE49-F238E27FC236}">
                <a16:creationId xmlns:a16="http://schemas.microsoft.com/office/drawing/2014/main" id="{F37976F9-3D77-E2B0-940B-923498C8F4E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150736" y="3731752"/>
            <a:ext cx="4040575" cy="1991510"/>
          </a:xfrm>
          <a:prstGeom prst="rect">
            <a:avLst/>
          </a:prstGeom>
          <a:gradFill flip="none" rotWithShape="1">
            <a:gsLst>
              <a:gs pos="0">
                <a:srgbClr val="1BC0D3">
                  <a:shade val="30000"/>
                  <a:satMod val="115000"/>
                </a:srgbClr>
              </a:gs>
              <a:gs pos="50000">
                <a:srgbClr val="1BC0D3">
                  <a:shade val="67500"/>
                  <a:satMod val="115000"/>
                </a:srgbClr>
              </a:gs>
              <a:gs pos="100000">
                <a:srgbClr val="1BC0D3">
                  <a:shade val="100000"/>
                  <a:satMod val="115000"/>
                </a:srgbClr>
              </a:gs>
            </a:gsLst>
            <a:lin ang="162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6" name="Rectangle: Rounded Corners 425">
            <a:extLst>
              <a:ext uri="{FF2B5EF4-FFF2-40B4-BE49-F238E27FC236}">
                <a16:creationId xmlns:a16="http://schemas.microsoft.com/office/drawing/2014/main" id="{9BA8026F-74D5-6FB8-7BF7-480485C0E596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8672287" y="5988341"/>
            <a:ext cx="2997473" cy="487698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FUTURE</a:t>
            </a:r>
          </a:p>
        </p:txBody>
      </p:sp>
      <p:sp>
        <p:nvSpPr>
          <p:cNvPr id="427" name="Rectangle 426">
            <a:extLst>
              <a:ext uri="{FF2B5EF4-FFF2-40B4-BE49-F238E27FC236}">
                <a16:creationId xmlns:a16="http://schemas.microsoft.com/office/drawing/2014/main" id="{0AA5B760-9C56-6D4E-2563-27B04CAF1694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8167548" y="1134738"/>
            <a:ext cx="4006951" cy="24373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1440" tIns="91440" rIns="91440" bIns="0" numCol="1" spcCol="1270" anchor="t" anchorCtr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cial success from ambulatory volum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white"/>
                </a:solidFill>
                <a:latin typeface="Calibri"/>
              </a:rPr>
              <a:t>Community health rewarded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e comes to the pati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th through capabiliti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sumer-controlled medical record integration</a:t>
            </a:r>
          </a:p>
        </p:txBody>
      </p:sp>
      <p:grpSp>
        <p:nvGrpSpPr>
          <p:cNvPr id="432" name="Group 431">
            <a:extLst>
              <a:ext uri="{FF2B5EF4-FFF2-40B4-BE49-F238E27FC236}">
                <a16:creationId xmlns:a16="http://schemas.microsoft.com/office/drawing/2014/main" id="{A05A6909-2819-B25C-4232-B9755BB594E5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9261804" y="3787558"/>
            <a:ext cx="1818438" cy="1818880"/>
            <a:chOff x="9184166" y="3518689"/>
            <a:chExt cx="1207698" cy="1207990"/>
          </a:xfrm>
        </p:grpSpPr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D2A19795-46F9-CAC5-4CD2-CBA062027B54}"/>
                </a:ext>
              </a:extLst>
            </p:cNvPr>
            <p:cNvSpPr/>
            <p:nvPr/>
          </p:nvSpPr>
          <p:spPr>
            <a:xfrm>
              <a:off x="9831497" y="3708913"/>
              <a:ext cx="560294" cy="396744"/>
            </a:xfrm>
            <a:custGeom>
              <a:avLst/>
              <a:gdLst>
                <a:gd name="connsiteX0" fmla="*/ 517017 w 730281"/>
                <a:gd name="connsiteY0" fmla="*/ 0 h 517112"/>
                <a:gd name="connsiteX1" fmla="*/ 730282 w 730281"/>
                <a:gd name="connsiteY1" fmla="*/ 517112 h 517112"/>
                <a:gd name="connsiteX2" fmla="*/ 0 w 730281"/>
                <a:gd name="connsiteY2" fmla="*/ 517112 h 517112"/>
                <a:gd name="connsiteX3" fmla="*/ 517017 w 730281"/>
                <a:gd name="connsiteY3" fmla="*/ 0 h 517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281" h="517112">
                  <a:moveTo>
                    <a:pt x="517017" y="0"/>
                  </a:moveTo>
                  <a:cubicBezTo>
                    <a:pt x="650272" y="144780"/>
                    <a:pt x="721805" y="317278"/>
                    <a:pt x="730282" y="517112"/>
                  </a:cubicBezTo>
                  <a:lnTo>
                    <a:pt x="0" y="517112"/>
                  </a:lnTo>
                  <a:cubicBezTo>
                    <a:pt x="171450" y="345662"/>
                    <a:pt x="343853" y="173260"/>
                    <a:pt x="517017" y="0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74577960-1B7F-5686-4CC9-A92427A27955}"/>
                </a:ext>
              </a:extLst>
            </p:cNvPr>
            <p:cNvSpPr/>
            <p:nvPr/>
          </p:nvSpPr>
          <p:spPr>
            <a:xfrm>
              <a:off x="9804750" y="3518689"/>
              <a:ext cx="397621" cy="561975"/>
            </a:xfrm>
            <a:custGeom>
              <a:avLst/>
              <a:gdLst>
                <a:gd name="connsiteX0" fmla="*/ 0 w 518255"/>
                <a:gd name="connsiteY0" fmla="*/ 732473 h 732472"/>
                <a:gd name="connsiteX1" fmla="*/ 0 w 518255"/>
                <a:gd name="connsiteY1" fmla="*/ 0 h 732472"/>
                <a:gd name="connsiteX2" fmla="*/ 518255 w 518255"/>
                <a:gd name="connsiteY2" fmla="*/ 214217 h 732472"/>
                <a:gd name="connsiteX3" fmla="*/ 0 w 518255"/>
                <a:gd name="connsiteY3" fmla="*/ 732473 h 732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8255" h="732472">
                  <a:moveTo>
                    <a:pt x="0" y="732473"/>
                  </a:moveTo>
                  <a:lnTo>
                    <a:pt x="0" y="0"/>
                  </a:lnTo>
                  <a:cubicBezTo>
                    <a:pt x="199644" y="8477"/>
                    <a:pt x="372142" y="79724"/>
                    <a:pt x="518255" y="214217"/>
                  </a:cubicBezTo>
                  <a:cubicBezTo>
                    <a:pt x="345186" y="387287"/>
                    <a:pt x="172879" y="559689"/>
                    <a:pt x="0" y="732473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D288522C-96F5-256B-4691-2C67AB792A02}"/>
                </a:ext>
              </a:extLst>
            </p:cNvPr>
            <p:cNvSpPr/>
            <p:nvPr/>
          </p:nvSpPr>
          <p:spPr>
            <a:xfrm>
              <a:off x="9373586" y="3518762"/>
              <a:ext cx="397182" cy="561682"/>
            </a:xfrm>
            <a:custGeom>
              <a:avLst/>
              <a:gdLst>
                <a:gd name="connsiteX0" fmla="*/ 517684 w 517683"/>
                <a:gd name="connsiteY0" fmla="*/ 732092 h 732091"/>
                <a:gd name="connsiteX1" fmla="*/ 0 w 517683"/>
                <a:gd name="connsiteY1" fmla="*/ 214313 h 732091"/>
                <a:gd name="connsiteX2" fmla="*/ 517684 w 517683"/>
                <a:gd name="connsiteY2" fmla="*/ 0 h 732091"/>
                <a:gd name="connsiteX3" fmla="*/ 517684 w 517683"/>
                <a:gd name="connsiteY3" fmla="*/ 732092 h 732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7683" h="732091">
                  <a:moveTo>
                    <a:pt x="517684" y="732092"/>
                  </a:moveTo>
                  <a:cubicBezTo>
                    <a:pt x="345281" y="559689"/>
                    <a:pt x="173260" y="387667"/>
                    <a:pt x="0" y="214313"/>
                  </a:cubicBezTo>
                  <a:cubicBezTo>
                    <a:pt x="145637" y="80010"/>
                    <a:pt x="317944" y="8668"/>
                    <a:pt x="517684" y="0"/>
                  </a:cubicBezTo>
                  <a:lnTo>
                    <a:pt x="517684" y="732092"/>
                  </a:ln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59E322D0-0852-8E3C-4776-B4D6B41EF173}"/>
                </a:ext>
              </a:extLst>
            </p:cNvPr>
            <p:cNvSpPr/>
            <p:nvPr/>
          </p:nvSpPr>
          <p:spPr>
            <a:xfrm>
              <a:off x="9804824" y="4166969"/>
              <a:ext cx="396378" cy="559709"/>
            </a:xfrm>
            <a:custGeom>
              <a:avLst/>
              <a:gdLst>
                <a:gd name="connsiteX0" fmla="*/ 516636 w 516635"/>
                <a:gd name="connsiteY0" fmla="*/ 516636 h 729519"/>
                <a:gd name="connsiteX1" fmla="*/ 0 w 516635"/>
                <a:gd name="connsiteY1" fmla="*/ 729520 h 729519"/>
                <a:gd name="connsiteX2" fmla="*/ 0 w 516635"/>
                <a:gd name="connsiteY2" fmla="*/ 0 h 729519"/>
                <a:gd name="connsiteX3" fmla="*/ 516636 w 516635"/>
                <a:gd name="connsiteY3" fmla="*/ 516731 h 729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6635" h="729519">
                  <a:moveTo>
                    <a:pt x="516636" y="516636"/>
                  </a:moveTo>
                  <a:cubicBezTo>
                    <a:pt x="372237" y="649605"/>
                    <a:pt x="199644" y="720947"/>
                    <a:pt x="0" y="729520"/>
                  </a:cubicBezTo>
                  <a:lnTo>
                    <a:pt x="0" y="0"/>
                  </a:lnTo>
                  <a:cubicBezTo>
                    <a:pt x="171069" y="171069"/>
                    <a:pt x="343567" y="343662"/>
                    <a:pt x="516636" y="516731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A9BEC9AD-D225-062D-9306-1DA11883FD27}"/>
                </a:ext>
              </a:extLst>
            </p:cNvPr>
            <p:cNvSpPr/>
            <p:nvPr/>
          </p:nvSpPr>
          <p:spPr>
            <a:xfrm>
              <a:off x="9184166" y="3708694"/>
              <a:ext cx="560513" cy="396670"/>
            </a:xfrm>
            <a:custGeom>
              <a:avLst/>
              <a:gdLst>
                <a:gd name="connsiteX0" fmla="*/ 0 w 730567"/>
                <a:gd name="connsiteY0" fmla="*/ 517017 h 517016"/>
                <a:gd name="connsiteX1" fmla="*/ 213551 w 730567"/>
                <a:gd name="connsiteY1" fmla="*/ 0 h 517016"/>
                <a:gd name="connsiteX2" fmla="*/ 730567 w 730567"/>
                <a:gd name="connsiteY2" fmla="*/ 517017 h 517016"/>
                <a:gd name="connsiteX3" fmla="*/ 0 w 730567"/>
                <a:gd name="connsiteY3" fmla="*/ 517017 h 517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567" h="517016">
                  <a:moveTo>
                    <a:pt x="0" y="517017"/>
                  </a:moveTo>
                  <a:cubicBezTo>
                    <a:pt x="8477" y="317944"/>
                    <a:pt x="79820" y="145637"/>
                    <a:pt x="213551" y="0"/>
                  </a:cubicBezTo>
                  <a:cubicBezTo>
                    <a:pt x="386334" y="172879"/>
                    <a:pt x="558641" y="345186"/>
                    <a:pt x="730567" y="517017"/>
                  </a:cubicBezTo>
                  <a:lnTo>
                    <a:pt x="0" y="517017"/>
                  </a:ln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CD797E76-4B72-CCA9-7603-8AFD5FC15CF4}"/>
                </a:ext>
              </a:extLst>
            </p:cNvPr>
            <p:cNvSpPr/>
            <p:nvPr/>
          </p:nvSpPr>
          <p:spPr>
            <a:xfrm>
              <a:off x="9373659" y="4164777"/>
              <a:ext cx="397402" cy="561902"/>
            </a:xfrm>
            <a:custGeom>
              <a:avLst/>
              <a:gdLst>
                <a:gd name="connsiteX0" fmla="*/ 517969 w 517969"/>
                <a:gd name="connsiteY0" fmla="*/ 0 h 732377"/>
                <a:gd name="connsiteX1" fmla="*/ 517969 w 517969"/>
                <a:gd name="connsiteY1" fmla="*/ 732377 h 732377"/>
                <a:gd name="connsiteX2" fmla="*/ 0 w 517969"/>
                <a:gd name="connsiteY2" fmla="*/ 518065 h 732377"/>
                <a:gd name="connsiteX3" fmla="*/ 517969 w 517969"/>
                <a:gd name="connsiteY3" fmla="*/ 0 h 732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7969" h="732377">
                  <a:moveTo>
                    <a:pt x="517969" y="0"/>
                  </a:moveTo>
                  <a:lnTo>
                    <a:pt x="517969" y="732377"/>
                  </a:lnTo>
                  <a:cubicBezTo>
                    <a:pt x="318516" y="723805"/>
                    <a:pt x="146018" y="652653"/>
                    <a:pt x="0" y="518065"/>
                  </a:cubicBezTo>
                  <a:cubicBezTo>
                    <a:pt x="173069" y="344995"/>
                    <a:pt x="345091" y="172974"/>
                    <a:pt x="517969" y="0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C7C0DB44-0F10-7520-F183-20459F5E3D8D}"/>
                </a:ext>
              </a:extLst>
            </p:cNvPr>
            <p:cNvSpPr/>
            <p:nvPr/>
          </p:nvSpPr>
          <p:spPr>
            <a:xfrm>
              <a:off x="9184166" y="4139931"/>
              <a:ext cx="560294" cy="396524"/>
            </a:xfrm>
            <a:custGeom>
              <a:avLst/>
              <a:gdLst>
                <a:gd name="connsiteX0" fmla="*/ 213551 w 730281"/>
                <a:gd name="connsiteY0" fmla="*/ 516826 h 516826"/>
                <a:gd name="connsiteX1" fmla="*/ 0 w 730281"/>
                <a:gd name="connsiteY1" fmla="*/ 0 h 516826"/>
                <a:gd name="connsiteX2" fmla="*/ 730282 w 730281"/>
                <a:gd name="connsiteY2" fmla="*/ 0 h 516826"/>
                <a:gd name="connsiteX3" fmla="*/ 213551 w 730281"/>
                <a:gd name="connsiteY3" fmla="*/ 516826 h 51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0281" h="516826">
                  <a:moveTo>
                    <a:pt x="213551" y="516826"/>
                  </a:moveTo>
                  <a:cubicBezTo>
                    <a:pt x="79915" y="371666"/>
                    <a:pt x="8668" y="199454"/>
                    <a:pt x="0" y="0"/>
                  </a:cubicBezTo>
                  <a:lnTo>
                    <a:pt x="730282" y="0"/>
                  </a:lnTo>
                  <a:cubicBezTo>
                    <a:pt x="558737" y="171545"/>
                    <a:pt x="386620" y="343757"/>
                    <a:pt x="213551" y="516826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864B5FF2-AE4C-6DF7-F3E6-CC8BA2CA329B}"/>
                </a:ext>
              </a:extLst>
            </p:cNvPr>
            <p:cNvSpPr/>
            <p:nvPr/>
          </p:nvSpPr>
          <p:spPr>
            <a:xfrm>
              <a:off x="9830401" y="4139565"/>
              <a:ext cx="561463" cy="397256"/>
            </a:xfrm>
            <a:custGeom>
              <a:avLst/>
              <a:gdLst>
                <a:gd name="connsiteX0" fmla="*/ 0 w 731805"/>
                <a:gd name="connsiteY0" fmla="*/ 0 h 517779"/>
                <a:gd name="connsiteX1" fmla="*/ 731806 w 731805"/>
                <a:gd name="connsiteY1" fmla="*/ 0 h 517779"/>
                <a:gd name="connsiteX2" fmla="*/ 517779 w 731805"/>
                <a:gd name="connsiteY2" fmla="*/ 517779 h 517779"/>
                <a:gd name="connsiteX3" fmla="*/ 0 w 731805"/>
                <a:gd name="connsiteY3" fmla="*/ 0 h 517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1805" h="517779">
                  <a:moveTo>
                    <a:pt x="0" y="0"/>
                  </a:moveTo>
                  <a:lnTo>
                    <a:pt x="731806" y="0"/>
                  </a:lnTo>
                  <a:cubicBezTo>
                    <a:pt x="723424" y="199454"/>
                    <a:pt x="652177" y="371761"/>
                    <a:pt x="517779" y="517779"/>
                  </a:cubicBezTo>
                  <a:cubicBezTo>
                    <a:pt x="344805" y="344805"/>
                    <a:pt x="172784" y="172688"/>
                    <a:pt x="0" y="0"/>
                  </a:cubicBezTo>
                  <a:close/>
                </a:path>
              </a:pathLst>
            </a:custGeom>
            <a:solidFill>
              <a:srgbClr val="1BC0D3">
                <a:lumMod val="5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1" name="Oval 440">
              <a:extLst>
                <a:ext uri="{FF2B5EF4-FFF2-40B4-BE49-F238E27FC236}">
                  <a16:creationId xmlns:a16="http://schemas.microsoft.com/office/drawing/2014/main" id="{08D47DDD-3ABD-0D82-52B9-61CBF379A80A}"/>
                </a:ext>
              </a:extLst>
            </p:cNvPr>
            <p:cNvSpPr/>
            <p:nvPr/>
          </p:nvSpPr>
          <p:spPr bwMode="auto">
            <a:xfrm>
              <a:off x="9561440" y="3918250"/>
              <a:ext cx="408204" cy="408205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5720" rIns="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0" cap="none" spc="0" normalizeH="0" baseline="0" noProof="0">
                <a:ln w="13500">
                  <a:solidFill>
                    <a:srgbClr val="020C4A">
                      <a:shade val="2500"/>
                      <a:alpha val="6500"/>
                    </a:srgbClr>
                  </a:solidFill>
                  <a:prstDash val="solid"/>
                </a:ln>
                <a:solidFill>
                  <a:prstClr val="white">
                    <a:alpha val="9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  <a:sym typeface="Times New Roman" pitchFamily="18" charset="0"/>
              </a:endParaRPr>
            </a:p>
          </p:txBody>
        </p:sp>
        <p:grpSp>
          <p:nvGrpSpPr>
            <p:cNvPr id="442" name="Group 441">
              <a:extLst>
                <a:ext uri="{FF2B5EF4-FFF2-40B4-BE49-F238E27FC236}">
                  <a16:creationId xmlns:a16="http://schemas.microsoft.com/office/drawing/2014/main" id="{A0EDC7BD-A613-4C6E-1D34-30E9F3F9DA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694650" y="3917590"/>
              <a:ext cx="154476" cy="383952"/>
              <a:chOff x="-458788" y="1401763"/>
              <a:chExt cx="274637" cy="682626"/>
            </a:xfrm>
            <a:solidFill>
              <a:srgbClr val="1BC0D3"/>
            </a:solidFill>
          </p:grpSpPr>
          <p:sp>
            <p:nvSpPr>
              <p:cNvPr id="512" name="Freeform 97">
                <a:extLst>
                  <a:ext uri="{FF2B5EF4-FFF2-40B4-BE49-F238E27FC236}">
                    <a16:creationId xmlns:a16="http://schemas.microsoft.com/office/drawing/2014/main" id="{A67E9D33-11D6-DB14-DE40-B35899BED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95288" y="1401763"/>
                <a:ext cx="147637" cy="147638"/>
              </a:xfrm>
              <a:custGeom>
                <a:avLst/>
                <a:gdLst>
                  <a:gd name="T0" fmla="*/ 79 w 198"/>
                  <a:gd name="T1" fmla="*/ 186 h 197"/>
                  <a:gd name="T2" fmla="*/ 187 w 198"/>
                  <a:gd name="T3" fmla="*/ 119 h 197"/>
                  <a:gd name="T4" fmla="*/ 119 w 198"/>
                  <a:gd name="T5" fmla="*/ 11 h 197"/>
                  <a:gd name="T6" fmla="*/ 11 w 198"/>
                  <a:gd name="T7" fmla="*/ 78 h 197"/>
                  <a:gd name="T8" fmla="*/ 79 w 198"/>
                  <a:gd name="T9" fmla="*/ 186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197">
                    <a:moveTo>
                      <a:pt x="79" y="186"/>
                    </a:moveTo>
                    <a:cubicBezTo>
                      <a:pt x="127" y="197"/>
                      <a:pt x="175" y="167"/>
                      <a:pt x="187" y="119"/>
                    </a:cubicBezTo>
                    <a:cubicBezTo>
                      <a:pt x="198" y="70"/>
                      <a:pt x="168" y="22"/>
                      <a:pt x="119" y="11"/>
                    </a:cubicBezTo>
                    <a:cubicBezTo>
                      <a:pt x="71" y="0"/>
                      <a:pt x="23" y="30"/>
                      <a:pt x="11" y="78"/>
                    </a:cubicBezTo>
                    <a:cubicBezTo>
                      <a:pt x="0" y="126"/>
                      <a:pt x="30" y="175"/>
                      <a:pt x="79" y="1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3" name="Freeform 98">
                <a:extLst>
                  <a:ext uri="{FF2B5EF4-FFF2-40B4-BE49-F238E27FC236}">
                    <a16:creationId xmlns:a16="http://schemas.microsoft.com/office/drawing/2014/main" id="{C2795DD4-EF99-6FC0-F18C-9B30B407FF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458788" y="1562101"/>
                <a:ext cx="274637" cy="522288"/>
              </a:xfrm>
              <a:custGeom>
                <a:avLst/>
                <a:gdLst>
                  <a:gd name="T0" fmla="*/ 68 w 368"/>
                  <a:gd name="T1" fmla="*/ 170 h 698"/>
                  <a:gd name="T2" fmla="*/ 64 w 368"/>
                  <a:gd name="T3" fmla="*/ 138 h 698"/>
                  <a:gd name="T4" fmla="*/ 76 w 368"/>
                  <a:gd name="T5" fmla="*/ 92 h 698"/>
                  <a:gd name="T6" fmla="*/ 76 w 368"/>
                  <a:gd name="T7" fmla="*/ 151 h 698"/>
                  <a:gd name="T8" fmla="*/ 76 w 368"/>
                  <a:gd name="T9" fmla="*/ 194 h 698"/>
                  <a:gd name="T10" fmla="*/ 76 w 368"/>
                  <a:gd name="T11" fmla="*/ 316 h 698"/>
                  <a:gd name="T12" fmla="*/ 76 w 368"/>
                  <a:gd name="T13" fmla="*/ 649 h 698"/>
                  <a:gd name="T14" fmla="*/ 125 w 368"/>
                  <a:gd name="T15" fmla="*/ 698 h 698"/>
                  <a:gd name="T16" fmla="*/ 175 w 368"/>
                  <a:gd name="T17" fmla="*/ 649 h 698"/>
                  <a:gd name="T18" fmla="*/ 175 w 368"/>
                  <a:gd name="T19" fmla="*/ 336 h 698"/>
                  <a:gd name="T20" fmla="*/ 193 w 368"/>
                  <a:gd name="T21" fmla="*/ 336 h 698"/>
                  <a:gd name="T22" fmla="*/ 193 w 368"/>
                  <a:gd name="T23" fmla="*/ 649 h 698"/>
                  <a:gd name="T24" fmla="*/ 243 w 368"/>
                  <a:gd name="T25" fmla="*/ 698 h 698"/>
                  <a:gd name="T26" fmla="*/ 292 w 368"/>
                  <a:gd name="T27" fmla="*/ 649 h 698"/>
                  <a:gd name="T28" fmla="*/ 292 w 368"/>
                  <a:gd name="T29" fmla="*/ 316 h 698"/>
                  <a:gd name="T30" fmla="*/ 292 w 368"/>
                  <a:gd name="T31" fmla="*/ 194 h 698"/>
                  <a:gd name="T32" fmla="*/ 292 w 368"/>
                  <a:gd name="T33" fmla="*/ 151 h 698"/>
                  <a:gd name="T34" fmla="*/ 292 w 368"/>
                  <a:gd name="T35" fmla="*/ 92 h 698"/>
                  <a:gd name="T36" fmla="*/ 293 w 368"/>
                  <a:gd name="T37" fmla="*/ 94 h 698"/>
                  <a:gd name="T38" fmla="*/ 304 w 368"/>
                  <a:gd name="T39" fmla="*/ 138 h 698"/>
                  <a:gd name="T40" fmla="*/ 300 w 368"/>
                  <a:gd name="T41" fmla="*/ 170 h 698"/>
                  <a:gd name="T42" fmla="*/ 300 w 368"/>
                  <a:gd name="T43" fmla="*/ 306 h 698"/>
                  <a:gd name="T44" fmla="*/ 368 w 368"/>
                  <a:gd name="T45" fmla="*/ 138 h 698"/>
                  <a:gd name="T46" fmla="*/ 332 w 368"/>
                  <a:gd name="T47" fmla="*/ 38 h 698"/>
                  <a:gd name="T48" fmla="*/ 301 w 368"/>
                  <a:gd name="T49" fmla="*/ 12 h 698"/>
                  <a:gd name="T50" fmla="*/ 285 w 368"/>
                  <a:gd name="T51" fmla="*/ 4 h 698"/>
                  <a:gd name="T52" fmla="*/ 267 w 368"/>
                  <a:gd name="T53" fmla="*/ 1 h 698"/>
                  <a:gd name="T54" fmla="*/ 267 w 368"/>
                  <a:gd name="T55" fmla="*/ 1 h 698"/>
                  <a:gd name="T56" fmla="*/ 261 w 368"/>
                  <a:gd name="T57" fmla="*/ 0 h 698"/>
                  <a:gd name="T58" fmla="*/ 107 w 368"/>
                  <a:gd name="T59" fmla="*/ 0 h 698"/>
                  <a:gd name="T60" fmla="*/ 101 w 368"/>
                  <a:gd name="T61" fmla="*/ 1 h 698"/>
                  <a:gd name="T62" fmla="*/ 101 w 368"/>
                  <a:gd name="T63" fmla="*/ 1 h 698"/>
                  <a:gd name="T64" fmla="*/ 83 w 368"/>
                  <a:gd name="T65" fmla="*/ 4 h 698"/>
                  <a:gd name="T66" fmla="*/ 29 w 368"/>
                  <a:gd name="T67" fmla="*/ 47 h 698"/>
                  <a:gd name="T68" fmla="*/ 0 w 368"/>
                  <a:gd name="T69" fmla="*/ 138 h 698"/>
                  <a:gd name="T70" fmla="*/ 68 w 368"/>
                  <a:gd name="T71" fmla="*/ 306 h 698"/>
                  <a:gd name="T72" fmla="*/ 68 w 368"/>
                  <a:gd name="T73" fmla="*/ 170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68" h="698">
                    <a:moveTo>
                      <a:pt x="68" y="170"/>
                    </a:moveTo>
                    <a:cubicBezTo>
                      <a:pt x="65" y="158"/>
                      <a:pt x="64" y="148"/>
                      <a:pt x="64" y="138"/>
                    </a:cubicBezTo>
                    <a:cubicBezTo>
                      <a:pt x="64" y="119"/>
                      <a:pt x="69" y="104"/>
                      <a:pt x="76" y="92"/>
                    </a:cubicBezTo>
                    <a:cubicBezTo>
                      <a:pt x="76" y="151"/>
                      <a:pt x="76" y="151"/>
                      <a:pt x="76" y="151"/>
                    </a:cubicBezTo>
                    <a:cubicBezTo>
                      <a:pt x="76" y="194"/>
                      <a:pt x="76" y="194"/>
                      <a:pt x="76" y="194"/>
                    </a:cubicBezTo>
                    <a:cubicBezTo>
                      <a:pt x="76" y="316"/>
                      <a:pt x="76" y="316"/>
                      <a:pt x="76" y="316"/>
                    </a:cubicBezTo>
                    <a:cubicBezTo>
                      <a:pt x="76" y="649"/>
                      <a:pt x="76" y="649"/>
                      <a:pt x="76" y="649"/>
                    </a:cubicBezTo>
                    <a:cubicBezTo>
                      <a:pt x="76" y="676"/>
                      <a:pt x="98" y="698"/>
                      <a:pt x="125" y="698"/>
                    </a:cubicBezTo>
                    <a:cubicBezTo>
                      <a:pt x="153" y="698"/>
                      <a:pt x="175" y="676"/>
                      <a:pt x="175" y="649"/>
                    </a:cubicBezTo>
                    <a:cubicBezTo>
                      <a:pt x="175" y="336"/>
                      <a:pt x="175" y="336"/>
                      <a:pt x="175" y="336"/>
                    </a:cubicBezTo>
                    <a:cubicBezTo>
                      <a:pt x="193" y="336"/>
                      <a:pt x="193" y="336"/>
                      <a:pt x="193" y="336"/>
                    </a:cubicBezTo>
                    <a:cubicBezTo>
                      <a:pt x="193" y="649"/>
                      <a:pt x="193" y="649"/>
                      <a:pt x="193" y="649"/>
                    </a:cubicBezTo>
                    <a:cubicBezTo>
                      <a:pt x="193" y="676"/>
                      <a:pt x="215" y="698"/>
                      <a:pt x="243" y="698"/>
                    </a:cubicBezTo>
                    <a:cubicBezTo>
                      <a:pt x="270" y="698"/>
                      <a:pt x="292" y="676"/>
                      <a:pt x="292" y="649"/>
                    </a:cubicBezTo>
                    <a:cubicBezTo>
                      <a:pt x="292" y="316"/>
                      <a:pt x="292" y="316"/>
                      <a:pt x="292" y="316"/>
                    </a:cubicBezTo>
                    <a:cubicBezTo>
                      <a:pt x="292" y="194"/>
                      <a:pt x="292" y="194"/>
                      <a:pt x="292" y="194"/>
                    </a:cubicBezTo>
                    <a:cubicBezTo>
                      <a:pt x="292" y="151"/>
                      <a:pt x="292" y="151"/>
                      <a:pt x="292" y="151"/>
                    </a:cubicBezTo>
                    <a:cubicBezTo>
                      <a:pt x="292" y="92"/>
                      <a:pt x="292" y="92"/>
                      <a:pt x="292" y="92"/>
                    </a:cubicBezTo>
                    <a:cubicBezTo>
                      <a:pt x="293" y="93"/>
                      <a:pt x="293" y="93"/>
                      <a:pt x="293" y="94"/>
                    </a:cubicBezTo>
                    <a:cubicBezTo>
                      <a:pt x="300" y="105"/>
                      <a:pt x="304" y="120"/>
                      <a:pt x="304" y="138"/>
                    </a:cubicBezTo>
                    <a:cubicBezTo>
                      <a:pt x="304" y="148"/>
                      <a:pt x="303" y="158"/>
                      <a:pt x="300" y="170"/>
                    </a:cubicBezTo>
                    <a:cubicBezTo>
                      <a:pt x="300" y="306"/>
                      <a:pt x="300" y="306"/>
                      <a:pt x="300" y="306"/>
                    </a:cubicBezTo>
                    <a:cubicBezTo>
                      <a:pt x="349" y="242"/>
                      <a:pt x="368" y="186"/>
                      <a:pt x="368" y="138"/>
                    </a:cubicBezTo>
                    <a:cubicBezTo>
                      <a:pt x="368" y="95"/>
                      <a:pt x="351" y="60"/>
                      <a:pt x="332" y="38"/>
                    </a:cubicBezTo>
                    <a:cubicBezTo>
                      <a:pt x="322" y="26"/>
                      <a:pt x="311" y="18"/>
                      <a:pt x="301" y="12"/>
                    </a:cubicBezTo>
                    <a:cubicBezTo>
                      <a:pt x="296" y="9"/>
                      <a:pt x="291" y="6"/>
                      <a:pt x="285" y="4"/>
                    </a:cubicBezTo>
                    <a:cubicBezTo>
                      <a:pt x="280" y="2"/>
                      <a:pt x="275" y="1"/>
                      <a:pt x="267" y="1"/>
                    </a:cubicBezTo>
                    <a:cubicBezTo>
                      <a:pt x="267" y="1"/>
                      <a:pt x="267" y="1"/>
                      <a:pt x="267" y="1"/>
                    </a:cubicBezTo>
                    <a:cubicBezTo>
                      <a:pt x="265" y="0"/>
                      <a:pt x="263" y="0"/>
                      <a:pt x="261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05" y="0"/>
                      <a:pt x="103" y="0"/>
                      <a:pt x="101" y="1"/>
                    </a:cubicBezTo>
                    <a:cubicBezTo>
                      <a:pt x="101" y="1"/>
                      <a:pt x="101" y="1"/>
                      <a:pt x="101" y="1"/>
                    </a:cubicBezTo>
                    <a:cubicBezTo>
                      <a:pt x="93" y="1"/>
                      <a:pt x="88" y="2"/>
                      <a:pt x="83" y="4"/>
                    </a:cubicBezTo>
                    <a:cubicBezTo>
                      <a:pt x="65" y="11"/>
                      <a:pt x="46" y="25"/>
                      <a:pt x="29" y="47"/>
                    </a:cubicBezTo>
                    <a:cubicBezTo>
                      <a:pt x="13" y="69"/>
                      <a:pt x="0" y="100"/>
                      <a:pt x="0" y="138"/>
                    </a:cubicBezTo>
                    <a:cubicBezTo>
                      <a:pt x="0" y="186"/>
                      <a:pt x="19" y="242"/>
                      <a:pt x="68" y="306"/>
                    </a:cubicBezTo>
                    <a:lnTo>
                      <a:pt x="68" y="1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BC0D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43" name="Freeform 23">
              <a:extLst>
                <a:ext uri="{FF2B5EF4-FFF2-40B4-BE49-F238E27FC236}">
                  <a16:creationId xmlns:a16="http://schemas.microsoft.com/office/drawing/2014/main" id="{9BBBCF17-FDE8-9D42-3665-C5A8A9333C2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44077" y="3595668"/>
              <a:ext cx="207802" cy="207802"/>
            </a:xfrm>
            <a:custGeom>
              <a:avLst/>
              <a:gdLst>
                <a:gd name="T0" fmla="*/ 1074 w 2083"/>
                <a:gd name="T1" fmla="*/ 374 h 2083"/>
                <a:gd name="T2" fmla="*/ 911 w 2083"/>
                <a:gd name="T3" fmla="*/ 244 h 2083"/>
                <a:gd name="T4" fmla="*/ 716 w 2083"/>
                <a:gd name="T5" fmla="*/ 244 h 2083"/>
                <a:gd name="T6" fmla="*/ 1546 w 2083"/>
                <a:gd name="T7" fmla="*/ 374 h 2083"/>
                <a:gd name="T8" fmla="*/ 1237 w 2083"/>
                <a:gd name="T9" fmla="*/ 374 h 2083"/>
                <a:gd name="T10" fmla="*/ 391 w 2083"/>
                <a:gd name="T11" fmla="*/ 391 h 2083"/>
                <a:gd name="T12" fmla="*/ 1399 w 2083"/>
                <a:gd name="T13" fmla="*/ 456 h 2083"/>
                <a:gd name="T14" fmla="*/ 1058 w 2083"/>
                <a:gd name="T15" fmla="*/ 456 h 2083"/>
                <a:gd name="T16" fmla="*/ 895 w 2083"/>
                <a:gd name="T17" fmla="*/ 586 h 2083"/>
                <a:gd name="T18" fmla="*/ 732 w 2083"/>
                <a:gd name="T19" fmla="*/ 586 h 2083"/>
                <a:gd name="T20" fmla="*/ 1237 w 2083"/>
                <a:gd name="T21" fmla="*/ 586 h 2083"/>
                <a:gd name="T22" fmla="*/ 553 w 2083"/>
                <a:gd name="T23" fmla="*/ 456 h 2083"/>
                <a:gd name="T24" fmla="*/ 1692 w 2083"/>
                <a:gd name="T25" fmla="*/ 439 h 2083"/>
                <a:gd name="T26" fmla="*/ 1383 w 2083"/>
                <a:gd name="T27" fmla="*/ 797 h 2083"/>
                <a:gd name="T28" fmla="*/ 1074 w 2083"/>
                <a:gd name="T29" fmla="*/ 797 h 2083"/>
                <a:gd name="T30" fmla="*/ 732 w 2083"/>
                <a:gd name="T31" fmla="*/ 797 h 2083"/>
                <a:gd name="T32" fmla="*/ 1562 w 2083"/>
                <a:gd name="T33" fmla="*/ 667 h 2083"/>
                <a:gd name="T34" fmla="*/ 1220 w 2083"/>
                <a:gd name="T35" fmla="*/ 667 h 2083"/>
                <a:gd name="T36" fmla="*/ 537 w 2083"/>
                <a:gd name="T37" fmla="*/ 797 h 2083"/>
                <a:gd name="T38" fmla="*/ 391 w 2083"/>
                <a:gd name="T39" fmla="*/ 814 h 2083"/>
                <a:gd name="T40" fmla="*/ 1074 w 2083"/>
                <a:gd name="T41" fmla="*/ 1009 h 2083"/>
                <a:gd name="T42" fmla="*/ 911 w 2083"/>
                <a:gd name="T43" fmla="*/ 879 h 2083"/>
                <a:gd name="T44" fmla="*/ 716 w 2083"/>
                <a:gd name="T45" fmla="*/ 879 h 2083"/>
                <a:gd name="T46" fmla="*/ 1546 w 2083"/>
                <a:gd name="T47" fmla="*/ 1009 h 2083"/>
                <a:gd name="T48" fmla="*/ 1237 w 2083"/>
                <a:gd name="T49" fmla="*/ 1009 h 2083"/>
                <a:gd name="T50" fmla="*/ 391 w 2083"/>
                <a:gd name="T51" fmla="*/ 1025 h 2083"/>
                <a:gd name="T52" fmla="*/ 1237 w 2083"/>
                <a:gd name="T53" fmla="*/ 1090 h 2083"/>
                <a:gd name="T54" fmla="*/ 1058 w 2083"/>
                <a:gd name="T55" fmla="*/ 1090 h 2083"/>
                <a:gd name="T56" fmla="*/ 895 w 2083"/>
                <a:gd name="T57" fmla="*/ 1155 h 2083"/>
                <a:gd name="T58" fmla="*/ 1399 w 2083"/>
                <a:gd name="T59" fmla="*/ 1221 h 2083"/>
                <a:gd name="T60" fmla="*/ 1562 w 2083"/>
                <a:gd name="T61" fmla="*/ 1221 h 2083"/>
                <a:gd name="T62" fmla="*/ 553 w 2083"/>
                <a:gd name="T63" fmla="*/ 1090 h 2083"/>
                <a:gd name="T64" fmla="*/ 391 w 2083"/>
                <a:gd name="T65" fmla="*/ 1237 h 2083"/>
                <a:gd name="T66" fmla="*/ 1709 w 2083"/>
                <a:gd name="T67" fmla="*/ 1269 h 2083"/>
                <a:gd name="T68" fmla="*/ 830 w 2083"/>
                <a:gd name="T69" fmla="*/ 1269 h 2083"/>
                <a:gd name="T70" fmla="*/ 1985 w 2083"/>
                <a:gd name="T71" fmla="*/ 1400 h 2083"/>
                <a:gd name="T72" fmla="*/ 98 w 2083"/>
                <a:gd name="T73" fmla="*/ 1400 h 2083"/>
                <a:gd name="T74" fmla="*/ 830 w 2083"/>
                <a:gd name="T75" fmla="*/ 1432 h 2083"/>
                <a:gd name="T76" fmla="*/ 993 w 2083"/>
                <a:gd name="T77" fmla="*/ 1237 h 2083"/>
                <a:gd name="T78" fmla="*/ 1090 w 2083"/>
                <a:gd name="T79" fmla="*/ 1497 h 2083"/>
                <a:gd name="T80" fmla="*/ 1204 w 2083"/>
                <a:gd name="T81" fmla="*/ 1530 h 2083"/>
                <a:gd name="T82" fmla="*/ 1692 w 2083"/>
                <a:gd name="T83" fmla="*/ 1953 h 2083"/>
                <a:gd name="T84" fmla="*/ 716 w 2083"/>
                <a:gd name="T85" fmla="*/ 1920 h 2083"/>
                <a:gd name="T86" fmla="*/ 195 w 2083"/>
                <a:gd name="T87" fmla="*/ 1920 h 2083"/>
                <a:gd name="T88" fmla="*/ 862 w 2083"/>
                <a:gd name="T89" fmla="*/ 1953 h 2083"/>
                <a:gd name="T90" fmla="*/ 1920 w 2083"/>
                <a:gd name="T91" fmla="*/ 2018 h 2083"/>
                <a:gd name="T92" fmla="*/ 716 w 2083"/>
                <a:gd name="T93" fmla="*/ 2018 h 2083"/>
                <a:gd name="T94" fmla="*/ 244 w 2083"/>
                <a:gd name="T95" fmla="*/ 1985 h 2083"/>
                <a:gd name="T96" fmla="*/ 1725 w 2083"/>
                <a:gd name="T97" fmla="*/ 1497 h 2083"/>
                <a:gd name="T98" fmla="*/ 1253 w 2083"/>
                <a:gd name="T99" fmla="*/ 1579 h 2083"/>
                <a:gd name="T100" fmla="*/ 862 w 2083"/>
                <a:gd name="T101" fmla="*/ 1985 h 2083"/>
                <a:gd name="T102" fmla="*/ 749 w 2083"/>
                <a:gd name="T103" fmla="*/ 2018 h 2083"/>
                <a:gd name="T104" fmla="*/ 358 w 2083"/>
                <a:gd name="T105" fmla="*/ 2018 h 2083"/>
                <a:gd name="T106" fmla="*/ 309 w 2083"/>
                <a:gd name="T107" fmla="*/ 217 h 2083"/>
                <a:gd name="T108" fmla="*/ 2083 w 2083"/>
                <a:gd name="T109" fmla="*/ 1497 h 2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83" h="2083">
                  <a:moveTo>
                    <a:pt x="1399" y="374"/>
                  </a:moveTo>
                  <a:lnTo>
                    <a:pt x="1399" y="244"/>
                  </a:lnTo>
                  <a:lnTo>
                    <a:pt x="1383" y="244"/>
                  </a:lnTo>
                  <a:lnTo>
                    <a:pt x="1383" y="374"/>
                  </a:lnTo>
                  <a:lnTo>
                    <a:pt x="1399" y="374"/>
                  </a:lnTo>
                  <a:close/>
                  <a:moveTo>
                    <a:pt x="1074" y="374"/>
                  </a:moveTo>
                  <a:lnTo>
                    <a:pt x="1074" y="244"/>
                  </a:lnTo>
                  <a:lnTo>
                    <a:pt x="1058" y="244"/>
                  </a:lnTo>
                  <a:lnTo>
                    <a:pt x="1058" y="374"/>
                  </a:lnTo>
                  <a:lnTo>
                    <a:pt x="1074" y="374"/>
                  </a:lnTo>
                  <a:close/>
                  <a:moveTo>
                    <a:pt x="911" y="374"/>
                  </a:moveTo>
                  <a:lnTo>
                    <a:pt x="911" y="244"/>
                  </a:lnTo>
                  <a:lnTo>
                    <a:pt x="895" y="244"/>
                  </a:lnTo>
                  <a:lnTo>
                    <a:pt x="895" y="374"/>
                  </a:lnTo>
                  <a:lnTo>
                    <a:pt x="911" y="374"/>
                  </a:lnTo>
                  <a:close/>
                  <a:moveTo>
                    <a:pt x="732" y="374"/>
                  </a:moveTo>
                  <a:lnTo>
                    <a:pt x="732" y="244"/>
                  </a:lnTo>
                  <a:lnTo>
                    <a:pt x="716" y="244"/>
                  </a:lnTo>
                  <a:lnTo>
                    <a:pt x="716" y="374"/>
                  </a:lnTo>
                  <a:lnTo>
                    <a:pt x="732" y="374"/>
                  </a:lnTo>
                  <a:close/>
                  <a:moveTo>
                    <a:pt x="1562" y="374"/>
                  </a:moveTo>
                  <a:lnTo>
                    <a:pt x="1562" y="244"/>
                  </a:lnTo>
                  <a:lnTo>
                    <a:pt x="1546" y="244"/>
                  </a:lnTo>
                  <a:lnTo>
                    <a:pt x="1546" y="374"/>
                  </a:lnTo>
                  <a:lnTo>
                    <a:pt x="1562" y="374"/>
                  </a:lnTo>
                  <a:close/>
                  <a:moveTo>
                    <a:pt x="1237" y="374"/>
                  </a:moveTo>
                  <a:lnTo>
                    <a:pt x="1237" y="244"/>
                  </a:lnTo>
                  <a:lnTo>
                    <a:pt x="1220" y="244"/>
                  </a:lnTo>
                  <a:lnTo>
                    <a:pt x="1220" y="374"/>
                  </a:lnTo>
                  <a:lnTo>
                    <a:pt x="1237" y="374"/>
                  </a:lnTo>
                  <a:close/>
                  <a:moveTo>
                    <a:pt x="553" y="374"/>
                  </a:moveTo>
                  <a:lnTo>
                    <a:pt x="553" y="244"/>
                  </a:lnTo>
                  <a:lnTo>
                    <a:pt x="537" y="244"/>
                  </a:lnTo>
                  <a:lnTo>
                    <a:pt x="537" y="374"/>
                  </a:lnTo>
                  <a:lnTo>
                    <a:pt x="553" y="374"/>
                  </a:lnTo>
                  <a:close/>
                  <a:moveTo>
                    <a:pt x="391" y="391"/>
                  </a:moveTo>
                  <a:lnTo>
                    <a:pt x="391" y="228"/>
                  </a:lnTo>
                  <a:lnTo>
                    <a:pt x="1692" y="228"/>
                  </a:lnTo>
                  <a:lnTo>
                    <a:pt x="1692" y="391"/>
                  </a:lnTo>
                  <a:lnTo>
                    <a:pt x="391" y="391"/>
                  </a:lnTo>
                  <a:close/>
                  <a:moveTo>
                    <a:pt x="1399" y="586"/>
                  </a:moveTo>
                  <a:lnTo>
                    <a:pt x="1399" y="456"/>
                  </a:lnTo>
                  <a:lnTo>
                    <a:pt x="1383" y="456"/>
                  </a:lnTo>
                  <a:lnTo>
                    <a:pt x="1383" y="586"/>
                  </a:lnTo>
                  <a:lnTo>
                    <a:pt x="1399" y="586"/>
                  </a:lnTo>
                  <a:close/>
                  <a:moveTo>
                    <a:pt x="1074" y="586"/>
                  </a:moveTo>
                  <a:lnTo>
                    <a:pt x="1074" y="456"/>
                  </a:lnTo>
                  <a:lnTo>
                    <a:pt x="1058" y="456"/>
                  </a:lnTo>
                  <a:lnTo>
                    <a:pt x="1058" y="586"/>
                  </a:lnTo>
                  <a:lnTo>
                    <a:pt x="1074" y="586"/>
                  </a:lnTo>
                  <a:close/>
                  <a:moveTo>
                    <a:pt x="911" y="586"/>
                  </a:moveTo>
                  <a:lnTo>
                    <a:pt x="911" y="456"/>
                  </a:lnTo>
                  <a:lnTo>
                    <a:pt x="895" y="456"/>
                  </a:lnTo>
                  <a:lnTo>
                    <a:pt x="895" y="586"/>
                  </a:lnTo>
                  <a:lnTo>
                    <a:pt x="911" y="586"/>
                  </a:lnTo>
                  <a:close/>
                  <a:moveTo>
                    <a:pt x="732" y="586"/>
                  </a:moveTo>
                  <a:lnTo>
                    <a:pt x="732" y="456"/>
                  </a:lnTo>
                  <a:lnTo>
                    <a:pt x="716" y="456"/>
                  </a:lnTo>
                  <a:lnTo>
                    <a:pt x="716" y="586"/>
                  </a:lnTo>
                  <a:lnTo>
                    <a:pt x="732" y="586"/>
                  </a:lnTo>
                  <a:close/>
                  <a:moveTo>
                    <a:pt x="1562" y="586"/>
                  </a:moveTo>
                  <a:lnTo>
                    <a:pt x="1562" y="456"/>
                  </a:lnTo>
                  <a:lnTo>
                    <a:pt x="1546" y="456"/>
                  </a:lnTo>
                  <a:lnTo>
                    <a:pt x="1546" y="586"/>
                  </a:lnTo>
                  <a:lnTo>
                    <a:pt x="1562" y="586"/>
                  </a:lnTo>
                  <a:close/>
                  <a:moveTo>
                    <a:pt x="1237" y="586"/>
                  </a:moveTo>
                  <a:lnTo>
                    <a:pt x="1237" y="456"/>
                  </a:lnTo>
                  <a:lnTo>
                    <a:pt x="1220" y="456"/>
                  </a:lnTo>
                  <a:lnTo>
                    <a:pt x="1220" y="586"/>
                  </a:lnTo>
                  <a:lnTo>
                    <a:pt x="1237" y="586"/>
                  </a:lnTo>
                  <a:close/>
                  <a:moveTo>
                    <a:pt x="553" y="586"/>
                  </a:moveTo>
                  <a:lnTo>
                    <a:pt x="553" y="456"/>
                  </a:lnTo>
                  <a:lnTo>
                    <a:pt x="537" y="456"/>
                  </a:lnTo>
                  <a:lnTo>
                    <a:pt x="537" y="586"/>
                  </a:lnTo>
                  <a:lnTo>
                    <a:pt x="553" y="586"/>
                  </a:lnTo>
                  <a:close/>
                  <a:moveTo>
                    <a:pt x="391" y="602"/>
                  </a:moveTo>
                  <a:lnTo>
                    <a:pt x="391" y="439"/>
                  </a:lnTo>
                  <a:lnTo>
                    <a:pt x="1692" y="439"/>
                  </a:lnTo>
                  <a:lnTo>
                    <a:pt x="1692" y="602"/>
                  </a:lnTo>
                  <a:lnTo>
                    <a:pt x="391" y="602"/>
                  </a:lnTo>
                  <a:close/>
                  <a:moveTo>
                    <a:pt x="1399" y="797"/>
                  </a:moveTo>
                  <a:lnTo>
                    <a:pt x="1399" y="667"/>
                  </a:lnTo>
                  <a:lnTo>
                    <a:pt x="1383" y="667"/>
                  </a:lnTo>
                  <a:lnTo>
                    <a:pt x="1383" y="797"/>
                  </a:lnTo>
                  <a:lnTo>
                    <a:pt x="1399" y="797"/>
                  </a:lnTo>
                  <a:close/>
                  <a:moveTo>
                    <a:pt x="1074" y="797"/>
                  </a:moveTo>
                  <a:lnTo>
                    <a:pt x="1074" y="667"/>
                  </a:lnTo>
                  <a:lnTo>
                    <a:pt x="1058" y="667"/>
                  </a:lnTo>
                  <a:lnTo>
                    <a:pt x="1058" y="797"/>
                  </a:lnTo>
                  <a:lnTo>
                    <a:pt x="1074" y="797"/>
                  </a:lnTo>
                  <a:close/>
                  <a:moveTo>
                    <a:pt x="911" y="797"/>
                  </a:moveTo>
                  <a:lnTo>
                    <a:pt x="911" y="667"/>
                  </a:lnTo>
                  <a:lnTo>
                    <a:pt x="895" y="667"/>
                  </a:lnTo>
                  <a:lnTo>
                    <a:pt x="895" y="797"/>
                  </a:lnTo>
                  <a:lnTo>
                    <a:pt x="911" y="797"/>
                  </a:lnTo>
                  <a:close/>
                  <a:moveTo>
                    <a:pt x="732" y="797"/>
                  </a:moveTo>
                  <a:lnTo>
                    <a:pt x="732" y="667"/>
                  </a:lnTo>
                  <a:lnTo>
                    <a:pt x="716" y="667"/>
                  </a:lnTo>
                  <a:lnTo>
                    <a:pt x="716" y="797"/>
                  </a:lnTo>
                  <a:lnTo>
                    <a:pt x="732" y="797"/>
                  </a:lnTo>
                  <a:close/>
                  <a:moveTo>
                    <a:pt x="1562" y="797"/>
                  </a:moveTo>
                  <a:lnTo>
                    <a:pt x="1562" y="667"/>
                  </a:lnTo>
                  <a:lnTo>
                    <a:pt x="1546" y="667"/>
                  </a:lnTo>
                  <a:lnTo>
                    <a:pt x="1546" y="797"/>
                  </a:lnTo>
                  <a:lnTo>
                    <a:pt x="1562" y="797"/>
                  </a:lnTo>
                  <a:close/>
                  <a:moveTo>
                    <a:pt x="1237" y="797"/>
                  </a:moveTo>
                  <a:lnTo>
                    <a:pt x="1237" y="667"/>
                  </a:lnTo>
                  <a:lnTo>
                    <a:pt x="1220" y="667"/>
                  </a:lnTo>
                  <a:lnTo>
                    <a:pt x="1220" y="797"/>
                  </a:lnTo>
                  <a:lnTo>
                    <a:pt x="1237" y="797"/>
                  </a:lnTo>
                  <a:close/>
                  <a:moveTo>
                    <a:pt x="553" y="797"/>
                  </a:moveTo>
                  <a:lnTo>
                    <a:pt x="553" y="667"/>
                  </a:lnTo>
                  <a:lnTo>
                    <a:pt x="537" y="667"/>
                  </a:lnTo>
                  <a:lnTo>
                    <a:pt x="537" y="797"/>
                  </a:lnTo>
                  <a:lnTo>
                    <a:pt x="553" y="797"/>
                  </a:lnTo>
                  <a:close/>
                  <a:moveTo>
                    <a:pt x="391" y="814"/>
                  </a:moveTo>
                  <a:lnTo>
                    <a:pt x="391" y="651"/>
                  </a:lnTo>
                  <a:lnTo>
                    <a:pt x="1692" y="651"/>
                  </a:lnTo>
                  <a:lnTo>
                    <a:pt x="1692" y="814"/>
                  </a:lnTo>
                  <a:lnTo>
                    <a:pt x="391" y="814"/>
                  </a:lnTo>
                  <a:close/>
                  <a:moveTo>
                    <a:pt x="1399" y="1009"/>
                  </a:moveTo>
                  <a:lnTo>
                    <a:pt x="1399" y="879"/>
                  </a:lnTo>
                  <a:lnTo>
                    <a:pt x="1383" y="879"/>
                  </a:lnTo>
                  <a:lnTo>
                    <a:pt x="1383" y="1009"/>
                  </a:lnTo>
                  <a:lnTo>
                    <a:pt x="1399" y="1009"/>
                  </a:lnTo>
                  <a:close/>
                  <a:moveTo>
                    <a:pt x="1074" y="1009"/>
                  </a:moveTo>
                  <a:lnTo>
                    <a:pt x="1074" y="879"/>
                  </a:lnTo>
                  <a:lnTo>
                    <a:pt x="1058" y="879"/>
                  </a:lnTo>
                  <a:lnTo>
                    <a:pt x="1058" y="1009"/>
                  </a:lnTo>
                  <a:lnTo>
                    <a:pt x="1074" y="1009"/>
                  </a:lnTo>
                  <a:close/>
                  <a:moveTo>
                    <a:pt x="911" y="1009"/>
                  </a:moveTo>
                  <a:lnTo>
                    <a:pt x="911" y="879"/>
                  </a:lnTo>
                  <a:lnTo>
                    <a:pt x="895" y="879"/>
                  </a:lnTo>
                  <a:lnTo>
                    <a:pt x="895" y="1009"/>
                  </a:lnTo>
                  <a:lnTo>
                    <a:pt x="911" y="1009"/>
                  </a:lnTo>
                  <a:close/>
                  <a:moveTo>
                    <a:pt x="732" y="1009"/>
                  </a:moveTo>
                  <a:lnTo>
                    <a:pt x="732" y="879"/>
                  </a:lnTo>
                  <a:lnTo>
                    <a:pt x="716" y="879"/>
                  </a:lnTo>
                  <a:lnTo>
                    <a:pt x="716" y="1009"/>
                  </a:lnTo>
                  <a:lnTo>
                    <a:pt x="732" y="1009"/>
                  </a:lnTo>
                  <a:close/>
                  <a:moveTo>
                    <a:pt x="1562" y="1009"/>
                  </a:moveTo>
                  <a:lnTo>
                    <a:pt x="1562" y="879"/>
                  </a:lnTo>
                  <a:lnTo>
                    <a:pt x="1546" y="879"/>
                  </a:lnTo>
                  <a:lnTo>
                    <a:pt x="1546" y="1009"/>
                  </a:lnTo>
                  <a:lnTo>
                    <a:pt x="1562" y="1009"/>
                  </a:lnTo>
                  <a:close/>
                  <a:moveTo>
                    <a:pt x="1237" y="1009"/>
                  </a:moveTo>
                  <a:lnTo>
                    <a:pt x="1237" y="879"/>
                  </a:lnTo>
                  <a:lnTo>
                    <a:pt x="1220" y="879"/>
                  </a:lnTo>
                  <a:lnTo>
                    <a:pt x="1220" y="1009"/>
                  </a:lnTo>
                  <a:lnTo>
                    <a:pt x="1237" y="1009"/>
                  </a:lnTo>
                  <a:close/>
                  <a:moveTo>
                    <a:pt x="553" y="1009"/>
                  </a:moveTo>
                  <a:lnTo>
                    <a:pt x="553" y="879"/>
                  </a:lnTo>
                  <a:lnTo>
                    <a:pt x="537" y="879"/>
                  </a:lnTo>
                  <a:lnTo>
                    <a:pt x="537" y="1009"/>
                  </a:lnTo>
                  <a:lnTo>
                    <a:pt x="553" y="1009"/>
                  </a:lnTo>
                  <a:close/>
                  <a:moveTo>
                    <a:pt x="391" y="1025"/>
                  </a:moveTo>
                  <a:lnTo>
                    <a:pt x="391" y="863"/>
                  </a:lnTo>
                  <a:lnTo>
                    <a:pt x="1692" y="863"/>
                  </a:lnTo>
                  <a:lnTo>
                    <a:pt x="1692" y="1025"/>
                  </a:lnTo>
                  <a:lnTo>
                    <a:pt x="391" y="1025"/>
                  </a:lnTo>
                  <a:close/>
                  <a:moveTo>
                    <a:pt x="1237" y="1155"/>
                  </a:moveTo>
                  <a:lnTo>
                    <a:pt x="1237" y="1090"/>
                  </a:lnTo>
                  <a:lnTo>
                    <a:pt x="1220" y="1090"/>
                  </a:lnTo>
                  <a:lnTo>
                    <a:pt x="1220" y="1155"/>
                  </a:lnTo>
                  <a:lnTo>
                    <a:pt x="1237" y="1155"/>
                  </a:lnTo>
                  <a:close/>
                  <a:moveTo>
                    <a:pt x="1074" y="1155"/>
                  </a:moveTo>
                  <a:lnTo>
                    <a:pt x="1074" y="1090"/>
                  </a:lnTo>
                  <a:lnTo>
                    <a:pt x="1058" y="1090"/>
                  </a:lnTo>
                  <a:lnTo>
                    <a:pt x="1058" y="1155"/>
                  </a:lnTo>
                  <a:lnTo>
                    <a:pt x="1074" y="1155"/>
                  </a:lnTo>
                  <a:close/>
                  <a:moveTo>
                    <a:pt x="911" y="1155"/>
                  </a:moveTo>
                  <a:lnTo>
                    <a:pt x="911" y="1090"/>
                  </a:lnTo>
                  <a:lnTo>
                    <a:pt x="895" y="1090"/>
                  </a:lnTo>
                  <a:lnTo>
                    <a:pt x="895" y="1155"/>
                  </a:lnTo>
                  <a:lnTo>
                    <a:pt x="911" y="1155"/>
                  </a:lnTo>
                  <a:close/>
                  <a:moveTo>
                    <a:pt x="1399" y="1221"/>
                  </a:moveTo>
                  <a:lnTo>
                    <a:pt x="1399" y="1090"/>
                  </a:lnTo>
                  <a:lnTo>
                    <a:pt x="1383" y="1090"/>
                  </a:lnTo>
                  <a:lnTo>
                    <a:pt x="1383" y="1221"/>
                  </a:lnTo>
                  <a:lnTo>
                    <a:pt x="1399" y="1221"/>
                  </a:lnTo>
                  <a:close/>
                  <a:moveTo>
                    <a:pt x="732" y="1221"/>
                  </a:moveTo>
                  <a:lnTo>
                    <a:pt x="732" y="1090"/>
                  </a:lnTo>
                  <a:lnTo>
                    <a:pt x="716" y="1090"/>
                  </a:lnTo>
                  <a:lnTo>
                    <a:pt x="716" y="1221"/>
                  </a:lnTo>
                  <a:lnTo>
                    <a:pt x="732" y="1221"/>
                  </a:lnTo>
                  <a:close/>
                  <a:moveTo>
                    <a:pt x="1562" y="1221"/>
                  </a:moveTo>
                  <a:lnTo>
                    <a:pt x="1562" y="1090"/>
                  </a:lnTo>
                  <a:lnTo>
                    <a:pt x="1546" y="1090"/>
                  </a:lnTo>
                  <a:lnTo>
                    <a:pt x="1546" y="1221"/>
                  </a:lnTo>
                  <a:lnTo>
                    <a:pt x="1562" y="1221"/>
                  </a:lnTo>
                  <a:close/>
                  <a:moveTo>
                    <a:pt x="553" y="1221"/>
                  </a:moveTo>
                  <a:lnTo>
                    <a:pt x="553" y="1090"/>
                  </a:lnTo>
                  <a:lnTo>
                    <a:pt x="537" y="1090"/>
                  </a:lnTo>
                  <a:lnTo>
                    <a:pt x="537" y="1221"/>
                  </a:lnTo>
                  <a:lnTo>
                    <a:pt x="553" y="1221"/>
                  </a:lnTo>
                  <a:close/>
                  <a:moveTo>
                    <a:pt x="830" y="1269"/>
                  </a:moveTo>
                  <a:lnTo>
                    <a:pt x="830" y="1237"/>
                  </a:lnTo>
                  <a:lnTo>
                    <a:pt x="391" y="1237"/>
                  </a:lnTo>
                  <a:lnTo>
                    <a:pt x="391" y="1074"/>
                  </a:lnTo>
                  <a:lnTo>
                    <a:pt x="1692" y="1074"/>
                  </a:lnTo>
                  <a:lnTo>
                    <a:pt x="1692" y="1237"/>
                  </a:lnTo>
                  <a:lnTo>
                    <a:pt x="1253" y="1237"/>
                  </a:lnTo>
                  <a:lnTo>
                    <a:pt x="1253" y="1269"/>
                  </a:lnTo>
                  <a:lnTo>
                    <a:pt x="1709" y="1269"/>
                  </a:lnTo>
                  <a:lnTo>
                    <a:pt x="1709" y="207"/>
                  </a:lnTo>
                  <a:lnTo>
                    <a:pt x="1752" y="65"/>
                  </a:lnTo>
                  <a:lnTo>
                    <a:pt x="331" y="65"/>
                  </a:lnTo>
                  <a:lnTo>
                    <a:pt x="374" y="207"/>
                  </a:lnTo>
                  <a:lnTo>
                    <a:pt x="374" y="1269"/>
                  </a:lnTo>
                  <a:lnTo>
                    <a:pt x="830" y="1269"/>
                  </a:lnTo>
                  <a:close/>
                  <a:moveTo>
                    <a:pt x="2018" y="1432"/>
                  </a:moveTo>
                  <a:lnTo>
                    <a:pt x="2018" y="1334"/>
                  </a:lnTo>
                  <a:lnTo>
                    <a:pt x="1253" y="1334"/>
                  </a:lnTo>
                  <a:lnTo>
                    <a:pt x="1253" y="1367"/>
                  </a:lnTo>
                  <a:lnTo>
                    <a:pt x="1985" y="1367"/>
                  </a:lnTo>
                  <a:lnTo>
                    <a:pt x="1985" y="1400"/>
                  </a:lnTo>
                  <a:lnTo>
                    <a:pt x="1253" y="1400"/>
                  </a:lnTo>
                  <a:lnTo>
                    <a:pt x="1253" y="1432"/>
                  </a:lnTo>
                  <a:lnTo>
                    <a:pt x="2018" y="1432"/>
                  </a:lnTo>
                  <a:close/>
                  <a:moveTo>
                    <a:pt x="830" y="1432"/>
                  </a:moveTo>
                  <a:lnTo>
                    <a:pt x="830" y="1400"/>
                  </a:lnTo>
                  <a:lnTo>
                    <a:pt x="98" y="1400"/>
                  </a:lnTo>
                  <a:lnTo>
                    <a:pt x="98" y="1367"/>
                  </a:lnTo>
                  <a:lnTo>
                    <a:pt x="830" y="1367"/>
                  </a:lnTo>
                  <a:lnTo>
                    <a:pt x="830" y="1334"/>
                  </a:lnTo>
                  <a:lnTo>
                    <a:pt x="65" y="1334"/>
                  </a:lnTo>
                  <a:lnTo>
                    <a:pt x="65" y="1432"/>
                  </a:lnTo>
                  <a:lnTo>
                    <a:pt x="830" y="1432"/>
                  </a:lnTo>
                  <a:close/>
                  <a:moveTo>
                    <a:pt x="993" y="1497"/>
                  </a:moveTo>
                  <a:lnTo>
                    <a:pt x="993" y="1416"/>
                  </a:lnTo>
                  <a:lnTo>
                    <a:pt x="911" y="1416"/>
                  </a:lnTo>
                  <a:lnTo>
                    <a:pt x="911" y="1318"/>
                  </a:lnTo>
                  <a:lnTo>
                    <a:pt x="993" y="1318"/>
                  </a:lnTo>
                  <a:lnTo>
                    <a:pt x="993" y="1237"/>
                  </a:lnTo>
                  <a:lnTo>
                    <a:pt x="1090" y="1237"/>
                  </a:lnTo>
                  <a:lnTo>
                    <a:pt x="1090" y="1318"/>
                  </a:lnTo>
                  <a:lnTo>
                    <a:pt x="1172" y="1318"/>
                  </a:lnTo>
                  <a:lnTo>
                    <a:pt x="1172" y="1416"/>
                  </a:lnTo>
                  <a:lnTo>
                    <a:pt x="1090" y="1416"/>
                  </a:lnTo>
                  <a:lnTo>
                    <a:pt x="1090" y="1497"/>
                  </a:lnTo>
                  <a:lnTo>
                    <a:pt x="993" y="1497"/>
                  </a:lnTo>
                  <a:close/>
                  <a:moveTo>
                    <a:pt x="1204" y="1530"/>
                  </a:moveTo>
                  <a:lnTo>
                    <a:pt x="1204" y="1204"/>
                  </a:lnTo>
                  <a:lnTo>
                    <a:pt x="879" y="1204"/>
                  </a:lnTo>
                  <a:lnTo>
                    <a:pt x="879" y="1530"/>
                  </a:lnTo>
                  <a:lnTo>
                    <a:pt x="1204" y="1530"/>
                  </a:lnTo>
                  <a:close/>
                  <a:moveTo>
                    <a:pt x="1888" y="1953"/>
                  </a:moveTo>
                  <a:lnTo>
                    <a:pt x="1888" y="1920"/>
                  </a:lnTo>
                  <a:lnTo>
                    <a:pt x="1839" y="1920"/>
                  </a:lnTo>
                  <a:lnTo>
                    <a:pt x="1839" y="1953"/>
                  </a:lnTo>
                  <a:lnTo>
                    <a:pt x="1888" y="1953"/>
                  </a:lnTo>
                  <a:close/>
                  <a:moveTo>
                    <a:pt x="1692" y="1953"/>
                  </a:moveTo>
                  <a:lnTo>
                    <a:pt x="1692" y="1920"/>
                  </a:lnTo>
                  <a:lnTo>
                    <a:pt x="1367" y="1920"/>
                  </a:lnTo>
                  <a:lnTo>
                    <a:pt x="1367" y="1953"/>
                  </a:lnTo>
                  <a:lnTo>
                    <a:pt x="1692" y="1953"/>
                  </a:lnTo>
                  <a:close/>
                  <a:moveTo>
                    <a:pt x="716" y="1953"/>
                  </a:moveTo>
                  <a:lnTo>
                    <a:pt x="716" y="1920"/>
                  </a:lnTo>
                  <a:lnTo>
                    <a:pt x="391" y="1920"/>
                  </a:lnTo>
                  <a:lnTo>
                    <a:pt x="391" y="1953"/>
                  </a:lnTo>
                  <a:lnTo>
                    <a:pt x="716" y="1953"/>
                  </a:lnTo>
                  <a:close/>
                  <a:moveTo>
                    <a:pt x="244" y="1953"/>
                  </a:moveTo>
                  <a:lnTo>
                    <a:pt x="244" y="1920"/>
                  </a:lnTo>
                  <a:lnTo>
                    <a:pt x="195" y="1920"/>
                  </a:lnTo>
                  <a:lnTo>
                    <a:pt x="195" y="1953"/>
                  </a:lnTo>
                  <a:lnTo>
                    <a:pt x="244" y="1953"/>
                  </a:lnTo>
                  <a:close/>
                  <a:moveTo>
                    <a:pt x="1220" y="1953"/>
                  </a:moveTo>
                  <a:lnTo>
                    <a:pt x="1220" y="1920"/>
                  </a:lnTo>
                  <a:lnTo>
                    <a:pt x="862" y="1920"/>
                  </a:lnTo>
                  <a:lnTo>
                    <a:pt x="862" y="1953"/>
                  </a:lnTo>
                  <a:lnTo>
                    <a:pt x="1220" y="1953"/>
                  </a:lnTo>
                  <a:close/>
                  <a:moveTo>
                    <a:pt x="1920" y="2018"/>
                  </a:moveTo>
                  <a:lnTo>
                    <a:pt x="1920" y="1985"/>
                  </a:lnTo>
                  <a:lnTo>
                    <a:pt x="1839" y="1985"/>
                  </a:lnTo>
                  <a:lnTo>
                    <a:pt x="1839" y="2018"/>
                  </a:lnTo>
                  <a:lnTo>
                    <a:pt x="1920" y="2018"/>
                  </a:lnTo>
                  <a:close/>
                  <a:moveTo>
                    <a:pt x="1692" y="2018"/>
                  </a:moveTo>
                  <a:lnTo>
                    <a:pt x="1692" y="1985"/>
                  </a:lnTo>
                  <a:lnTo>
                    <a:pt x="1367" y="1985"/>
                  </a:lnTo>
                  <a:lnTo>
                    <a:pt x="1367" y="2018"/>
                  </a:lnTo>
                  <a:lnTo>
                    <a:pt x="1692" y="2018"/>
                  </a:lnTo>
                  <a:close/>
                  <a:moveTo>
                    <a:pt x="716" y="2018"/>
                  </a:moveTo>
                  <a:lnTo>
                    <a:pt x="716" y="1985"/>
                  </a:lnTo>
                  <a:lnTo>
                    <a:pt x="391" y="1985"/>
                  </a:lnTo>
                  <a:lnTo>
                    <a:pt x="391" y="2018"/>
                  </a:lnTo>
                  <a:lnTo>
                    <a:pt x="716" y="2018"/>
                  </a:lnTo>
                  <a:close/>
                  <a:moveTo>
                    <a:pt x="244" y="2018"/>
                  </a:moveTo>
                  <a:lnTo>
                    <a:pt x="244" y="1985"/>
                  </a:lnTo>
                  <a:lnTo>
                    <a:pt x="163" y="1985"/>
                  </a:lnTo>
                  <a:lnTo>
                    <a:pt x="163" y="2018"/>
                  </a:lnTo>
                  <a:lnTo>
                    <a:pt x="244" y="2018"/>
                  </a:lnTo>
                  <a:close/>
                  <a:moveTo>
                    <a:pt x="1806" y="2018"/>
                  </a:moveTo>
                  <a:lnTo>
                    <a:pt x="1806" y="1497"/>
                  </a:lnTo>
                  <a:lnTo>
                    <a:pt x="1725" y="1497"/>
                  </a:lnTo>
                  <a:lnTo>
                    <a:pt x="1725" y="2018"/>
                  </a:lnTo>
                  <a:lnTo>
                    <a:pt x="1806" y="2018"/>
                  </a:lnTo>
                  <a:close/>
                  <a:moveTo>
                    <a:pt x="1334" y="2018"/>
                  </a:moveTo>
                  <a:lnTo>
                    <a:pt x="1334" y="1497"/>
                  </a:lnTo>
                  <a:lnTo>
                    <a:pt x="1253" y="1497"/>
                  </a:lnTo>
                  <a:lnTo>
                    <a:pt x="1253" y="1579"/>
                  </a:lnTo>
                  <a:lnTo>
                    <a:pt x="1253" y="1579"/>
                  </a:lnTo>
                  <a:lnTo>
                    <a:pt x="1253" y="2018"/>
                  </a:lnTo>
                  <a:lnTo>
                    <a:pt x="1334" y="2018"/>
                  </a:lnTo>
                  <a:close/>
                  <a:moveTo>
                    <a:pt x="1220" y="2018"/>
                  </a:moveTo>
                  <a:lnTo>
                    <a:pt x="1220" y="1985"/>
                  </a:lnTo>
                  <a:lnTo>
                    <a:pt x="862" y="1985"/>
                  </a:lnTo>
                  <a:lnTo>
                    <a:pt x="862" y="2018"/>
                  </a:lnTo>
                  <a:lnTo>
                    <a:pt x="1220" y="2018"/>
                  </a:lnTo>
                  <a:close/>
                  <a:moveTo>
                    <a:pt x="830" y="2018"/>
                  </a:moveTo>
                  <a:lnTo>
                    <a:pt x="830" y="1497"/>
                  </a:lnTo>
                  <a:lnTo>
                    <a:pt x="749" y="1497"/>
                  </a:lnTo>
                  <a:lnTo>
                    <a:pt x="749" y="2018"/>
                  </a:lnTo>
                  <a:lnTo>
                    <a:pt x="830" y="2018"/>
                  </a:lnTo>
                  <a:close/>
                  <a:moveTo>
                    <a:pt x="358" y="2018"/>
                  </a:moveTo>
                  <a:lnTo>
                    <a:pt x="358" y="1497"/>
                  </a:lnTo>
                  <a:lnTo>
                    <a:pt x="277" y="1497"/>
                  </a:lnTo>
                  <a:lnTo>
                    <a:pt x="277" y="2018"/>
                  </a:lnTo>
                  <a:lnTo>
                    <a:pt x="358" y="2018"/>
                  </a:lnTo>
                  <a:close/>
                  <a:moveTo>
                    <a:pt x="114" y="2083"/>
                  </a:moveTo>
                  <a:lnTo>
                    <a:pt x="114" y="1497"/>
                  </a:lnTo>
                  <a:lnTo>
                    <a:pt x="0" y="1497"/>
                  </a:lnTo>
                  <a:lnTo>
                    <a:pt x="0" y="1269"/>
                  </a:lnTo>
                  <a:lnTo>
                    <a:pt x="309" y="1269"/>
                  </a:lnTo>
                  <a:lnTo>
                    <a:pt x="309" y="217"/>
                  </a:lnTo>
                  <a:lnTo>
                    <a:pt x="242" y="0"/>
                  </a:lnTo>
                  <a:lnTo>
                    <a:pt x="1841" y="0"/>
                  </a:lnTo>
                  <a:lnTo>
                    <a:pt x="1774" y="217"/>
                  </a:lnTo>
                  <a:lnTo>
                    <a:pt x="1774" y="1269"/>
                  </a:lnTo>
                  <a:lnTo>
                    <a:pt x="2083" y="1269"/>
                  </a:lnTo>
                  <a:lnTo>
                    <a:pt x="2083" y="1497"/>
                  </a:lnTo>
                  <a:lnTo>
                    <a:pt x="1969" y="1497"/>
                  </a:lnTo>
                  <a:lnTo>
                    <a:pt x="1969" y="2083"/>
                  </a:lnTo>
                  <a:lnTo>
                    <a:pt x="114" y="2083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4" name="Freeform 7">
              <a:extLst>
                <a:ext uri="{FF2B5EF4-FFF2-40B4-BE49-F238E27FC236}">
                  <a16:creationId xmlns:a16="http://schemas.microsoft.com/office/drawing/2014/main" id="{710D4E42-8E41-6251-8A87-41A6EE0D44C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12514" y="3577637"/>
              <a:ext cx="211910" cy="201941"/>
            </a:xfrm>
            <a:custGeom>
              <a:avLst/>
              <a:gdLst>
                <a:gd name="T0" fmla="*/ 69 w 594"/>
                <a:gd name="T1" fmla="*/ 345 h 566"/>
                <a:gd name="T2" fmla="*/ 52 w 594"/>
                <a:gd name="T3" fmla="*/ 345 h 566"/>
                <a:gd name="T4" fmla="*/ 7 w 594"/>
                <a:gd name="T5" fmla="*/ 320 h 566"/>
                <a:gd name="T6" fmla="*/ 21 w 594"/>
                <a:gd name="T7" fmla="*/ 270 h 566"/>
                <a:gd name="T8" fmla="*/ 159 w 594"/>
                <a:gd name="T9" fmla="*/ 129 h 566"/>
                <a:gd name="T10" fmla="*/ 264 w 594"/>
                <a:gd name="T11" fmla="*/ 21 h 566"/>
                <a:gd name="T12" fmla="*/ 330 w 594"/>
                <a:gd name="T13" fmla="*/ 22 h 566"/>
                <a:gd name="T14" fmla="*/ 574 w 594"/>
                <a:gd name="T15" fmla="*/ 272 h 566"/>
                <a:gd name="T16" fmla="*/ 586 w 594"/>
                <a:gd name="T17" fmla="*/ 320 h 566"/>
                <a:gd name="T18" fmla="*/ 543 w 594"/>
                <a:gd name="T19" fmla="*/ 345 h 566"/>
                <a:gd name="T20" fmla="*/ 525 w 594"/>
                <a:gd name="T21" fmla="*/ 345 h 566"/>
                <a:gd name="T22" fmla="*/ 525 w 594"/>
                <a:gd name="T23" fmla="*/ 360 h 566"/>
                <a:gd name="T24" fmla="*/ 525 w 594"/>
                <a:gd name="T25" fmla="*/ 512 h 566"/>
                <a:gd name="T26" fmla="*/ 471 w 594"/>
                <a:gd name="T27" fmla="*/ 566 h 566"/>
                <a:gd name="T28" fmla="*/ 122 w 594"/>
                <a:gd name="T29" fmla="*/ 566 h 566"/>
                <a:gd name="T30" fmla="*/ 69 w 594"/>
                <a:gd name="T31" fmla="*/ 511 h 566"/>
                <a:gd name="T32" fmla="*/ 69 w 594"/>
                <a:gd name="T33" fmla="*/ 366 h 566"/>
                <a:gd name="T34" fmla="*/ 69 w 594"/>
                <a:gd name="T35" fmla="*/ 345 h 566"/>
                <a:gd name="T36" fmla="*/ 254 w 594"/>
                <a:gd name="T37" fmla="*/ 317 h 566"/>
                <a:gd name="T38" fmla="*/ 204 w 594"/>
                <a:gd name="T39" fmla="*/ 317 h 566"/>
                <a:gd name="T40" fmla="*/ 177 w 594"/>
                <a:gd name="T41" fmla="*/ 344 h 566"/>
                <a:gd name="T42" fmla="*/ 177 w 594"/>
                <a:gd name="T43" fmla="*/ 370 h 566"/>
                <a:gd name="T44" fmla="*/ 210 w 594"/>
                <a:gd name="T45" fmla="*/ 403 h 566"/>
                <a:gd name="T46" fmla="*/ 252 w 594"/>
                <a:gd name="T47" fmla="*/ 403 h 566"/>
                <a:gd name="T48" fmla="*/ 254 w 594"/>
                <a:gd name="T49" fmla="*/ 408 h 566"/>
                <a:gd name="T50" fmla="*/ 254 w 594"/>
                <a:gd name="T51" fmla="*/ 453 h 566"/>
                <a:gd name="T52" fmla="*/ 281 w 594"/>
                <a:gd name="T53" fmla="*/ 480 h 566"/>
                <a:gd name="T54" fmla="*/ 309 w 594"/>
                <a:gd name="T55" fmla="*/ 480 h 566"/>
                <a:gd name="T56" fmla="*/ 340 w 594"/>
                <a:gd name="T57" fmla="*/ 449 h 566"/>
                <a:gd name="T58" fmla="*/ 340 w 594"/>
                <a:gd name="T59" fmla="*/ 403 h 566"/>
                <a:gd name="T60" fmla="*/ 390 w 594"/>
                <a:gd name="T61" fmla="*/ 403 h 566"/>
                <a:gd name="T62" fmla="*/ 417 w 594"/>
                <a:gd name="T63" fmla="*/ 376 h 566"/>
                <a:gd name="T64" fmla="*/ 417 w 594"/>
                <a:gd name="T65" fmla="*/ 348 h 566"/>
                <a:gd name="T66" fmla="*/ 387 w 594"/>
                <a:gd name="T67" fmla="*/ 317 h 566"/>
                <a:gd name="T68" fmla="*/ 340 w 594"/>
                <a:gd name="T69" fmla="*/ 317 h 566"/>
                <a:gd name="T70" fmla="*/ 340 w 594"/>
                <a:gd name="T71" fmla="*/ 267 h 566"/>
                <a:gd name="T72" fmla="*/ 313 w 594"/>
                <a:gd name="T73" fmla="*/ 240 h 566"/>
                <a:gd name="T74" fmla="*/ 282 w 594"/>
                <a:gd name="T75" fmla="*/ 240 h 566"/>
                <a:gd name="T76" fmla="*/ 254 w 594"/>
                <a:gd name="T77" fmla="*/ 269 h 566"/>
                <a:gd name="T78" fmla="*/ 254 w 594"/>
                <a:gd name="T79" fmla="*/ 317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94" h="566">
                  <a:moveTo>
                    <a:pt x="69" y="345"/>
                  </a:moveTo>
                  <a:cubicBezTo>
                    <a:pt x="62" y="345"/>
                    <a:pt x="57" y="345"/>
                    <a:pt x="52" y="345"/>
                  </a:cubicBezTo>
                  <a:cubicBezTo>
                    <a:pt x="32" y="346"/>
                    <a:pt x="15" y="340"/>
                    <a:pt x="7" y="320"/>
                  </a:cubicBezTo>
                  <a:cubicBezTo>
                    <a:pt x="0" y="301"/>
                    <a:pt x="6" y="285"/>
                    <a:pt x="21" y="270"/>
                  </a:cubicBezTo>
                  <a:cubicBezTo>
                    <a:pt x="67" y="223"/>
                    <a:pt x="113" y="176"/>
                    <a:pt x="159" y="129"/>
                  </a:cubicBezTo>
                  <a:cubicBezTo>
                    <a:pt x="194" y="93"/>
                    <a:pt x="229" y="57"/>
                    <a:pt x="264" y="21"/>
                  </a:cubicBezTo>
                  <a:cubicBezTo>
                    <a:pt x="285" y="0"/>
                    <a:pt x="309" y="0"/>
                    <a:pt x="330" y="22"/>
                  </a:cubicBezTo>
                  <a:cubicBezTo>
                    <a:pt x="412" y="105"/>
                    <a:pt x="493" y="189"/>
                    <a:pt x="574" y="272"/>
                  </a:cubicBezTo>
                  <a:cubicBezTo>
                    <a:pt x="588" y="286"/>
                    <a:pt x="594" y="301"/>
                    <a:pt x="586" y="320"/>
                  </a:cubicBezTo>
                  <a:cubicBezTo>
                    <a:pt x="580" y="337"/>
                    <a:pt x="565" y="345"/>
                    <a:pt x="543" y="345"/>
                  </a:cubicBezTo>
                  <a:cubicBezTo>
                    <a:pt x="538" y="345"/>
                    <a:pt x="532" y="345"/>
                    <a:pt x="525" y="345"/>
                  </a:cubicBezTo>
                  <a:cubicBezTo>
                    <a:pt x="525" y="351"/>
                    <a:pt x="525" y="356"/>
                    <a:pt x="525" y="360"/>
                  </a:cubicBezTo>
                  <a:cubicBezTo>
                    <a:pt x="525" y="411"/>
                    <a:pt x="525" y="461"/>
                    <a:pt x="525" y="512"/>
                  </a:cubicBezTo>
                  <a:cubicBezTo>
                    <a:pt x="525" y="544"/>
                    <a:pt x="504" y="566"/>
                    <a:pt x="471" y="566"/>
                  </a:cubicBezTo>
                  <a:cubicBezTo>
                    <a:pt x="355" y="566"/>
                    <a:pt x="238" y="566"/>
                    <a:pt x="122" y="566"/>
                  </a:cubicBezTo>
                  <a:cubicBezTo>
                    <a:pt x="89" y="566"/>
                    <a:pt x="69" y="545"/>
                    <a:pt x="69" y="511"/>
                  </a:cubicBezTo>
                  <a:cubicBezTo>
                    <a:pt x="68" y="463"/>
                    <a:pt x="69" y="414"/>
                    <a:pt x="69" y="366"/>
                  </a:cubicBezTo>
                  <a:cubicBezTo>
                    <a:pt x="69" y="359"/>
                    <a:pt x="69" y="353"/>
                    <a:pt x="69" y="345"/>
                  </a:cubicBezTo>
                  <a:close/>
                  <a:moveTo>
                    <a:pt x="254" y="317"/>
                  </a:moveTo>
                  <a:cubicBezTo>
                    <a:pt x="236" y="317"/>
                    <a:pt x="220" y="317"/>
                    <a:pt x="204" y="317"/>
                  </a:cubicBezTo>
                  <a:cubicBezTo>
                    <a:pt x="186" y="318"/>
                    <a:pt x="177" y="327"/>
                    <a:pt x="177" y="344"/>
                  </a:cubicBezTo>
                  <a:cubicBezTo>
                    <a:pt x="177" y="353"/>
                    <a:pt x="177" y="362"/>
                    <a:pt x="177" y="370"/>
                  </a:cubicBezTo>
                  <a:cubicBezTo>
                    <a:pt x="177" y="395"/>
                    <a:pt x="185" y="403"/>
                    <a:pt x="210" y="403"/>
                  </a:cubicBezTo>
                  <a:cubicBezTo>
                    <a:pt x="224" y="403"/>
                    <a:pt x="239" y="403"/>
                    <a:pt x="252" y="403"/>
                  </a:cubicBezTo>
                  <a:cubicBezTo>
                    <a:pt x="253" y="406"/>
                    <a:pt x="254" y="407"/>
                    <a:pt x="254" y="408"/>
                  </a:cubicBezTo>
                  <a:cubicBezTo>
                    <a:pt x="254" y="423"/>
                    <a:pt x="254" y="438"/>
                    <a:pt x="254" y="453"/>
                  </a:cubicBezTo>
                  <a:cubicBezTo>
                    <a:pt x="254" y="470"/>
                    <a:pt x="263" y="479"/>
                    <a:pt x="281" y="480"/>
                  </a:cubicBezTo>
                  <a:cubicBezTo>
                    <a:pt x="290" y="480"/>
                    <a:pt x="300" y="480"/>
                    <a:pt x="309" y="480"/>
                  </a:cubicBezTo>
                  <a:cubicBezTo>
                    <a:pt x="331" y="480"/>
                    <a:pt x="340" y="471"/>
                    <a:pt x="340" y="449"/>
                  </a:cubicBezTo>
                  <a:cubicBezTo>
                    <a:pt x="340" y="434"/>
                    <a:pt x="340" y="419"/>
                    <a:pt x="340" y="403"/>
                  </a:cubicBezTo>
                  <a:cubicBezTo>
                    <a:pt x="358" y="403"/>
                    <a:pt x="374" y="403"/>
                    <a:pt x="390" y="403"/>
                  </a:cubicBezTo>
                  <a:cubicBezTo>
                    <a:pt x="407" y="402"/>
                    <a:pt x="416" y="393"/>
                    <a:pt x="417" y="376"/>
                  </a:cubicBezTo>
                  <a:cubicBezTo>
                    <a:pt x="417" y="367"/>
                    <a:pt x="417" y="357"/>
                    <a:pt x="417" y="348"/>
                  </a:cubicBezTo>
                  <a:cubicBezTo>
                    <a:pt x="417" y="326"/>
                    <a:pt x="408" y="317"/>
                    <a:pt x="387" y="317"/>
                  </a:cubicBezTo>
                  <a:cubicBezTo>
                    <a:pt x="371" y="317"/>
                    <a:pt x="356" y="317"/>
                    <a:pt x="340" y="317"/>
                  </a:cubicBezTo>
                  <a:cubicBezTo>
                    <a:pt x="340" y="299"/>
                    <a:pt x="340" y="283"/>
                    <a:pt x="340" y="267"/>
                  </a:cubicBezTo>
                  <a:cubicBezTo>
                    <a:pt x="339" y="250"/>
                    <a:pt x="330" y="241"/>
                    <a:pt x="313" y="240"/>
                  </a:cubicBezTo>
                  <a:cubicBezTo>
                    <a:pt x="303" y="240"/>
                    <a:pt x="293" y="240"/>
                    <a:pt x="282" y="240"/>
                  </a:cubicBezTo>
                  <a:cubicBezTo>
                    <a:pt x="263" y="241"/>
                    <a:pt x="254" y="250"/>
                    <a:pt x="254" y="269"/>
                  </a:cubicBezTo>
                  <a:cubicBezTo>
                    <a:pt x="254" y="285"/>
                    <a:pt x="254" y="300"/>
                    <a:pt x="254" y="317"/>
                  </a:cubicBez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45" name="Group 444">
              <a:extLst>
                <a:ext uri="{FF2B5EF4-FFF2-40B4-BE49-F238E27FC236}">
                  <a16:creationId xmlns:a16="http://schemas.microsoft.com/office/drawing/2014/main" id="{113E0303-C412-F378-F306-EE802708737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62582" y="3823615"/>
              <a:ext cx="211911" cy="241593"/>
              <a:chOff x="6757988" y="1189038"/>
              <a:chExt cx="974725" cy="1111250"/>
            </a:xfrm>
            <a:solidFill>
              <a:sysClr val="window" lastClr="FFFFFF"/>
            </a:solidFill>
          </p:grpSpPr>
          <p:sp>
            <p:nvSpPr>
              <p:cNvPr id="507" name="Freeform 5">
                <a:extLst>
                  <a:ext uri="{FF2B5EF4-FFF2-40B4-BE49-F238E27FC236}">
                    <a16:creationId xmlns:a16="http://schemas.microsoft.com/office/drawing/2014/main" id="{83DAB4D2-C875-4638-84D8-84257A2E5A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4513" y="1949450"/>
                <a:ext cx="703262" cy="195262"/>
              </a:xfrm>
              <a:custGeom>
                <a:avLst/>
                <a:gdLst>
                  <a:gd name="T0" fmla="*/ 87 w 1032"/>
                  <a:gd name="T1" fmla="*/ 114 h 286"/>
                  <a:gd name="T2" fmla="*/ 201 w 1032"/>
                  <a:gd name="T3" fmla="*/ 114 h 286"/>
                  <a:gd name="T4" fmla="*/ 201 w 1032"/>
                  <a:gd name="T5" fmla="*/ 171 h 286"/>
                  <a:gd name="T6" fmla="*/ 87 w 1032"/>
                  <a:gd name="T7" fmla="*/ 171 h 286"/>
                  <a:gd name="T8" fmla="*/ 87 w 1032"/>
                  <a:gd name="T9" fmla="*/ 114 h 286"/>
                  <a:gd name="T10" fmla="*/ 43 w 1032"/>
                  <a:gd name="T11" fmla="*/ 0 h 286"/>
                  <a:gd name="T12" fmla="*/ 989 w 1032"/>
                  <a:gd name="T13" fmla="*/ 0 h 286"/>
                  <a:gd name="T14" fmla="*/ 1022 w 1032"/>
                  <a:gd name="T15" fmla="*/ 18 h 286"/>
                  <a:gd name="T16" fmla="*/ 1032 w 1032"/>
                  <a:gd name="T17" fmla="*/ 49 h 286"/>
                  <a:gd name="T18" fmla="*/ 1032 w 1032"/>
                  <a:gd name="T19" fmla="*/ 237 h 286"/>
                  <a:gd name="T20" fmla="*/ 1022 w 1032"/>
                  <a:gd name="T21" fmla="*/ 268 h 286"/>
                  <a:gd name="T22" fmla="*/ 989 w 1032"/>
                  <a:gd name="T23" fmla="*/ 286 h 286"/>
                  <a:gd name="T24" fmla="*/ 43 w 1032"/>
                  <a:gd name="T25" fmla="*/ 286 h 286"/>
                  <a:gd name="T26" fmla="*/ 10 w 1032"/>
                  <a:gd name="T27" fmla="*/ 268 h 286"/>
                  <a:gd name="T28" fmla="*/ 0 w 1032"/>
                  <a:gd name="T29" fmla="*/ 237 h 286"/>
                  <a:gd name="T30" fmla="*/ 0 w 1032"/>
                  <a:gd name="T31" fmla="*/ 49 h 286"/>
                  <a:gd name="T32" fmla="*/ 10 w 1032"/>
                  <a:gd name="T33" fmla="*/ 18 h 286"/>
                  <a:gd name="T34" fmla="*/ 43 w 1032"/>
                  <a:gd name="T35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2" h="286">
                    <a:moveTo>
                      <a:pt x="87" y="114"/>
                    </a:moveTo>
                    <a:cubicBezTo>
                      <a:pt x="201" y="114"/>
                      <a:pt x="201" y="114"/>
                      <a:pt x="201" y="114"/>
                    </a:cubicBezTo>
                    <a:cubicBezTo>
                      <a:pt x="201" y="171"/>
                      <a:pt x="201" y="171"/>
                      <a:pt x="201" y="171"/>
                    </a:cubicBezTo>
                    <a:cubicBezTo>
                      <a:pt x="87" y="171"/>
                      <a:pt x="87" y="171"/>
                      <a:pt x="87" y="171"/>
                    </a:cubicBezTo>
                    <a:lnTo>
                      <a:pt x="87" y="114"/>
                    </a:lnTo>
                    <a:close/>
                    <a:moveTo>
                      <a:pt x="43" y="0"/>
                    </a:moveTo>
                    <a:cubicBezTo>
                      <a:pt x="989" y="0"/>
                      <a:pt x="989" y="0"/>
                      <a:pt x="989" y="0"/>
                    </a:cubicBezTo>
                    <a:cubicBezTo>
                      <a:pt x="1003" y="0"/>
                      <a:pt x="1014" y="7"/>
                      <a:pt x="1022" y="18"/>
                    </a:cubicBezTo>
                    <a:cubicBezTo>
                      <a:pt x="1028" y="26"/>
                      <a:pt x="1032" y="37"/>
                      <a:pt x="1032" y="49"/>
                    </a:cubicBezTo>
                    <a:cubicBezTo>
                      <a:pt x="1032" y="237"/>
                      <a:pt x="1032" y="237"/>
                      <a:pt x="1032" y="237"/>
                    </a:cubicBezTo>
                    <a:cubicBezTo>
                      <a:pt x="1032" y="248"/>
                      <a:pt x="1028" y="259"/>
                      <a:pt x="1022" y="268"/>
                    </a:cubicBezTo>
                    <a:cubicBezTo>
                      <a:pt x="1014" y="279"/>
                      <a:pt x="1003" y="286"/>
                      <a:pt x="989" y="286"/>
                    </a:cubicBezTo>
                    <a:cubicBezTo>
                      <a:pt x="43" y="286"/>
                      <a:pt x="43" y="286"/>
                      <a:pt x="43" y="286"/>
                    </a:cubicBezTo>
                    <a:cubicBezTo>
                      <a:pt x="29" y="286"/>
                      <a:pt x="18" y="279"/>
                      <a:pt x="10" y="268"/>
                    </a:cubicBezTo>
                    <a:cubicBezTo>
                      <a:pt x="4" y="259"/>
                      <a:pt x="0" y="248"/>
                      <a:pt x="0" y="237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7"/>
                      <a:pt x="4" y="26"/>
                      <a:pt x="10" y="18"/>
                    </a:cubicBezTo>
                    <a:cubicBezTo>
                      <a:pt x="18" y="7"/>
                      <a:pt x="29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8" name="Freeform 6">
                <a:extLst>
                  <a:ext uri="{FF2B5EF4-FFF2-40B4-BE49-F238E27FC236}">
                    <a16:creationId xmlns:a16="http://schemas.microsoft.com/office/drawing/2014/main" id="{8BA12270-4109-A051-5AEA-BAFC520DFA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4513" y="1735138"/>
                <a:ext cx="703262" cy="193675"/>
              </a:xfrm>
              <a:custGeom>
                <a:avLst/>
                <a:gdLst>
                  <a:gd name="T0" fmla="*/ 87 w 1032"/>
                  <a:gd name="T1" fmla="*/ 114 h 286"/>
                  <a:gd name="T2" fmla="*/ 201 w 1032"/>
                  <a:gd name="T3" fmla="*/ 114 h 286"/>
                  <a:gd name="T4" fmla="*/ 201 w 1032"/>
                  <a:gd name="T5" fmla="*/ 171 h 286"/>
                  <a:gd name="T6" fmla="*/ 87 w 1032"/>
                  <a:gd name="T7" fmla="*/ 171 h 286"/>
                  <a:gd name="T8" fmla="*/ 87 w 1032"/>
                  <a:gd name="T9" fmla="*/ 114 h 286"/>
                  <a:gd name="T10" fmla="*/ 43 w 1032"/>
                  <a:gd name="T11" fmla="*/ 0 h 286"/>
                  <a:gd name="T12" fmla="*/ 989 w 1032"/>
                  <a:gd name="T13" fmla="*/ 0 h 286"/>
                  <a:gd name="T14" fmla="*/ 1022 w 1032"/>
                  <a:gd name="T15" fmla="*/ 18 h 286"/>
                  <a:gd name="T16" fmla="*/ 1032 w 1032"/>
                  <a:gd name="T17" fmla="*/ 49 h 286"/>
                  <a:gd name="T18" fmla="*/ 1032 w 1032"/>
                  <a:gd name="T19" fmla="*/ 237 h 286"/>
                  <a:gd name="T20" fmla="*/ 1022 w 1032"/>
                  <a:gd name="T21" fmla="*/ 268 h 286"/>
                  <a:gd name="T22" fmla="*/ 989 w 1032"/>
                  <a:gd name="T23" fmla="*/ 286 h 286"/>
                  <a:gd name="T24" fmla="*/ 43 w 1032"/>
                  <a:gd name="T25" fmla="*/ 286 h 286"/>
                  <a:gd name="T26" fmla="*/ 10 w 1032"/>
                  <a:gd name="T27" fmla="*/ 268 h 286"/>
                  <a:gd name="T28" fmla="*/ 0 w 1032"/>
                  <a:gd name="T29" fmla="*/ 237 h 286"/>
                  <a:gd name="T30" fmla="*/ 0 w 1032"/>
                  <a:gd name="T31" fmla="*/ 49 h 286"/>
                  <a:gd name="T32" fmla="*/ 10 w 1032"/>
                  <a:gd name="T33" fmla="*/ 18 h 286"/>
                  <a:gd name="T34" fmla="*/ 43 w 1032"/>
                  <a:gd name="T35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2" h="286">
                    <a:moveTo>
                      <a:pt x="87" y="114"/>
                    </a:moveTo>
                    <a:cubicBezTo>
                      <a:pt x="201" y="114"/>
                      <a:pt x="201" y="114"/>
                      <a:pt x="201" y="114"/>
                    </a:cubicBezTo>
                    <a:cubicBezTo>
                      <a:pt x="201" y="171"/>
                      <a:pt x="201" y="171"/>
                      <a:pt x="201" y="171"/>
                    </a:cubicBezTo>
                    <a:cubicBezTo>
                      <a:pt x="87" y="171"/>
                      <a:pt x="87" y="171"/>
                      <a:pt x="87" y="171"/>
                    </a:cubicBezTo>
                    <a:lnTo>
                      <a:pt x="87" y="114"/>
                    </a:lnTo>
                    <a:close/>
                    <a:moveTo>
                      <a:pt x="43" y="0"/>
                    </a:moveTo>
                    <a:cubicBezTo>
                      <a:pt x="989" y="0"/>
                      <a:pt x="989" y="0"/>
                      <a:pt x="989" y="0"/>
                    </a:cubicBezTo>
                    <a:cubicBezTo>
                      <a:pt x="1003" y="0"/>
                      <a:pt x="1014" y="7"/>
                      <a:pt x="1022" y="18"/>
                    </a:cubicBezTo>
                    <a:cubicBezTo>
                      <a:pt x="1028" y="26"/>
                      <a:pt x="1032" y="37"/>
                      <a:pt x="1032" y="49"/>
                    </a:cubicBezTo>
                    <a:cubicBezTo>
                      <a:pt x="1032" y="237"/>
                      <a:pt x="1032" y="237"/>
                      <a:pt x="1032" y="237"/>
                    </a:cubicBezTo>
                    <a:cubicBezTo>
                      <a:pt x="1032" y="248"/>
                      <a:pt x="1028" y="259"/>
                      <a:pt x="1022" y="268"/>
                    </a:cubicBezTo>
                    <a:cubicBezTo>
                      <a:pt x="1014" y="279"/>
                      <a:pt x="1003" y="286"/>
                      <a:pt x="989" y="286"/>
                    </a:cubicBezTo>
                    <a:cubicBezTo>
                      <a:pt x="43" y="286"/>
                      <a:pt x="43" y="286"/>
                      <a:pt x="43" y="286"/>
                    </a:cubicBezTo>
                    <a:cubicBezTo>
                      <a:pt x="29" y="286"/>
                      <a:pt x="18" y="279"/>
                      <a:pt x="10" y="268"/>
                    </a:cubicBezTo>
                    <a:cubicBezTo>
                      <a:pt x="4" y="259"/>
                      <a:pt x="0" y="248"/>
                      <a:pt x="0" y="237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7"/>
                      <a:pt x="4" y="26"/>
                      <a:pt x="10" y="18"/>
                    </a:cubicBezTo>
                    <a:cubicBezTo>
                      <a:pt x="18" y="7"/>
                      <a:pt x="29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9" name="Freeform 7">
                <a:extLst>
                  <a:ext uri="{FF2B5EF4-FFF2-40B4-BE49-F238E27FC236}">
                    <a16:creationId xmlns:a16="http://schemas.microsoft.com/office/drawing/2014/main" id="{B248FA9E-C138-64F0-28C7-80FC780869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94513" y="1520825"/>
                <a:ext cx="703262" cy="193675"/>
              </a:xfrm>
              <a:custGeom>
                <a:avLst/>
                <a:gdLst>
                  <a:gd name="T0" fmla="*/ 87 w 1032"/>
                  <a:gd name="T1" fmla="*/ 114 h 286"/>
                  <a:gd name="T2" fmla="*/ 201 w 1032"/>
                  <a:gd name="T3" fmla="*/ 114 h 286"/>
                  <a:gd name="T4" fmla="*/ 201 w 1032"/>
                  <a:gd name="T5" fmla="*/ 172 h 286"/>
                  <a:gd name="T6" fmla="*/ 87 w 1032"/>
                  <a:gd name="T7" fmla="*/ 172 h 286"/>
                  <a:gd name="T8" fmla="*/ 87 w 1032"/>
                  <a:gd name="T9" fmla="*/ 114 h 286"/>
                  <a:gd name="T10" fmla="*/ 43 w 1032"/>
                  <a:gd name="T11" fmla="*/ 0 h 286"/>
                  <a:gd name="T12" fmla="*/ 989 w 1032"/>
                  <a:gd name="T13" fmla="*/ 0 h 286"/>
                  <a:gd name="T14" fmla="*/ 1022 w 1032"/>
                  <a:gd name="T15" fmla="*/ 18 h 286"/>
                  <a:gd name="T16" fmla="*/ 1032 w 1032"/>
                  <a:gd name="T17" fmla="*/ 49 h 286"/>
                  <a:gd name="T18" fmla="*/ 1032 w 1032"/>
                  <a:gd name="T19" fmla="*/ 237 h 286"/>
                  <a:gd name="T20" fmla="*/ 1022 w 1032"/>
                  <a:gd name="T21" fmla="*/ 268 h 286"/>
                  <a:gd name="T22" fmla="*/ 989 w 1032"/>
                  <a:gd name="T23" fmla="*/ 286 h 286"/>
                  <a:gd name="T24" fmla="*/ 43 w 1032"/>
                  <a:gd name="T25" fmla="*/ 286 h 286"/>
                  <a:gd name="T26" fmla="*/ 10 w 1032"/>
                  <a:gd name="T27" fmla="*/ 268 h 286"/>
                  <a:gd name="T28" fmla="*/ 0 w 1032"/>
                  <a:gd name="T29" fmla="*/ 237 h 286"/>
                  <a:gd name="T30" fmla="*/ 0 w 1032"/>
                  <a:gd name="T31" fmla="*/ 49 h 286"/>
                  <a:gd name="T32" fmla="*/ 10 w 1032"/>
                  <a:gd name="T33" fmla="*/ 18 h 286"/>
                  <a:gd name="T34" fmla="*/ 43 w 1032"/>
                  <a:gd name="T35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32" h="286">
                    <a:moveTo>
                      <a:pt x="87" y="114"/>
                    </a:moveTo>
                    <a:cubicBezTo>
                      <a:pt x="201" y="114"/>
                      <a:pt x="201" y="114"/>
                      <a:pt x="201" y="114"/>
                    </a:cubicBezTo>
                    <a:cubicBezTo>
                      <a:pt x="201" y="172"/>
                      <a:pt x="201" y="172"/>
                      <a:pt x="201" y="172"/>
                    </a:cubicBezTo>
                    <a:cubicBezTo>
                      <a:pt x="87" y="172"/>
                      <a:pt x="87" y="172"/>
                      <a:pt x="87" y="172"/>
                    </a:cubicBezTo>
                    <a:lnTo>
                      <a:pt x="87" y="114"/>
                    </a:lnTo>
                    <a:close/>
                    <a:moveTo>
                      <a:pt x="43" y="0"/>
                    </a:moveTo>
                    <a:cubicBezTo>
                      <a:pt x="989" y="0"/>
                      <a:pt x="989" y="0"/>
                      <a:pt x="989" y="0"/>
                    </a:cubicBezTo>
                    <a:cubicBezTo>
                      <a:pt x="1003" y="0"/>
                      <a:pt x="1014" y="7"/>
                      <a:pt x="1022" y="18"/>
                    </a:cubicBezTo>
                    <a:cubicBezTo>
                      <a:pt x="1028" y="26"/>
                      <a:pt x="1032" y="37"/>
                      <a:pt x="1032" y="49"/>
                    </a:cubicBezTo>
                    <a:cubicBezTo>
                      <a:pt x="1032" y="237"/>
                      <a:pt x="1032" y="237"/>
                      <a:pt x="1032" y="237"/>
                    </a:cubicBezTo>
                    <a:cubicBezTo>
                      <a:pt x="1032" y="248"/>
                      <a:pt x="1028" y="259"/>
                      <a:pt x="1022" y="268"/>
                    </a:cubicBezTo>
                    <a:cubicBezTo>
                      <a:pt x="1014" y="279"/>
                      <a:pt x="1003" y="286"/>
                      <a:pt x="989" y="286"/>
                    </a:cubicBezTo>
                    <a:cubicBezTo>
                      <a:pt x="43" y="286"/>
                      <a:pt x="43" y="286"/>
                      <a:pt x="43" y="286"/>
                    </a:cubicBezTo>
                    <a:cubicBezTo>
                      <a:pt x="29" y="286"/>
                      <a:pt x="18" y="279"/>
                      <a:pt x="10" y="268"/>
                    </a:cubicBezTo>
                    <a:cubicBezTo>
                      <a:pt x="4" y="259"/>
                      <a:pt x="0" y="248"/>
                      <a:pt x="0" y="237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37"/>
                      <a:pt x="4" y="26"/>
                      <a:pt x="10" y="18"/>
                    </a:cubicBezTo>
                    <a:cubicBezTo>
                      <a:pt x="18" y="7"/>
                      <a:pt x="29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0" name="Freeform 8">
                <a:extLst>
                  <a:ext uri="{FF2B5EF4-FFF2-40B4-BE49-F238E27FC236}">
                    <a16:creationId xmlns:a16="http://schemas.microsoft.com/office/drawing/2014/main" id="{BD143887-5B58-B157-B683-629E75D63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72300" y="2163763"/>
                <a:ext cx="546100" cy="136525"/>
              </a:xfrm>
              <a:custGeom>
                <a:avLst/>
                <a:gdLst>
                  <a:gd name="T0" fmla="*/ 185 w 344"/>
                  <a:gd name="T1" fmla="*/ 0 h 86"/>
                  <a:gd name="T2" fmla="*/ 185 w 344"/>
                  <a:gd name="T3" fmla="*/ 61 h 86"/>
                  <a:gd name="T4" fmla="*/ 344 w 344"/>
                  <a:gd name="T5" fmla="*/ 61 h 86"/>
                  <a:gd name="T6" fmla="*/ 344 w 344"/>
                  <a:gd name="T7" fmla="*/ 86 h 86"/>
                  <a:gd name="T8" fmla="*/ 0 w 344"/>
                  <a:gd name="T9" fmla="*/ 86 h 86"/>
                  <a:gd name="T10" fmla="*/ 0 w 344"/>
                  <a:gd name="T11" fmla="*/ 61 h 86"/>
                  <a:gd name="T12" fmla="*/ 160 w 344"/>
                  <a:gd name="T13" fmla="*/ 61 h 86"/>
                  <a:gd name="T14" fmla="*/ 160 w 344"/>
                  <a:gd name="T15" fmla="*/ 0 h 86"/>
                  <a:gd name="T16" fmla="*/ 185 w 344"/>
                  <a:gd name="T17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4" h="86">
                    <a:moveTo>
                      <a:pt x="185" y="0"/>
                    </a:moveTo>
                    <a:lnTo>
                      <a:pt x="185" y="61"/>
                    </a:lnTo>
                    <a:lnTo>
                      <a:pt x="344" y="61"/>
                    </a:lnTo>
                    <a:lnTo>
                      <a:pt x="344" y="86"/>
                    </a:lnTo>
                    <a:lnTo>
                      <a:pt x="0" y="86"/>
                    </a:lnTo>
                    <a:lnTo>
                      <a:pt x="0" y="61"/>
                    </a:lnTo>
                    <a:lnTo>
                      <a:pt x="160" y="61"/>
                    </a:lnTo>
                    <a:lnTo>
                      <a:pt x="160" y="0"/>
                    </a:lnTo>
                    <a:lnTo>
                      <a:pt x="18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1" name="Freeform 9">
                <a:extLst>
                  <a:ext uri="{FF2B5EF4-FFF2-40B4-BE49-F238E27FC236}">
                    <a16:creationId xmlns:a16="http://schemas.microsoft.com/office/drawing/2014/main" id="{4A971A79-A9C1-8C24-A4A1-3A0A9E034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7988" y="1189038"/>
                <a:ext cx="974725" cy="606425"/>
              </a:xfrm>
              <a:custGeom>
                <a:avLst/>
                <a:gdLst>
                  <a:gd name="T0" fmla="*/ 1258 w 1432"/>
                  <a:gd name="T1" fmla="*/ 830 h 892"/>
                  <a:gd name="T2" fmla="*/ 1307 w 1432"/>
                  <a:gd name="T3" fmla="*/ 792 h 892"/>
                  <a:gd name="T4" fmla="*/ 1375 w 1432"/>
                  <a:gd name="T5" fmla="*/ 630 h 892"/>
                  <a:gd name="T6" fmla="*/ 1332 w 1432"/>
                  <a:gd name="T7" fmla="*/ 498 h 892"/>
                  <a:gd name="T8" fmla="*/ 1220 w 1432"/>
                  <a:gd name="T9" fmla="*/ 414 h 892"/>
                  <a:gd name="T10" fmla="*/ 1201 w 1432"/>
                  <a:gd name="T11" fmla="*/ 408 h 892"/>
                  <a:gd name="T12" fmla="*/ 1201 w 1432"/>
                  <a:gd name="T13" fmla="*/ 387 h 892"/>
                  <a:gd name="T14" fmla="*/ 1202 w 1432"/>
                  <a:gd name="T15" fmla="*/ 376 h 892"/>
                  <a:gd name="T16" fmla="*/ 1203 w 1432"/>
                  <a:gd name="T17" fmla="*/ 372 h 892"/>
                  <a:gd name="T18" fmla="*/ 1110 w 1432"/>
                  <a:gd name="T19" fmla="*/ 150 h 892"/>
                  <a:gd name="T20" fmla="*/ 888 w 1432"/>
                  <a:gd name="T21" fmla="*/ 57 h 892"/>
                  <a:gd name="T22" fmla="*/ 730 w 1432"/>
                  <a:gd name="T23" fmla="*/ 100 h 892"/>
                  <a:gd name="T24" fmla="*/ 614 w 1432"/>
                  <a:gd name="T25" fmla="*/ 219 h 892"/>
                  <a:gd name="T26" fmla="*/ 604 w 1432"/>
                  <a:gd name="T27" fmla="*/ 237 h 892"/>
                  <a:gd name="T28" fmla="*/ 584 w 1432"/>
                  <a:gd name="T29" fmla="*/ 233 h 892"/>
                  <a:gd name="T30" fmla="*/ 564 w 1432"/>
                  <a:gd name="T31" fmla="*/ 230 h 892"/>
                  <a:gd name="T32" fmla="*/ 544 w 1432"/>
                  <a:gd name="T33" fmla="*/ 229 h 892"/>
                  <a:gd name="T34" fmla="*/ 413 w 1432"/>
                  <a:gd name="T35" fmla="*/ 271 h 892"/>
                  <a:gd name="T36" fmla="*/ 329 w 1432"/>
                  <a:gd name="T37" fmla="*/ 383 h 892"/>
                  <a:gd name="T38" fmla="*/ 322 w 1432"/>
                  <a:gd name="T39" fmla="*/ 404 h 892"/>
                  <a:gd name="T40" fmla="*/ 300 w 1432"/>
                  <a:gd name="T41" fmla="*/ 402 h 892"/>
                  <a:gd name="T42" fmla="*/ 292 w 1432"/>
                  <a:gd name="T43" fmla="*/ 401 h 892"/>
                  <a:gd name="T44" fmla="*/ 287 w 1432"/>
                  <a:gd name="T45" fmla="*/ 401 h 892"/>
                  <a:gd name="T46" fmla="*/ 125 w 1432"/>
                  <a:gd name="T47" fmla="*/ 468 h 892"/>
                  <a:gd name="T48" fmla="*/ 57 w 1432"/>
                  <a:gd name="T49" fmla="*/ 630 h 892"/>
                  <a:gd name="T50" fmla="*/ 125 w 1432"/>
                  <a:gd name="T51" fmla="*/ 792 h 892"/>
                  <a:gd name="T52" fmla="*/ 174 w 1432"/>
                  <a:gd name="T53" fmla="*/ 830 h 892"/>
                  <a:gd name="T54" fmla="*/ 171 w 1432"/>
                  <a:gd name="T55" fmla="*/ 851 h 892"/>
                  <a:gd name="T56" fmla="*/ 171 w 1432"/>
                  <a:gd name="T57" fmla="*/ 892 h 892"/>
                  <a:gd name="T58" fmla="*/ 84 w 1432"/>
                  <a:gd name="T59" fmla="*/ 832 h 892"/>
                  <a:gd name="T60" fmla="*/ 0 w 1432"/>
                  <a:gd name="T61" fmla="*/ 630 h 892"/>
                  <a:gd name="T62" fmla="*/ 84 w 1432"/>
                  <a:gd name="T63" fmla="*/ 427 h 892"/>
                  <a:gd name="T64" fmla="*/ 283 w 1432"/>
                  <a:gd name="T65" fmla="*/ 344 h 892"/>
                  <a:gd name="T66" fmla="*/ 379 w 1432"/>
                  <a:gd name="T67" fmla="*/ 225 h 892"/>
                  <a:gd name="T68" fmla="*/ 544 w 1432"/>
                  <a:gd name="T69" fmla="*/ 172 h 892"/>
                  <a:gd name="T70" fmla="*/ 570 w 1432"/>
                  <a:gd name="T71" fmla="*/ 173 h 892"/>
                  <a:gd name="T72" fmla="*/ 575 w 1432"/>
                  <a:gd name="T73" fmla="*/ 174 h 892"/>
                  <a:gd name="T74" fmla="*/ 701 w 1432"/>
                  <a:gd name="T75" fmla="*/ 51 h 892"/>
                  <a:gd name="T76" fmla="*/ 888 w 1432"/>
                  <a:gd name="T77" fmla="*/ 0 h 892"/>
                  <a:gd name="T78" fmla="*/ 1151 w 1432"/>
                  <a:gd name="T79" fmla="*/ 109 h 892"/>
                  <a:gd name="T80" fmla="*/ 1260 w 1432"/>
                  <a:gd name="T81" fmla="*/ 369 h 892"/>
                  <a:gd name="T82" fmla="*/ 1379 w 1432"/>
                  <a:gd name="T83" fmla="*/ 465 h 892"/>
                  <a:gd name="T84" fmla="*/ 1432 w 1432"/>
                  <a:gd name="T85" fmla="*/ 630 h 892"/>
                  <a:gd name="T86" fmla="*/ 1348 w 1432"/>
                  <a:gd name="T87" fmla="*/ 832 h 892"/>
                  <a:gd name="T88" fmla="*/ 1261 w 1432"/>
                  <a:gd name="T89" fmla="*/ 892 h 892"/>
                  <a:gd name="T90" fmla="*/ 1261 w 1432"/>
                  <a:gd name="T91" fmla="*/ 851 h 892"/>
                  <a:gd name="T92" fmla="*/ 1258 w 1432"/>
                  <a:gd name="T93" fmla="*/ 830 h 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32" h="892">
                    <a:moveTo>
                      <a:pt x="1258" y="830"/>
                    </a:moveTo>
                    <a:cubicBezTo>
                      <a:pt x="1276" y="819"/>
                      <a:pt x="1293" y="807"/>
                      <a:pt x="1307" y="792"/>
                    </a:cubicBezTo>
                    <a:cubicBezTo>
                      <a:pt x="1349" y="750"/>
                      <a:pt x="1375" y="693"/>
                      <a:pt x="1375" y="630"/>
                    </a:cubicBezTo>
                    <a:cubicBezTo>
                      <a:pt x="1375" y="581"/>
                      <a:pt x="1359" y="535"/>
                      <a:pt x="1332" y="498"/>
                    </a:cubicBezTo>
                    <a:cubicBezTo>
                      <a:pt x="1305" y="460"/>
                      <a:pt x="1266" y="430"/>
                      <a:pt x="1220" y="414"/>
                    </a:cubicBezTo>
                    <a:cubicBezTo>
                      <a:pt x="1201" y="408"/>
                      <a:pt x="1201" y="408"/>
                      <a:pt x="1201" y="408"/>
                    </a:cubicBezTo>
                    <a:cubicBezTo>
                      <a:pt x="1201" y="387"/>
                      <a:pt x="1201" y="387"/>
                      <a:pt x="1201" y="387"/>
                    </a:cubicBezTo>
                    <a:cubicBezTo>
                      <a:pt x="1201" y="382"/>
                      <a:pt x="1202" y="379"/>
                      <a:pt x="1202" y="376"/>
                    </a:cubicBezTo>
                    <a:cubicBezTo>
                      <a:pt x="1203" y="375"/>
                      <a:pt x="1203" y="373"/>
                      <a:pt x="1203" y="372"/>
                    </a:cubicBezTo>
                    <a:cubicBezTo>
                      <a:pt x="1203" y="285"/>
                      <a:pt x="1167" y="207"/>
                      <a:pt x="1110" y="150"/>
                    </a:cubicBezTo>
                    <a:cubicBezTo>
                      <a:pt x="1053" y="93"/>
                      <a:pt x="975" y="57"/>
                      <a:pt x="888" y="57"/>
                    </a:cubicBezTo>
                    <a:cubicBezTo>
                      <a:pt x="830" y="57"/>
                      <a:pt x="776" y="73"/>
                      <a:pt x="730" y="100"/>
                    </a:cubicBezTo>
                    <a:cubicBezTo>
                      <a:pt x="682" y="129"/>
                      <a:pt x="642" y="170"/>
                      <a:pt x="614" y="219"/>
                    </a:cubicBezTo>
                    <a:cubicBezTo>
                      <a:pt x="604" y="237"/>
                      <a:pt x="604" y="237"/>
                      <a:pt x="604" y="237"/>
                    </a:cubicBezTo>
                    <a:cubicBezTo>
                      <a:pt x="584" y="233"/>
                      <a:pt x="584" y="233"/>
                      <a:pt x="584" y="233"/>
                    </a:cubicBezTo>
                    <a:cubicBezTo>
                      <a:pt x="577" y="232"/>
                      <a:pt x="570" y="231"/>
                      <a:pt x="564" y="230"/>
                    </a:cubicBezTo>
                    <a:cubicBezTo>
                      <a:pt x="558" y="229"/>
                      <a:pt x="551" y="229"/>
                      <a:pt x="544" y="229"/>
                    </a:cubicBezTo>
                    <a:cubicBezTo>
                      <a:pt x="495" y="229"/>
                      <a:pt x="450" y="245"/>
                      <a:pt x="413" y="271"/>
                    </a:cubicBezTo>
                    <a:cubicBezTo>
                      <a:pt x="374" y="299"/>
                      <a:pt x="345" y="338"/>
                      <a:pt x="329" y="383"/>
                    </a:cubicBezTo>
                    <a:cubicBezTo>
                      <a:pt x="322" y="404"/>
                      <a:pt x="322" y="404"/>
                      <a:pt x="322" y="404"/>
                    </a:cubicBezTo>
                    <a:cubicBezTo>
                      <a:pt x="300" y="402"/>
                      <a:pt x="300" y="402"/>
                      <a:pt x="300" y="402"/>
                    </a:cubicBezTo>
                    <a:cubicBezTo>
                      <a:pt x="297" y="402"/>
                      <a:pt x="295" y="402"/>
                      <a:pt x="292" y="401"/>
                    </a:cubicBezTo>
                    <a:cubicBezTo>
                      <a:pt x="290" y="401"/>
                      <a:pt x="288" y="401"/>
                      <a:pt x="287" y="401"/>
                    </a:cubicBezTo>
                    <a:cubicBezTo>
                      <a:pt x="223" y="401"/>
                      <a:pt x="166" y="426"/>
                      <a:pt x="125" y="468"/>
                    </a:cubicBezTo>
                    <a:cubicBezTo>
                      <a:pt x="83" y="509"/>
                      <a:pt x="57" y="567"/>
                      <a:pt x="57" y="630"/>
                    </a:cubicBezTo>
                    <a:cubicBezTo>
                      <a:pt x="57" y="693"/>
                      <a:pt x="83" y="750"/>
                      <a:pt x="125" y="792"/>
                    </a:cubicBezTo>
                    <a:cubicBezTo>
                      <a:pt x="139" y="807"/>
                      <a:pt x="156" y="819"/>
                      <a:pt x="174" y="830"/>
                    </a:cubicBezTo>
                    <a:cubicBezTo>
                      <a:pt x="172" y="837"/>
                      <a:pt x="171" y="844"/>
                      <a:pt x="171" y="851"/>
                    </a:cubicBezTo>
                    <a:cubicBezTo>
                      <a:pt x="171" y="892"/>
                      <a:pt x="171" y="892"/>
                      <a:pt x="171" y="892"/>
                    </a:cubicBezTo>
                    <a:cubicBezTo>
                      <a:pt x="139" y="878"/>
                      <a:pt x="109" y="857"/>
                      <a:pt x="84" y="832"/>
                    </a:cubicBezTo>
                    <a:cubicBezTo>
                      <a:pt x="32" y="781"/>
                      <a:pt x="0" y="709"/>
                      <a:pt x="0" y="630"/>
                    </a:cubicBezTo>
                    <a:cubicBezTo>
                      <a:pt x="0" y="551"/>
                      <a:pt x="32" y="479"/>
                      <a:pt x="84" y="427"/>
                    </a:cubicBezTo>
                    <a:cubicBezTo>
                      <a:pt x="135" y="376"/>
                      <a:pt x="205" y="345"/>
                      <a:pt x="283" y="344"/>
                    </a:cubicBezTo>
                    <a:cubicBezTo>
                      <a:pt x="304" y="296"/>
                      <a:pt x="337" y="255"/>
                      <a:pt x="379" y="225"/>
                    </a:cubicBezTo>
                    <a:cubicBezTo>
                      <a:pt x="426" y="191"/>
                      <a:pt x="483" y="172"/>
                      <a:pt x="544" y="172"/>
                    </a:cubicBezTo>
                    <a:cubicBezTo>
                      <a:pt x="553" y="172"/>
                      <a:pt x="561" y="172"/>
                      <a:pt x="570" y="173"/>
                    </a:cubicBezTo>
                    <a:cubicBezTo>
                      <a:pt x="572" y="173"/>
                      <a:pt x="573" y="174"/>
                      <a:pt x="575" y="174"/>
                    </a:cubicBezTo>
                    <a:cubicBezTo>
                      <a:pt x="607" y="124"/>
                      <a:pt x="650" y="81"/>
                      <a:pt x="701" y="51"/>
                    </a:cubicBezTo>
                    <a:cubicBezTo>
                      <a:pt x="756" y="19"/>
                      <a:pt x="820" y="0"/>
                      <a:pt x="888" y="0"/>
                    </a:cubicBezTo>
                    <a:cubicBezTo>
                      <a:pt x="991" y="0"/>
                      <a:pt x="1084" y="42"/>
                      <a:pt x="1151" y="109"/>
                    </a:cubicBezTo>
                    <a:cubicBezTo>
                      <a:pt x="1218" y="176"/>
                      <a:pt x="1259" y="267"/>
                      <a:pt x="1260" y="369"/>
                    </a:cubicBezTo>
                    <a:cubicBezTo>
                      <a:pt x="1308" y="390"/>
                      <a:pt x="1349" y="423"/>
                      <a:pt x="1379" y="465"/>
                    </a:cubicBezTo>
                    <a:cubicBezTo>
                      <a:pt x="1412" y="512"/>
                      <a:pt x="1432" y="568"/>
                      <a:pt x="1432" y="630"/>
                    </a:cubicBezTo>
                    <a:cubicBezTo>
                      <a:pt x="1432" y="709"/>
                      <a:pt x="1400" y="781"/>
                      <a:pt x="1348" y="832"/>
                    </a:cubicBezTo>
                    <a:cubicBezTo>
                      <a:pt x="1323" y="857"/>
                      <a:pt x="1293" y="878"/>
                      <a:pt x="1261" y="892"/>
                    </a:cubicBezTo>
                    <a:cubicBezTo>
                      <a:pt x="1261" y="851"/>
                      <a:pt x="1261" y="851"/>
                      <a:pt x="1261" y="851"/>
                    </a:cubicBezTo>
                    <a:cubicBezTo>
                      <a:pt x="1261" y="844"/>
                      <a:pt x="1260" y="837"/>
                      <a:pt x="1258" y="8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46" name="Group 445">
              <a:extLst>
                <a:ext uri="{FF2B5EF4-FFF2-40B4-BE49-F238E27FC236}">
                  <a16:creationId xmlns:a16="http://schemas.microsoft.com/office/drawing/2014/main" id="{4DA7BF55-6659-AFEC-6BDA-F4A9169925D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252002" y="4166448"/>
              <a:ext cx="248057" cy="256179"/>
              <a:chOff x="2970213" y="2603501"/>
              <a:chExt cx="2424112" cy="2503488"/>
            </a:xfrm>
            <a:solidFill>
              <a:sysClr val="window" lastClr="FFFFFF"/>
            </a:solidFill>
          </p:grpSpPr>
          <p:sp>
            <p:nvSpPr>
              <p:cNvPr id="496" name="Freeform 11">
                <a:extLst>
                  <a:ext uri="{FF2B5EF4-FFF2-40B4-BE49-F238E27FC236}">
                    <a16:creationId xmlns:a16="http://schemas.microsoft.com/office/drawing/2014/main" id="{EC898183-AE67-C9FE-AA20-455220566B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5388" y="2603501"/>
                <a:ext cx="887413" cy="887413"/>
              </a:xfrm>
              <a:custGeom>
                <a:avLst/>
                <a:gdLst>
                  <a:gd name="T0" fmla="*/ 359 w 717"/>
                  <a:gd name="T1" fmla="*/ 672 h 717"/>
                  <a:gd name="T2" fmla="*/ 45 w 717"/>
                  <a:gd name="T3" fmla="*/ 359 h 717"/>
                  <a:gd name="T4" fmla="*/ 359 w 717"/>
                  <a:gd name="T5" fmla="*/ 45 h 717"/>
                  <a:gd name="T6" fmla="*/ 672 w 717"/>
                  <a:gd name="T7" fmla="*/ 359 h 717"/>
                  <a:gd name="T8" fmla="*/ 359 w 717"/>
                  <a:gd name="T9" fmla="*/ 672 h 717"/>
                  <a:gd name="T10" fmla="*/ 359 w 717"/>
                  <a:gd name="T11" fmla="*/ 0 h 717"/>
                  <a:gd name="T12" fmla="*/ 0 w 717"/>
                  <a:gd name="T13" fmla="*/ 359 h 717"/>
                  <a:gd name="T14" fmla="*/ 359 w 717"/>
                  <a:gd name="T15" fmla="*/ 717 h 717"/>
                  <a:gd name="T16" fmla="*/ 717 w 717"/>
                  <a:gd name="T17" fmla="*/ 359 h 717"/>
                  <a:gd name="T18" fmla="*/ 359 w 717"/>
                  <a:gd name="T19" fmla="*/ 0 h 7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7" h="717">
                    <a:moveTo>
                      <a:pt x="359" y="672"/>
                    </a:moveTo>
                    <a:cubicBezTo>
                      <a:pt x="186" y="672"/>
                      <a:pt x="45" y="532"/>
                      <a:pt x="45" y="359"/>
                    </a:cubicBezTo>
                    <a:cubicBezTo>
                      <a:pt x="45" y="186"/>
                      <a:pt x="186" y="45"/>
                      <a:pt x="359" y="45"/>
                    </a:cubicBezTo>
                    <a:cubicBezTo>
                      <a:pt x="532" y="45"/>
                      <a:pt x="672" y="186"/>
                      <a:pt x="672" y="359"/>
                    </a:cubicBezTo>
                    <a:cubicBezTo>
                      <a:pt x="672" y="532"/>
                      <a:pt x="532" y="672"/>
                      <a:pt x="359" y="672"/>
                    </a:cubicBezTo>
                    <a:close/>
                    <a:moveTo>
                      <a:pt x="359" y="0"/>
                    </a:moveTo>
                    <a:cubicBezTo>
                      <a:pt x="161" y="0"/>
                      <a:pt x="0" y="161"/>
                      <a:pt x="0" y="359"/>
                    </a:cubicBezTo>
                    <a:cubicBezTo>
                      <a:pt x="0" y="556"/>
                      <a:pt x="161" y="717"/>
                      <a:pt x="359" y="717"/>
                    </a:cubicBezTo>
                    <a:cubicBezTo>
                      <a:pt x="556" y="717"/>
                      <a:pt x="717" y="556"/>
                      <a:pt x="717" y="359"/>
                    </a:cubicBezTo>
                    <a:cubicBezTo>
                      <a:pt x="717" y="161"/>
                      <a:pt x="556" y="0"/>
                      <a:pt x="35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7" name="Freeform 12">
                <a:extLst>
                  <a:ext uri="{FF2B5EF4-FFF2-40B4-BE49-F238E27FC236}">
                    <a16:creationId xmlns:a16="http://schemas.microsoft.com/office/drawing/2014/main" id="{20BDB56D-71EF-78C5-4C8F-9F5EB84344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35400" y="2762251"/>
                <a:ext cx="628650" cy="625475"/>
              </a:xfrm>
              <a:custGeom>
                <a:avLst/>
                <a:gdLst>
                  <a:gd name="T0" fmla="*/ 48 w 508"/>
                  <a:gd name="T1" fmla="*/ 109 h 506"/>
                  <a:gd name="T2" fmla="*/ 64 w 508"/>
                  <a:gd name="T3" fmla="*/ 92 h 506"/>
                  <a:gd name="T4" fmla="*/ 104 w 508"/>
                  <a:gd name="T5" fmla="*/ 59 h 506"/>
                  <a:gd name="T6" fmla="*/ 132 w 508"/>
                  <a:gd name="T7" fmla="*/ 78 h 506"/>
                  <a:gd name="T8" fmla="*/ 136 w 508"/>
                  <a:gd name="T9" fmla="*/ 157 h 506"/>
                  <a:gd name="T10" fmla="*/ 131 w 508"/>
                  <a:gd name="T11" fmla="*/ 162 h 506"/>
                  <a:gd name="T12" fmla="*/ 198 w 508"/>
                  <a:gd name="T13" fmla="*/ 310 h 506"/>
                  <a:gd name="T14" fmla="*/ 317 w 508"/>
                  <a:gd name="T15" fmla="*/ 388 h 506"/>
                  <a:gd name="T16" fmla="*/ 346 w 508"/>
                  <a:gd name="T17" fmla="*/ 376 h 506"/>
                  <a:gd name="T18" fmla="*/ 351 w 508"/>
                  <a:gd name="T19" fmla="*/ 371 h 506"/>
                  <a:gd name="T20" fmla="*/ 382 w 508"/>
                  <a:gd name="T21" fmla="*/ 350 h 506"/>
                  <a:gd name="T22" fmla="*/ 430 w 508"/>
                  <a:gd name="T23" fmla="*/ 375 h 506"/>
                  <a:gd name="T24" fmla="*/ 450 w 508"/>
                  <a:gd name="T25" fmla="*/ 402 h 506"/>
                  <a:gd name="T26" fmla="*/ 417 w 508"/>
                  <a:gd name="T27" fmla="*/ 442 h 506"/>
                  <a:gd name="T28" fmla="*/ 400 w 508"/>
                  <a:gd name="T29" fmla="*/ 458 h 506"/>
                  <a:gd name="T30" fmla="*/ 379 w 508"/>
                  <a:gd name="T31" fmla="*/ 464 h 506"/>
                  <a:gd name="T32" fmla="*/ 169 w 508"/>
                  <a:gd name="T33" fmla="*/ 340 h 506"/>
                  <a:gd name="T34" fmla="*/ 48 w 508"/>
                  <a:gd name="T35" fmla="*/ 109 h 506"/>
                  <a:gd name="T36" fmla="*/ 416 w 508"/>
                  <a:gd name="T37" fmla="*/ 473 h 506"/>
                  <a:gd name="T38" fmla="*/ 443 w 508"/>
                  <a:gd name="T39" fmla="*/ 358 h 506"/>
                  <a:gd name="T40" fmla="*/ 331 w 508"/>
                  <a:gd name="T41" fmla="*/ 361 h 506"/>
                  <a:gd name="T42" fmla="*/ 214 w 508"/>
                  <a:gd name="T43" fmla="*/ 294 h 506"/>
                  <a:gd name="T44" fmla="*/ 146 w 508"/>
                  <a:gd name="T45" fmla="*/ 177 h 506"/>
                  <a:gd name="T46" fmla="*/ 148 w 508"/>
                  <a:gd name="T47" fmla="*/ 65 h 506"/>
                  <a:gd name="T48" fmla="*/ 33 w 508"/>
                  <a:gd name="T49" fmla="*/ 94 h 506"/>
                  <a:gd name="T50" fmla="*/ 153 w 508"/>
                  <a:gd name="T51" fmla="*/ 355 h 506"/>
                  <a:gd name="T52" fmla="*/ 416 w 508"/>
                  <a:gd name="T53" fmla="*/ 473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8" h="506">
                    <a:moveTo>
                      <a:pt x="48" y="109"/>
                    </a:moveTo>
                    <a:cubicBezTo>
                      <a:pt x="54" y="104"/>
                      <a:pt x="58" y="98"/>
                      <a:pt x="64" y="92"/>
                    </a:cubicBezTo>
                    <a:cubicBezTo>
                      <a:pt x="76" y="77"/>
                      <a:pt x="92" y="59"/>
                      <a:pt x="104" y="59"/>
                    </a:cubicBezTo>
                    <a:cubicBezTo>
                      <a:pt x="112" y="59"/>
                      <a:pt x="121" y="66"/>
                      <a:pt x="132" y="78"/>
                    </a:cubicBezTo>
                    <a:cubicBezTo>
                      <a:pt x="169" y="124"/>
                      <a:pt x="160" y="133"/>
                      <a:pt x="136" y="157"/>
                    </a:cubicBezTo>
                    <a:cubicBezTo>
                      <a:pt x="131" y="162"/>
                      <a:pt x="131" y="162"/>
                      <a:pt x="131" y="162"/>
                    </a:cubicBezTo>
                    <a:cubicBezTo>
                      <a:pt x="95" y="198"/>
                      <a:pt x="148" y="260"/>
                      <a:pt x="198" y="310"/>
                    </a:cubicBezTo>
                    <a:cubicBezTo>
                      <a:pt x="268" y="379"/>
                      <a:pt x="299" y="388"/>
                      <a:pt x="317" y="388"/>
                    </a:cubicBezTo>
                    <a:cubicBezTo>
                      <a:pt x="329" y="388"/>
                      <a:pt x="339" y="384"/>
                      <a:pt x="346" y="376"/>
                    </a:cubicBezTo>
                    <a:cubicBezTo>
                      <a:pt x="351" y="371"/>
                      <a:pt x="351" y="371"/>
                      <a:pt x="351" y="371"/>
                    </a:cubicBezTo>
                    <a:cubicBezTo>
                      <a:pt x="365" y="357"/>
                      <a:pt x="373" y="350"/>
                      <a:pt x="382" y="350"/>
                    </a:cubicBezTo>
                    <a:cubicBezTo>
                      <a:pt x="390" y="350"/>
                      <a:pt x="404" y="354"/>
                      <a:pt x="430" y="375"/>
                    </a:cubicBezTo>
                    <a:cubicBezTo>
                      <a:pt x="443" y="385"/>
                      <a:pt x="450" y="394"/>
                      <a:pt x="450" y="402"/>
                    </a:cubicBezTo>
                    <a:cubicBezTo>
                      <a:pt x="450" y="414"/>
                      <a:pt x="432" y="430"/>
                      <a:pt x="417" y="442"/>
                    </a:cubicBezTo>
                    <a:cubicBezTo>
                      <a:pt x="411" y="448"/>
                      <a:pt x="405" y="453"/>
                      <a:pt x="400" y="458"/>
                    </a:cubicBezTo>
                    <a:cubicBezTo>
                      <a:pt x="396" y="462"/>
                      <a:pt x="389" y="464"/>
                      <a:pt x="379" y="464"/>
                    </a:cubicBezTo>
                    <a:cubicBezTo>
                      <a:pt x="340" y="464"/>
                      <a:pt x="261" y="431"/>
                      <a:pt x="169" y="340"/>
                    </a:cubicBezTo>
                    <a:cubicBezTo>
                      <a:pt x="43" y="215"/>
                      <a:pt x="32" y="125"/>
                      <a:pt x="48" y="109"/>
                    </a:cubicBezTo>
                    <a:close/>
                    <a:moveTo>
                      <a:pt x="416" y="473"/>
                    </a:moveTo>
                    <a:cubicBezTo>
                      <a:pt x="444" y="445"/>
                      <a:pt x="508" y="410"/>
                      <a:pt x="443" y="358"/>
                    </a:cubicBezTo>
                    <a:cubicBezTo>
                      <a:pt x="378" y="306"/>
                      <a:pt x="360" y="332"/>
                      <a:pt x="331" y="361"/>
                    </a:cubicBezTo>
                    <a:cubicBezTo>
                      <a:pt x="311" y="382"/>
                      <a:pt x="259" y="339"/>
                      <a:pt x="214" y="294"/>
                    </a:cubicBezTo>
                    <a:cubicBezTo>
                      <a:pt x="168" y="250"/>
                      <a:pt x="125" y="198"/>
                      <a:pt x="146" y="177"/>
                    </a:cubicBezTo>
                    <a:cubicBezTo>
                      <a:pt x="175" y="148"/>
                      <a:pt x="201" y="130"/>
                      <a:pt x="148" y="65"/>
                    </a:cubicBezTo>
                    <a:cubicBezTo>
                      <a:pt x="96" y="0"/>
                      <a:pt x="61" y="65"/>
                      <a:pt x="33" y="94"/>
                    </a:cubicBezTo>
                    <a:cubicBezTo>
                      <a:pt x="0" y="127"/>
                      <a:pt x="32" y="234"/>
                      <a:pt x="153" y="355"/>
                    </a:cubicBezTo>
                    <a:cubicBezTo>
                      <a:pt x="275" y="476"/>
                      <a:pt x="383" y="506"/>
                      <a:pt x="416" y="4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8" name="Freeform 13">
                <a:extLst>
                  <a:ext uri="{FF2B5EF4-FFF2-40B4-BE49-F238E27FC236}">
                    <a16:creationId xmlns:a16="http://schemas.microsoft.com/office/drawing/2014/main" id="{26C47551-B51E-D661-33D8-CEE375DCB4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9413" y="2876551"/>
                <a:ext cx="157163" cy="157163"/>
              </a:xfrm>
              <a:custGeom>
                <a:avLst/>
                <a:gdLst>
                  <a:gd name="T0" fmla="*/ 23 w 127"/>
                  <a:gd name="T1" fmla="*/ 2 h 127"/>
                  <a:gd name="T2" fmla="*/ 7 w 127"/>
                  <a:gd name="T3" fmla="*/ 7 h 127"/>
                  <a:gd name="T4" fmla="*/ 7 w 127"/>
                  <a:gd name="T5" fmla="*/ 32 h 127"/>
                  <a:gd name="T6" fmla="*/ 17 w 127"/>
                  <a:gd name="T7" fmla="*/ 37 h 127"/>
                  <a:gd name="T8" fmla="*/ 65 w 127"/>
                  <a:gd name="T9" fmla="*/ 62 h 127"/>
                  <a:gd name="T10" fmla="*/ 90 w 127"/>
                  <a:gd name="T11" fmla="*/ 110 h 127"/>
                  <a:gd name="T12" fmla="*/ 95 w 127"/>
                  <a:gd name="T13" fmla="*/ 120 h 127"/>
                  <a:gd name="T14" fmla="*/ 120 w 127"/>
                  <a:gd name="T15" fmla="*/ 120 h 127"/>
                  <a:gd name="T16" fmla="*/ 125 w 127"/>
                  <a:gd name="T17" fmla="*/ 104 h 127"/>
                  <a:gd name="T18" fmla="*/ 91 w 127"/>
                  <a:gd name="T19" fmla="*/ 36 h 127"/>
                  <a:gd name="T20" fmla="*/ 23 w 127"/>
                  <a:gd name="T21" fmla="*/ 2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7" h="127">
                    <a:moveTo>
                      <a:pt x="23" y="2"/>
                    </a:moveTo>
                    <a:cubicBezTo>
                      <a:pt x="23" y="2"/>
                      <a:pt x="14" y="0"/>
                      <a:pt x="7" y="7"/>
                    </a:cubicBezTo>
                    <a:cubicBezTo>
                      <a:pt x="0" y="14"/>
                      <a:pt x="0" y="25"/>
                      <a:pt x="7" y="32"/>
                    </a:cubicBezTo>
                    <a:cubicBezTo>
                      <a:pt x="11" y="37"/>
                      <a:pt x="17" y="37"/>
                      <a:pt x="17" y="37"/>
                    </a:cubicBezTo>
                    <a:cubicBezTo>
                      <a:pt x="29" y="40"/>
                      <a:pt x="47" y="43"/>
                      <a:pt x="65" y="62"/>
                    </a:cubicBezTo>
                    <a:cubicBezTo>
                      <a:pt x="84" y="81"/>
                      <a:pt x="87" y="98"/>
                      <a:pt x="90" y="110"/>
                    </a:cubicBezTo>
                    <a:cubicBezTo>
                      <a:pt x="90" y="110"/>
                      <a:pt x="91" y="116"/>
                      <a:pt x="95" y="120"/>
                    </a:cubicBezTo>
                    <a:cubicBezTo>
                      <a:pt x="102" y="127"/>
                      <a:pt x="114" y="127"/>
                      <a:pt x="120" y="120"/>
                    </a:cubicBezTo>
                    <a:cubicBezTo>
                      <a:pt x="127" y="113"/>
                      <a:pt x="125" y="104"/>
                      <a:pt x="125" y="104"/>
                    </a:cubicBezTo>
                    <a:cubicBezTo>
                      <a:pt x="122" y="80"/>
                      <a:pt x="110" y="56"/>
                      <a:pt x="91" y="36"/>
                    </a:cubicBezTo>
                    <a:cubicBezTo>
                      <a:pt x="71" y="17"/>
                      <a:pt x="47" y="5"/>
                      <a:pt x="23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9" name="Freeform 14">
                <a:extLst>
                  <a:ext uri="{FF2B5EF4-FFF2-40B4-BE49-F238E27FC236}">
                    <a16:creationId xmlns:a16="http://schemas.microsoft.com/office/drawing/2014/main" id="{016D857D-8BB9-68A2-4F96-74360FB05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7188" y="2792413"/>
                <a:ext cx="263525" cy="263525"/>
              </a:xfrm>
              <a:custGeom>
                <a:avLst/>
                <a:gdLst>
                  <a:gd name="T0" fmla="*/ 177 w 212"/>
                  <a:gd name="T1" fmla="*/ 204 h 212"/>
                  <a:gd name="T2" fmla="*/ 203 w 212"/>
                  <a:gd name="T3" fmla="*/ 204 h 212"/>
                  <a:gd name="T4" fmla="*/ 208 w 212"/>
                  <a:gd name="T5" fmla="*/ 193 h 212"/>
                  <a:gd name="T6" fmla="*/ 154 w 212"/>
                  <a:gd name="T7" fmla="*/ 58 h 212"/>
                  <a:gd name="T8" fmla="*/ 19 w 212"/>
                  <a:gd name="T9" fmla="*/ 4 h 212"/>
                  <a:gd name="T10" fmla="*/ 8 w 212"/>
                  <a:gd name="T11" fmla="*/ 9 h 212"/>
                  <a:gd name="T12" fmla="*/ 8 w 212"/>
                  <a:gd name="T13" fmla="*/ 35 h 212"/>
                  <a:gd name="T14" fmla="*/ 24 w 212"/>
                  <a:gd name="T15" fmla="*/ 40 h 212"/>
                  <a:gd name="T16" fmla="*/ 128 w 212"/>
                  <a:gd name="T17" fmla="*/ 84 h 212"/>
                  <a:gd name="T18" fmla="*/ 172 w 212"/>
                  <a:gd name="T19" fmla="*/ 188 h 212"/>
                  <a:gd name="T20" fmla="*/ 177 w 212"/>
                  <a:gd name="T21" fmla="*/ 204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2" h="212">
                    <a:moveTo>
                      <a:pt x="177" y="204"/>
                    </a:moveTo>
                    <a:cubicBezTo>
                      <a:pt x="184" y="212"/>
                      <a:pt x="196" y="211"/>
                      <a:pt x="203" y="204"/>
                    </a:cubicBezTo>
                    <a:cubicBezTo>
                      <a:pt x="207" y="200"/>
                      <a:pt x="208" y="193"/>
                      <a:pt x="208" y="193"/>
                    </a:cubicBezTo>
                    <a:cubicBezTo>
                      <a:pt x="212" y="166"/>
                      <a:pt x="207" y="111"/>
                      <a:pt x="154" y="58"/>
                    </a:cubicBezTo>
                    <a:cubicBezTo>
                      <a:pt x="101" y="5"/>
                      <a:pt x="46" y="0"/>
                      <a:pt x="19" y="4"/>
                    </a:cubicBezTo>
                    <a:cubicBezTo>
                      <a:pt x="19" y="4"/>
                      <a:pt x="12" y="5"/>
                      <a:pt x="8" y="9"/>
                    </a:cubicBezTo>
                    <a:cubicBezTo>
                      <a:pt x="1" y="16"/>
                      <a:pt x="0" y="28"/>
                      <a:pt x="8" y="35"/>
                    </a:cubicBezTo>
                    <a:cubicBezTo>
                      <a:pt x="14" y="41"/>
                      <a:pt x="24" y="40"/>
                      <a:pt x="24" y="40"/>
                    </a:cubicBezTo>
                    <a:cubicBezTo>
                      <a:pt x="56" y="35"/>
                      <a:pt x="94" y="50"/>
                      <a:pt x="128" y="84"/>
                    </a:cubicBezTo>
                    <a:cubicBezTo>
                      <a:pt x="163" y="118"/>
                      <a:pt x="177" y="156"/>
                      <a:pt x="172" y="188"/>
                    </a:cubicBezTo>
                    <a:cubicBezTo>
                      <a:pt x="172" y="188"/>
                      <a:pt x="171" y="198"/>
                      <a:pt x="177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0" name="Freeform 15">
                <a:extLst>
                  <a:ext uri="{FF2B5EF4-FFF2-40B4-BE49-F238E27FC236}">
                    <a16:creationId xmlns:a16="http://schemas.microsoft.com/office/drawing/2014/main" id="{604F359C-DD57-096D-EF25-599F8021F3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0838" y="2693988"/>
                <a:ext cx="374650" cy="374650"/>
              </a:xfrm>
              <a:custGeom>
                <a:avLst/>
                <a:gdLst>
                  <a:gd name="T0" fmla="*/ 34 w 303"/>
                  <a:gd name="T1" fmla="*/ 57 h 303"/>
                  <a:gd name="T2" fmla="*/ 183 w 303"/>
                  <a:gd name="T3" fmla="*/ 120 h 303"/>
                  <a:gd name="T4" fmla="*/ 246 w 303"/>
                  <a:gd name="T5" fmla="*/ 269 h 303"/>
                  <a:gd name="T6" fmla="*/ 253 w 303"/>
                  <a:gd name="T7" fmla="*/ 293 h 303"/>
                  <a:gd name="T8" fmla="*/ 290 w 303"/>
                  <a:gd name="T9" fmla="*/ 293 h 303"/>
                  <a:gd name="T10" fmla="*/ 297 w 303"/>
                  <a:gd name="T11" fmla="*/ 276 h 303"/>
                  <a:gd name="T12" fmla="*/ 220 w 303"/>
                  <a:gd name="T13" fmla="*/ 83 h 303"/>
                  <a:gd name="T14" fmla="*/ 27 w 303"/>
                  <a:gd name="T15" fmla="*/ 6 h 303"/>
                  <a:gd name="T16" fmla="*/ 10 w 303"/>
                  <a:gd name="T17" fmla="*/ 13 h 303"/>
                  <a:gd name="T18" fmla="*/ 10 w 303"/>
                  <a:gd name="T19" fmla="*/ 50 h 303"/>
                  <a:gd name="T20" fmla="*/ 34 w 303"/>
                  <a:gd name="T21" fmla="*/ 57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3" h="303">
                    <a:moveTo>
                      <a:pt x="34" y="57"/>
                    </a:moveTo>
                    <a:cubicBezTo>
                      <a:pt x="79" y="50"/>
                      <a:pt x="134" y="71"/>
                      <a:pt x="183" y="120"/>
                    </a:cubicBezTo>
                    <a:cubicBezTo>
                      <a:pt x="232" y="169"/>
                      <a:pt x="253" y="224"/>
                      <a:pt x="246" y="269"/>
                    </a:cubicBezTo>
                    <a:cubicBezTo>
                      <a:pt x="246" y="269"/>
                      <a:pt x="244" y="284"/>
                      <a:pt x="253" y="293"/>
                    </a:cubicBezTo>
                    <a:cubicBezTo>
                      <a:pt x="263" y="303"/>
                      <a:pt x="280" y="303"/>
                      <a:pt x="290" y="293"/>
                    </a:cubicBezTo>
                    <a:cubicBezTo>
                      <a:pt x="296" y="287"/>
                      <a:pt x="297" y="276"/>
                      <a:pt x="297" y="276"/>
                    </a:cubicBezTo>
                    <a:cubicBezTo>
                      <a:pt x="303" y="238"/>
                      <a:pt x="296" y="159"/>
                      <a:pt x="220" y="83"/>
                    </a:cubicBezTo>
                    <a:cubicBezTo>
                      <a:pt x="144" y="7"/>
                      <a:pt x="65" y="0"/>
                      <a:pt x="27" y="6"/>
                    </a:cubicBezTo>
                    <a:cubicBezTo>
                      <a:pt x="27" y="6"/>
                      <a:pt x="16" y="7"/>
                      <a:pt x="10" y="13"/>
                    </a:cubicBezTo>
                    <a:cubicBezTo>
                      <a:pt x="0" y="23"/>
                      <a:pt x="0" y="40"/>
                      <a:pt x="10" y="50"/>
                    </a:cubicBezTo>
                    <a:cubicBezTo>
                      <a:pt x="19" y="60"/>
                      <a:pt x="34" y="57"/>
                      <a:pt x="34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1" name="Freeform 16">
                <a:extLst>
                  <a:ext uri="{FF2B5EF4-FFF2-40B4-BE49-F238E27FC236}">
                    <a16:creationId xmlns:a16="http://schemas.microsoft.com/office/drawing/2014/main" id="{DE86D0DF-9A1C-74A7-1FAC-2632DC41E0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0488" y="4473576"/>
                <a:ext cx="563563" cy="633413"/>
              </a:xfrm>
              <a:custGeom>
                <a:avLst/>
                <a:gdLst>
                  <a:gd name="T0" fmla="*/ 45 w 456"/>
                  <a:gd name="T1" fmla="*/ 293 h 511"/>
                  <a:gd name="T2" fmla="*/ 45 w 456"/>
                  <a:gd name="T3" fmla="*/ 269 h 511"/>
                  <a:gd name="T4" fmla="*/ 48 w 456"/>
                  <a:gd name="T5" fmla="*/ 261 h 511"/>
                  <a:gd name="T6" fmla="*/ 65 w 456"/>
                  <a:gd name="T7" fmla="*/ 261 h 511"/>
                  <a:gd name="T8" fmla="*/ 67 w 456"/>
                  <a:gd name="T9" fmla="*/ 269 h 511"/>
                  <a:gd name="T10" fmla="*/ 67 w 456"/>
                  <a:gd name="T11" fmla="*/ 339 h 511"/>
                  <a:gd name="T12" fmla="*/ 65 w 456"/>
                  <a:gd name="T13" fmla="*/ 347 h 511"/>
                  <a:gd name="T14" fmla="*/ 48 w 456"/>
                  <a:gd name="T15" fmla="*/ 347 h 511"/>
                  <a:gd name="T16" fmla="*/ 45 w 456"/>
                  <a:gd name="T17" fmla="*/ 339 h 511"/>
                  <a:gd name="T18" fmla="*/ 45 w 456"/>
                  <a:gd name="T19" fmla="*/ 293 h 511"/>
                  <a:gd name="T20" fmla="*/ 389 w 456"/>
                  <a:gd name="T21" fmla="*/ 269 h 511"/>
                  <a:gd name="T22" fmla="*/ 391 w 456"/>
                  <a:gd name="T23" fmla="*/ 261 h 511"/>
                  <a:gd name="T24" fmla="*/ 409 w 456"/>
                  <a:gd name="T25" fmla="*/ 261 h 511"/>
                  <a:gd name="T26" fmla="*/ 411 w 456"/>
                  <a:gd name="T27" fmla="*/ 269 h 511"/>
                  <a:gd name="T28" fmla="*/ 411 w 456"/>
                  <a:gd name="T29" fmla="*/ 339 h 511"/>
                  <a:gd name="T30" fmla="*/ 409 w 456"/>
                  <a:gd name="T31" fmla="*/ 347 h 511"/>
                  <a:gd name="T32" fmla="*/ 392 w 456"/>
                  <a:gd name="T33" fmla="*/ 347 h 511"/>
                  <a:gd name="T34" fmla="*/ 389 w 456"/>
                  <a:gd name="T35" fmla="*/ 339 h 511"/>
                  <a:gd name="T36" fmla="*/ 389 w 456"/>
                  <a:gd name="T37" fmla="*/ 269 h 511"/>
                  <a:gd name="T38" fmla="*/ 423 w 456"/>
                  <a:gd name="T39" fmla="*/ 219 h 511"/>
                  <a:gd name="T40" fmla="*/ 423 w 456"/>
                  <a:gd name="T41" fmla="*/ 197 h 511"/>
                  <a:gd name="T42" fmla="*/ 226 w 456"/>
                  <a:gd name="T43" fmla="*/ 0 h 511"/>
                  <a:gd name="T44" fmla="*/ 28 w 456"/>
                  <a:gd name="T45" fmla="*/ 197 h 511"/>
                  <a:gd name="T46" fmla="*/ 28 w 456"/>
                  <a:gd name="T47" fmla="*/ 221 h 511"/>
                  <a:gd name="T48" fmla="*/ 2 w 456"/>
                  <a:gd name="T49" fmla="*/ 259 h 511"/>
                  <a:gd name="T50" fmla="*/ 0 w 456"/>
                  <a:gd name="T51" fmla="*/ 259 h 511"/>
                  <a:gd name="T52" fmla="*/ 0 w 456"/>
                  <a:gd name="T53" fmla="*/ 339 h 511"/>
                  <a:gd name="T54" fmla="*/ 47 w 456"/>
                  <a:gd name="T55" fmla="*/ 391 h 511"/>
                  <a:gd name="T56" fmla="*/ 48 w 456"/>
                  <a:gd name="T57" fmla="*/ 391 h 511"/>
                  <a:gd name="T58" fmla="*/ 158 w 456"/>
                  <a:gd name="T59" fmla="*/ 481 h 511"/>
                  <a:gd name="T60" fmla="*/ 158 w 456"/>
                  <a:gd name="T61" fmla="*/ 481 h 511"/>
                  <a:gd name="T62" fmla="*/ 194 w 456"/>
                  <a:gd name="T63" fmla="*/ 511 h 511"/>
                  <a:gd name="T64" fmla="*/ 246 w 456"/>
                  <a:gd name="T65" fmla="*/ 511 h 511"/>
                  <a:gd name="T66" fmla="*/ 283 w 456"/>
                  <a:gd name="T67" fmla="*/ 474 h 511"/>
                  <a:gd name="T68" fmla="*/ 283 w 456"/>
                  <a:gd name="T69" fmla="*/ 458 h 511"/>
                  <a:gd name="T70" fmla="*/ 246 w 456"/>
                  <a:gd name="T71" fmla="*/ 422 h 511"/>
                  <a:gd name="T72" fmla="*/ 193 w 456"/>
                  <a:gd name="T73" fmla="*/ 422 h 511"/>
                  <a:gd name="T74" fmla="*/ 161 w 456"/>
                  <a:gd name="T75" fmla="*/ 441 h 511"/>
                  <a:gd name="T76" fmla="*/ 88 w 456"/>
                  <a:gd name="T77" fmla="*/ 384 h 511"/>
                  <a:gd name="T78" fmla="*/ 112 w 456"/>
                  <a:gd name="T79" fmla="*/ 339 h 511"/>
                  <a:gd name="T80" fmla="*/ 112 w 456"/>
                  <a:gd name="T81" fmla="*/ 269 h 511"/>
                  <a:gd name="T82" fmla="*/ 79 w 456"/>
                  <a:gd name="T83" fmla="*/ 219 h 511"/>
                  <a:gd name="T84" fmla="*/ 79 w 456"/>
                  <a:gd name="T85" fmla="*/ 197 h 511"/>
                  <a:gd name="T86" fmla="*/ 226 w 456"/>
                  <a:gd name="T87" fmla="*/ 50 h 511"/>
                  <a:gd name="T88" fmla="*/ 373 w 456"/>
                  <a:gd name="T89" fmla="*/ 197 h 511"/>
                  <a:gd name="T90" fmla="*/ 373 w 456"/>
                  <a:gd name="T91" fmla="*/ 220 h 511"/>
                  <a:gd name="T92" fmla="*/ 344 w 456"/>
                  <a:gd name="T93" fmla="*/ 269 h 511"/>
                  <a:gd name="T94" fmla="*/ 344 w 456"/>
                  <a:gd name="T95" fmla="*/ 339 h 511"/>
                  <a:gd name="T96" fmla="*/ 391 w 456"/>
                  <a:gd name="T97" fmla="*/ 391 h 511"/>
                  <a:gd name="T98" fmla="*/ 409 w 456"/>
                  <a:gd name="T99" fmla="*/ 391 h 511"/>
                  <a:gd name="T100" fmla="*/ 456 w 456"/>
                  <a:gd name="T101" fmla="*/ 339 h 511"/>
                  <a:gd name="T102" fmla="*/ 456 w 456"/>
                  <a:gd name="T103" fmla="*/ 269 h 511"/>
                  <a:gd name="T104" fmla="*/ 423 w 456"/>
                  <a:gd name="T105" fmla="*/ 219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56" h="511">
                    <a:moveTo>
                      <a:pt x="45" y="293"/>
                    </a:moveTo>
                    <a:cubicBezTo>
                      <a:pt x="45" y="269"/>
                      <a:pt x="45" y="269"/>
                      <a:pt x="45" y="269"/>
                    </a:cubicBezTo>
                    <a:cubicBezTo>
                      <a:pt x="45" y="265"/>
                      <a:pt x="47" y="262"/>
                      <a:pt x="48" y="261"/>
                    </a:cubicBezTo>
                    <a:cubicBezTo>
                      <a:pt x="65" y="261"/>
                      <a:pt x="65" y="261"/>
                      <a:pt x="65" y="261"/>
                    </a:cubicBezTo>
                    <a:cubicBezTo>
                      <a:pt x="66" y="262"/>
                      <a:pt x="67" y="265"/>
                      <a:pt x="67" y="269"/>
                    </a:cubicBezTo>
                    <a:cubicBezTo>
                      <a:pt x="67" y="339"/>
                      <a:pt x="67" y="339"/>
                      <a:pt x="67" y="339"/>
                    </a:cubicBezTo>
                    <a:cubicBezTo>
                      <a:pt x="67" y="343"/>
                      <a:pt x="65" y="347"/>
                      <a:pt x="65" y="347"/>
                    </a:cubicBezTo>
                    <a:cubicBezTo>
                      <a:pt x="48" y="347"/>
                      <a:pt x="48" y="347"/>
                      <a:pt x="48" y="347"/>
                    </a:cubicBezTo>
                    <a:cubicBezTo>
                      <a:pt x="47" y="347"/>
                      <a:pt x="45" y="343"/>
                      <a:pt x="45" y="339"/>
                    </a:cubicBezTo>
                    <a:cubicBezTo>
                      <a:pt x="45" y="293"/>
                      <a:pt x="45" y="293"/>
                      <a:pt x="45" y="293"/>
                    </a:cubicBezTo>
                    <a:close/>
                    <a:moveTo>
                      <a:pt x="389" y="269"/>
                    </a:moveTo>
                    <a:cubicBezTo>
                      <a:pt x="389" y="265"/>
                      <a:pt x="390" y="262"/>
                      <a:pt x="391" y="261"/>
                    </a:cubicBezTo>
                    <a:cubicBezTo>
                      <a:pt x="409" y="261"/>
                      <a:pt x="409" y="261"/>
                      <a:pt x="409" y="261"/>
                    </a:cubicBezTo>
                    <a:cubicBezTo>
                      <a:pt x="410" y="262"/>
                      <a:pt x="411" y="265"/>
                      <a:pt x="411" y="269"/>
                    </a:cubicBezTo>
                    <a:cubicBezTo>
                      <a:pt x="411" y="339"/>
                      <a:pt x="411" y="339"/>
                      <a:pt x="411" y="339"/>
                    </a:cubicBezTo>
                    <a:cubicBezTo>
                      <a:pt x="411" y="343"/>
                      <a:pt x="409" y="347"/>
                      <a:pt x="409" y="347"/>
                    </a:cubicBezTo>
                    <a:cubicBezTo>
                      <a:pt x="392" y="347"/>
                      <a:pt x="392" y="347"/>
                      <a:pt x="392" y="347"/>
                    </a:cubicBezTo>
                    <a:cubicBezTo>
                      <a:pt x="391" y="347"/>
                      <a:pt x="389" y="343"/>
                      <a:pt x="389" y="339"/>
                    </a:cubicBezTo>
                    <a:cubicBezTo>
                      <a:pt x="389" y="269"/>
                      <a:pt x="389" y="269"/>
                      <a:pt x="389" y="269"/>
                    </a:cubicBezTo>
                    <a:close/>
                    <a:moveTo>
                      <a:pt x="423" y="219"/>
                    </a:moveTo>
                    <a:cubicBezTo>
                      <a:pt x="423" y="197"/>
                      <a:pt x="423" y="197"/>
                      <a:pt x="423" y="197"/>
                    </a:cubicBezTo>
                    <a:cubicBezTo>
                      <a:pt x="423" y="89"/>
                      <a:pt x="335" y="0"/>
                      <a:pt x="226" y="0"/>
                    </a:cubicBezTo>
                    <a:cubicBezTo>
                      <a:pt x="117" y="0"/>
                      <a:pt x="28" y="89"/>
                      <a:pt x="28" y="197"/>
                    </a:cubicBezTo>
                    <a:cubicBezTo>
                      <a:pt x="28" y="221"/>
                      <a:pt x="28" y="221"/>
                      <a:pt x="28" y="221"/>
                    </a:cubicBezTo>
                    <a:cubicBezTo>
                      <a:pt x="15" y="228"/>
                      <a:pt x="5" y="242"/>
                      <a:pt x="2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0" y="368"/>
                      <a:pt x="21" y="391"/>
                      <a:pt x="47" y="391"/>
                    </a:cubicBezTo>
                    <a:cubicBezTo>
                      <a:pt x="48" y="391"/>
                      <a:pt x="48" y="391"/>
                      <a:pt x="48" y="391"/>
                    </a:cubicBezTo>
                    <a:cubicBezTo>
                      <a:pt x="69" y="425"/>
                      <a:pt x="108" y="464"/>
                      <a:pt x="158" y="481"/>
                    </a:cubicBezTo>
                    <a:cubicBezTo>
                      <a:pt x="158" y="481"/>
                      <a:pt x="158" y="481"/>
                      <a:pt x="158" y="481"/>
                    </a:cubicBezTo>
                    <a:cubicBezTo>
                      <a:pt x="161" y="498"/>
                      <a:pt x="176" y="511"/>
                      <a:pt x="194" y="511"/>
                    </a:cubicBezTo>
                    <a:cubicBezTo>
                      <a:pt x="246" y="511"/>
                      <a:pt x="246" y="511"/>
                      <a:pt x="246" y="511"/>
                    </a:cubicBezTo>
                    <a:cubicBezTo>
                      <a:pt x="266" y="511"/>
                      <a:pt x="283" y="494"/>
                      <a:pt x="283" y="474"/>
                    </a:cubicBezTo>
                    <a:cubicBezTo>
                      <a:pt x="283" y="458"/>
                      <a:pt x="283" y="458"/>
                      <a:pt x="283" y="458"/>
                    </a:cubicBezTo>
                    <a:cubicBezTo>
                      <a:pt x="283" y="438"/>
                      <a:pt x="266" y="422"/>
                      <a:pt x="246" y="422"/>
                    </a:cubicBezTo>
                    <a:cubicBezTo>
                      <a:pt x="193" y="422"/>
                      <a:pt x="193" y="422"/>
                      <a:pt x="193" y="422"/>
                    </a:cubicBezTo>
                    <a:cubicBezTo>
                      <a:pt x="180" y="422"/>
                      <a:pt x="167" y="429"/>
                      <a:pt x="161" y="441"/>
                    </a:cubicBezTo>
                    <a:cubicBezTo>
                      <a:pt x="138" y="431"/>
                      <a:pt x="112" y="417"/>
                      <a:pt x="88" y="384"/>
                    </a:cubicBezTo>
                    <a:cubicBezTo>
                      <a:pt x="103" y="375"/>
                      <a:pt x="112" y="358"/>
                      <a:pt x="112" y="339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2" y="245"/>
                      <a:pt x="98" y="225"/>
                      <a:pt x="79" y="219"/>
                    </a:cubicBezTo>
                    <a:cubicBezTo>
                      <a:pt x="79" y="197"/>
                      <a:pt x="79" y="197"/>
                      <a:pt x="79" y="197"/>
                    </a:cubicBezTo>
                    <a:cubicBezTo>
                      <a:pt x="79" y="116"/>
                      <a:pt x="145" y="50"/>
                      <a:pt x="226" y="50"/>
                    </a:cubicBezTo>
                    <a:cubicBezTo>
                      <a:pt x="307" y="50"/>
                      <a:pt x="373" y="116"/>
                      <a:pt x="373" y="197"/>
                    </a:cubicBezTo>
                    <a:cubicBezTo>
                      <a:pt x="373" y="220"/>
                      <a:pt x="373" y="220"/>
                      <a:pt x="373" y="220"/>
                    </a:cubicBezTo>
                    <a:cubicBezTo>
                      <a:pt x="356" y="228"/>
                      <a:pt x="344" y="247"/>
                      <a:pt x="344" y="269"/>
                    </a:cubicBezTo>
                    <a:cubicBezTo>
                      <a:pt x="344" y="339"/>
                      <a:pt x="344" y="339"/>
                      <a:pt x="344" y="339"/>
                    </a:cubicBezTo>
                    <a:cubicBezTo>
                      <a:pt x="344" y="368"/>
                      <a:pt x="365" y="391"/>
                      <a:pt x="391" y="391"/>
                    </a:cubicBezTo>
                    <a:cubicBezTo>
                      <a:pt x="409" y="391"/>
                      <a:pt x="409" y="391"/>
                      <a:pt x="409" y="391"/>
                    </a:cubicBezTo>
                    <a:cubicBezTo>
                      <a:pt x="435" y="391"/>
                      <a:pt x="456" y="368"/>
                      <a:pt x="456" y="339"/>
                    </a:cubicBezTo>
                    <a:cubicBezTo>
                      <a:pt x="456" y="269"/>
                      <a:pt x="456" y="269"/>
                      <a:pt x="456" y="269"/>
                    </a:cubicBezTo>
                    <a:cubicBezTo>
                      <a:pt x="456" y="245"/>
                      <a:pt x="442" y="225"/>
                      <a:pt x="423" y="2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2" name="Freeform 17">
                <a:extLst>
                  <a:ext uri="{FF2B5EF4-FFF2-40B4-BE49-F238E27FC236}">
                    <a16:creationId xmlns:a16="http://schemas.microsoft.com/office/drawing/2014/main" id="{E43D53D6-CA41-3D1D-D793-3B9734AD1D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70213" y="3854451"/>
                <a:ext cx="565150" cy="631825"/>
              </a:xfrm>
              <a:custGeom>
                <a:avLst/>
                <a:gdLst>
                  <a:gd name="T0" fmla="*/ 45 w 456"/>
                  <a:gd name="T1" fmla="*/ 339 h 511"/>
                  <a:gd name="T2" fmla="*/ 45 w 456"/>
                  <a:gd name="T3" fmla="*/ 293 h 511"/>
                  <a:gd name="T4" fmla="*/ 45 w 456"/>
                  <a:gd name="T5" fmla="*/ 269 h 511"/>
                  <a:gd name="T6" fmla="*/ 48 w 456"/>
                  <a:gd name="T7" fmla="*/ 261 h 511"/>
                  <a:gd name="T8" fmla="*/ 65 w 456"/>
                  <a:gd name="T9" fmla="*/ 261 h 511"/>
                  <a:gd name="T10" fmla="*/ 68 w 456"/>
                  <a:gd name="T11" fmla="*/ 269 h 511"/>
                  <a:gd name="T12" fmla="*/ 68 w 456"/>
                  <a:gd name="T13" fmla="*/ 339 h 511"/>
                  <a:gd name="T14" fmla="*/ 65 w 456"/>
                  <a:gd name="T15" fmla="*/ 347 h 511"/>
                  <a:gd name="T16" fmla="*/ 48 w 456"/>
                  <a:gd name="T17" fmla="*/ 347 h 511"/>
                  <a:gd name="T18" fmla="*/ 45 w 456"/>
                  <a:gd name="T19" fmla="*/ 339 h 511"/>
                  <a:gd name="T20" fmla="*/ 389 w 456"/>
                  <a:gd name="T21" fmla="*/ 269 h 511"/>
                  <a:gd name="T22" fmla="*/ 391 w 456"/>
                  <a:gd name="T23" fmla="*/ 261 h 511"/>
                  <a:gd name="T24" fmla="*/ 409 w 456"/>
                  <a:gd name="T25" fmla="*/ 261 h 511"/>
                  <a:gd name="T26" fmla="*/ 411 w 456"/>
                  <a:gd name="T27" fmla="*/ 269 h 511"/>
                  <a:gd name="T28" fmla="*/ 411 w 456"/>
                  <a:gd name="T29" fmla="*/ 339 h 511"/>
                  <a:gd name="T30" fmla="*/ 409 w 456"/>
                  <a:gd name="T31" fmla="*/ 347 h 511"/>
                  <a:gd name="T32" fmla="*/ 392 w 456"/>
                  <a:gd name="T33" fmla="*/ 347 h 511"/>
                  <a:gd name="T34" fmla="*/ 389 w 456"/>
                  <a:gd name="T35" fmla="*/ 339 h 511"/>
                  <a:gd name="T36" fmla="*/ 389 w 456"/>
                  <a:gd name="T37" fmla="*/ 269 h 511"/>
                  <a:gd name="T38" fmla="*/ 423 w 456"/>
                  <a:gd name="T39" fmla="*/ 219 h 511"/>
                  <a:gd name="T40" fmla="*/ 423 w 456"/>
                  <a:gd name="T41" fmla="*/ 198 h 511"/>
                  <a:gd name="T42" fmla="*/ 226 w 456"/>
                  <a:gd name="T43" fmla="*/ 0 h 511"/>
                  <a:gd name="T44" fmla="*/ 29 w 456"/>
                  <a:gd name="T45" fmla="*/ 198 h 511"/>
                  <a:gd name="T46" fmla="*/ 29 w 456"/>
                  <a:gd name="T47" fmla="*/ 221 h 511"/>
                  <a:gd name="T48" fmla="*/ 2 w 456"/>
                  <a:gd name="T49" fmla="*/ 259 h 511"/>
                  <a:gd name="T50" fmla="*/ 0 w 456"/>
                  <a:gd name="T51" fmla="*/ 259 h 511"/>
                  <a:gd name="T52" fmla="*/ 0 w 456"/>
                  <a:gd name="T53" fmla="*/ 339 h 511"/>
                  <a:gd name="T54" fmla="*/ 48 w 456"/>
                  <a:gd name="T55" fmla="*/ 392 h 511"/>
                  <a:gd name="T56" fmla="*/ 48 w 456"/>
                  <a:gd name="T57" fmla="*/ 392 h 511"/>
                  <a:gd name="T58" fmla="*/ 158 w 456"/>
                  <a:gd name="T59" fmla="*/ 481 h 511"/>
                  <a:gd name="T60" fmla="*/ 158 w 456"/>
                  <a:gd name="T61" fmla="*/ 481 h 511"/>
                  <a:gd name="T62" fmla="*/ 194 w 456"/>
                  <a:gd name="T63" fmla="*/ 511 h 511"/>
                  <a:gd name="T64" fmla="*/ 246 w 456"/>
                  <a:gd name="T65" fmla="*/ 511 h 511"/>
                  <a:gd name="T66" fmla="*/ 283 w 456"/>
                  <a:gd name="T67" fmla="*/ 474 h 511"/>
                  <a:gd name="T68" fmla="*/ 283 w 456"/>
                  <a:gd name="T69" fmla="*/ 459 h 511"/>
                  <a:gd name="T70" fmla="*/ 246 w 456"/>
                  <a:gd name="T71" fmla="*/ 422 h 511"/>
                  <a:gd name="T72" fmla="*/ 193 w 456"/>
                  <a:gd name="T73" fmla="*/ 422 h 511"/>
                  <a:gd name="T74" fmla="*/ 161 w 456"/>
                  <a:gd name="T75" fmla="*/ 441 h 511"/>
                  <a:gd name="T76" fmla="*/ 88 w 456"/>
                  <a:gd name="T77" fmla="*/ 385 h 511"/>
                  <a:gd name="T78" fmla="*/ 112 w 456"/>
                  <a:gd name="T79" fmla="*/ 339 h 511"/>
                  <a:gd name="T80" fmla="*/ 112 w 456"/>
                  <a:gd name="T81" fmla="*/ 269 h 511"/>
                  <a:gd name="T82" fmla="*/ 79 w 456"/>
                  <a:gd name="T83" fmla="*/ 219 h 511"/>
                  <a:gd name="T84" fmla="*/ 79 w 456"/>
                  <a:gd name="T85" fmla="*/ 217 h 511"/>
                  <a:gd name="T86" fmla="*/ 79 w 456"/>
                  <a:gd name="T87" fmla="*/ 198 h 511"/>
                  <a:gd name="T88" fmla="*/ 226 w 456"/>
                  <a:gd name="T89" fmla="*/ 51 h 511"/>
                  <a:gd name="T90" fmla="*/ 373 w 456"/>
                  <a:gd name="T91" fmla="*/ 198 h 511"/>
                  <a:gd name="T92" fmla="*/ 373 w 456"/>
                  <a:gd name="T93" fmla="*/ 221 h 511"/>
                  <a:gd name="T94" fmla="*/ 344 w 456"/>
                  <a:gd name="T95" fmla="*/ 269 h 511"/>
                  <a:gd name="T96" fmla="*/ 344 w 456"/>
                  <a:gd name="T97" fmla="*/ 339 h 511"/>
                  <a:gd name="T98" fmla="*/ 391 w 456"/>
                  <a:gd name="T99" fmla="*/ 392 h 511"/>
                  <a:gd name="T100" fmla="*/ 409 w 456"/>
                  <a:gd name="T101" fmla="*/ 392 h 511"/>
                  <a:gd name="T102" fmla="*/ 456 w 456"/>
                  <a:gd name="T103" fmla="*/ 339 h 511"/>
                  <a:gd name="T104" fmla="*/ 456 w 456"/>
                  <a:gd name="T105" fmla="*/ 269 h 511"/>
                  <a:gd name="T106" fmla="*/ 423 w 456"/>
                  <a:gd name="T107" fmla="*/ 219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56" h="511">
                    <a:moveTo>
                      <a:pt x="45" y="339"/>
                    </a:moveTo>
                    <a:cubicBezTo>
                      <a:pt x="45" y="293"/>
                      <a:pt x="45" y="293"/>
                      <a:pt x="45" y="293"/>
                    </a:cubicBezTo>
                    <a:cubicBezTo>
                      <a:pt x="45" y="269"/>
                      <a:pt x="45" y="269"/>
                      <a:pt x="45" y="269"/>
                    </a:cubicBezTo>
                    <a:cubicBezTo>
                      <a:pt x="45" y="265"/>
                      <a:pt x="47" y="262"/>
                      <a:pt x="48" y="261"/>
                    </a:cubicBezTo>
                    <a:cubicBezTo>
                      <a:pt x="65" y="261"/>
                      <a:pt x="65" y="261"/>
                      <a:pt x="65" y="261"/>
                    </a:cubicBezTo>
                    <a:cubicBezTo>
                      <a:pt x="66" y="262"/>
                      <a:pt x="68" y="265"/>
                      <a:pt x="68" y="269"/>
                    </a:cubicBezTo>
                    <a:cubicBezTo>
                      <a:pt x="68" y="339"/>
                      <a:pt x="68" y="339"/>
                      <a:pt x="68" y="339"/>
                    </a:cubicBezTo>
                    <a:cubicBezTo>
                      <a:pt x="68" y="344"/>
                      <a:pt x="65" y="347"/>
                      <a:pt x="65" y="347"/>
                    </a:cubicBezTo>
                    <a:cubicBezTo>
                      <a:pt x="48" y="347"/>
                      <a:pt x="48" y="347"/>
                      <a:pt x="48" y="347"/>
                    </a:cubicBezTo>
                    <a:cubicBezTo>
                      <a:pt x="47" y="347"/>
                      <a:pt x="45" y="344"/>
                      <a:pt x="45" y="339"/>
                    </a:cubicBezTo>
                    <a:close/>
                    <a:moveTo>
                      <a:pt x="389" y="269"/>
                    </a:moveTo>
                    <a:cubicBezTo>
                      <a:pt x="389" y="265"/>
                      <a:pt x="390" y="262"/>
                      <a:pt x="391" y="261"/>
                    </a:cubicBezTo>
                    <a:cubicBezTo>
                      <a:pt x="409" y="261"/>
                      <a:pt x="409" y="261"/>
                      <a:pt x="409" y="261"/>
                    </a:cubicBezTo>
                    <a:cubicBezTo>
                      <a:pt x="410" y="262"/>
                      <a:pt x="411" y="265"/>
                      <a:pt x="411" y="269"/>
                    </a:cubicBezTo>
                    <a:cubicBezTo>
                      <a:pt x="411" y="339"/>
                      <a:pt x="411" y="339"/>
                      <a:pt x="411" y="339"/>
                    </a:cubicBezTo>
                    <a:cubicBezTo>
                      <a:pt x="411" y="344"/>
                      <a:pt x="409" y="347"/>
                      <a:pt x="409" y="347"/>
                    </a:cubicBezTo>
                    <a:cubicBezTo>
                      <a:pt x="392" y="347"/>
                      <a:pt x="392" y="347"/>
                      <a:pt x="392" y="347"/>
                    </a:cubicBezTo>
                    <a:cubicBezTo>
                      <a:pt x="391" y="347"/>
                      <a:pt x="389" y="344"/>
                      <a:pt x="389" y="339"/>
                    </a:cubicBezTo>
                    <a:cubicBezTo>
                      <a:pt x="389" y="269"/>
                      <a:pt x="389" y="269"/>
                      <a:pt x="389" y="269"/>
                    </a:cubicBezTo>
                    <a:close/>
                    <a:moveTo>
                      <a:pt x="423" y="219"/>
                    </a:moveTo>
                    <a:cubicBezTo>
                      <a:pt x="423" y="198"/>
                      <a:pt x="423" y="198"/>
                      <a:pt x="423" y="198"/>
                    </a:cubicBezTo>
                    <a:cubicBezTo>
                      <a:pt x="423" y="89"/>
                      <a:pt x="335" y="0"/>
                      <a:pt x="226" y="0"/>
                    </a:cubicBezTo>
                    <a:cubicBezTo>
                      <a:pt x="117" y="0"/>
                      <a:pt x="29" y="89"/>
                      <a:pt x="29" y="198"/>
                    </a:cubicBezTo>
                    <a:cubicBezTo>
                      <a:pt x="29" y="221"/>
                      <a:pt x="29" y="221"/>
                      <a:pt x="29" y="221"/>
                    </a:cubicBezTo>
                    <a:cubicBezTo>
                      <a:pt x="15" y="228"/>
                      <a:pt x="5" y="242"/>
                      <a:pt x="2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0" y="368"/>
                      <a:pt x="22" y="392"/>
                      <a:pt x="48" y="392"/>
                    </a:cubicBezTo>
                    <a:cubicBezTo>
                      <a:pt x="48" y="392"/>
                      <a:pt x="48" y="392"/>
                      <a:pt x="48" y="392"/>
                    </a:cubicBezTo>
                    <a:cubicBezTo>
                      <a:pt x="69" y="426"/>
                      <a:pt x="108" y="465"/>
                      <a:pt x="158" y="481"/>
                    </a:cubicBezTo>
                    <a:cubicBezTo>
                      <a:pt x="158" y="481"/>
                      <a:pt x="158" y="481"/>
                      <a:pt x="158" y="481"/>
                    </a:cubicBezTo>
                    <a:cubicBezTo>
                      <a:pt x="161" y="499"/>
                      <a:pt x="176" y="511"/>
                      <a:pt x="194" y="511"/>
                    </a:cubicBezTo>
                    <a:cubicBezTo>
                      <a:pt x="246" y="511"/>
                      <a:pt x="246" y="511"/>
                      <a:pt x="246" y="511"/>
                    </a:cubicBezTo>
                    <a:cubicBezTo>
                      <a:pt x="266" y="511"/>
                      <a:pt x="283" y="494"/>
                      <a:pt x="283" y="474"/>
                    </a:cubicBezTo>
                    <a:cubicBezTo>
                      <a:pt x="283" y="459"/>
                      <a:pt x="283" y="459"/>
                      <a:pt x="283" y="459"/>
                    </a:cubicBezTo>
                    <a:cubicBezTo>
                      <a:pt x="283" y="438"/>
                      <a:pt x="266" y="422"/>
                      <a:pt x="246" y="422"/>
                    </a:cubicBezTo>
                    <a:cubicBezTo>
                      <a:pt x="193" y="422"/>
                      <a:pt x="193" y="422"/>
                      <a:pt x="193" y="422"/>
                    </a:cubicBezTo>
                    <a:cubicBezTo>
                      <a:pt x="180" y="422"/>
                      <a:pt x="168" y="430"/>
                      <a:pt x="161" y="441"/>
                    </a:cubicBezTo>
                    <a:cubicBezTo>
                      <a:pt x="138" y="432"/>
                      <a:pt x="112" y="417"/>
                      <a:pt x="88" y="385"/>
                    </a:cubicBezTo>
                    <a:cubicBezTo>
                      <a:pt x="103" y="376"/>
                      <a:pt x="112" y="359"/>
                      <a:pt x="112" y="339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2" y="246"/>
                      <a:pt x="99" y="226"/>
                      <a:pt x="79" y="219"/>
                    </a:cubicBezTo>
                    <a:cubicBezTo>
                      <a:pt x="79" y="217"/>
                      <a:pt x="79" y="217"/>
                      <a:pt x="79" y="217"/>
                    </a:cubicBezTo>
                    <a:cubicBezTo>
                      <a:pt x="79" y="198"/>
                      <a:pt x="79" y="198"/>
                      <a:pt x="79" y="198"/>
                    </a:cubicBezTo>
                    <a:cubicBezTo>
                      <a:pt x="79" y="117"/>
                      <a:pt x="145" y="51"/>
                      <a:pt x="226" y="51"/>
                    </a:cubicBezTo>
                    <a:cubicBezTo>
                      <a:pt x="307" y="51"/>
                      <a:pt x="373" y="117"/>
                      <a:pt x="373" y="198"/>
                    </a:cubicBezTo>
                    <a:cubicBezTo>
                      <a:pt x="373" y="221"/>
                      <a:pt x="373" y="221"/>
                      <a:pt x="373" y="221"/>
                    </a:cubicBezTo>
                    <a:cubicBezTo>
                      <a:pt x="356" y="229"/>
                      <a:pt x="344" y="248"/>
                      <a:pt x="344" y="269"/>
                    </a:cubicBezTo>
                    <a:cubicBezTo>
                      <a:pt x="344" y="339"/>
                      <a:pt x="344" y="339"/>
                      <a:pt x="344" y="339"/>
                    </a:cubicBezTo>
                    <a:cubicBezTo>
                      <a:pt x="344" y="368"/>
                      <a:pt x="365" y="392"/>
                      <a:pt x="391" y="392"/>
                    </a:cubicBezTo>
                    <a:cubicBezTo>
                      <a:pt x="409" y="392"/>
                      <a:pt x="409" y="392"/>
                      <a:pt x="409" y="392"/>
                    </a:cubicBezTo>
                    <a:cubicBezTo>
                      <a:pt x="435" y="392"/>
                      <a:pt x="456" y="368"/>
                      <a:pt x="456" y="339"/>
                    </a:cubicBezTo>
                    <a:cubicBezTo>
                      <a:pt x="456" y="269"/>
                      <a:pt x="456" y="269"/>
                      <a:pt x="456" y="269"/>
                    </a:cubicBezTo>
                    <a:cubicBezTo>
                      <a:pt x="456" y="246"/>
                      <a:pt x="442" y="226"/>
                      <a:pt x="423" y="2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3" name="Freeform 18">
                <a:extLst>
                  <a:ext uri="{FF2B5EF4-FFF2-40B4-BE49-F238E27FC236}">
                    <a16:creationId xmlns:a16="http://schemas.microsoft.com/office/drawing/2014/main" id="{8AF5210B-8B38-7FAE-EF91-880C332133F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9175" y="3854451"/>
                <a:ext cx="565150" cy="631825"/>
              </a:xfrm>
              <a:custGeom>
                <a:avLst/>
                <a:gdLst>
                  <a:gd name="T0" fmla="*/ 67 w 456"/>
                  <a:gd name="T1" fmla="*/ 339 h 511"/>
                  <a:gd name="T2" fmla="*/ 65 w 456"/>
                  <a:gd name="T3" fmla="*/ 347 h 511"/>
                  <a:gd name="T4" fmla="*/ 48 w 456"/>
                  <a:gd name="T5" fmla="*/ 347 h 511"/>
                  <a:gd name="T6" fmla="*/ 45 w 456"/>
                  <a:gd name="T7" fmla="*/ 339 h 511"/>
                  <a:gd name="T8" fmla="*/ 45 w 456"/>
                  <a:gd name="T9" fmla="*/ 293 h 511"/>
                  <a:gd name="T10" fmla="*/ 45 w 456"/>
                  <a:gd name="T11" fmla="*/ 269 h 511"/>
                  <a:gd name="T12" fmla="*/ 48 w 456"/>
                  <a:gd name="T13" fmla="*/ 261 h 511"/>
                  <a:gd name="T14" fmla="*/ 65 w 456"/>
                  <a:gd name="T15" fmla="*/ 261 h 511"/>
                  <a:gd name="T16" fmla="*/ 67 w 456"/>
                  <a:gd name="T17" fmla="*/ 269 h 511"/>
                  <a:gd name="T18" fmla="*/ 67 w 456"/>
                  <a:gd name="T19" fmla="*/ 339 h 511"/>
                  <a:gd name="T20" fmla="*/ 388 w 456"/>
                  <a:gd name="T21" fmla="*/ 269 h 511"/>
                  <a:gd name="T22" fmla="*/ 391 w 456"/>
                  <a:gd name="T23" fmla="*/ 261 h 511"/>
                  <a:gd name="T24" fmla="*/ 409 w 456"/>
                  <a:gd name="T25" fmla="*/ 261 h 511"/>
                  <a:gd name="T26" fmla="*/ 411 w 456"/>
                  <a:gd name="T27" fmla="*/ 269 h 511"/>
                  <a:gd name="T28" fmla="*/ 411 w 456"/>
                  <a:gd name="T29" fmla="*/ 339 h 511"/>
                  <a:gd name="T30" fmla="*/ 408 w 456"/>
                  <a:gd name="T31" fmla="*/ 347 h 511"/>
                  <a:gd name="T32" fmla="*/ 392 w 456"/>
                  <a:gd name="T33" fmla="*/ 347 h 511"/>
                  <a:gd name="T34" fmla="*/ 388 w 456"/>
                  <a:gd name="T35" fmla="*/ 339 h 511"/>
                  <a:gd name="T36" fmla="*/ 388 w 456"/>
                  <a:gd name="T37" fmla="*/ 269 h 511"/>
                  <a:gd name="T38" fmla="*/ 423 w 456"/>
                  <a:gd name="T39" fmla="*/ 219 h 511"/>
                  <a:gd name="T40" fmla="*/ 423 w 456"/>
                  <a:gd name="T41" fmla="*/ 198 h 511"/>
                  <a:gd name="T42" fmla="*/ 226 w 456"/>
                  <a:gd name="T43" fmla="*/ 0 h 511"/>
                  <a:gd name="T44" fmla="*/ 28 w 456"/>
                  <a:gd name="T45" fmla="*/ 198 h 511"/>
                  <a:gd name="T46" fmla="*/ 28 w 456"/>
                  <a:gd name="T47" fmla="*/ 221 h 511"/>
                  <a:gd name="T48" fmla="*/ 1 w 456"/>
                  <a:gd name="T49" fmla="*/ 259 h 511"/>
                  <a:gd name="T50" fmla="*/ 0 w 456"/>
                  <a:gd name="T51" fmla="*/ 259 h 511"/>
                  <a:gd name="T52" fmla="*/ 0 w 456"/>
                  <a:gd name="T53" fmla="*/ 339 h 511"/>
                  <a:gd name="T54" fmla="*/ 47 w 456"/>
                  <a:gd name="T55" fmla="*/ 392 h 511"/>
                  <a:gd name="T56" fmla="*/ 48 w 456"/>
                  <a:gd name="T57" fmla="*/ 392 h 511"/>
                  <a:gd name="T58" fmla="*/ 157 w 456"/>
                  <a:gd name="T59" fmla="*/ 481 h 511"/>
                  <a:gd name="T60" fmla="*/ 157 w 456"/>
                  <a:gd name="T61" fmla="*/ 481 h 511"/>
                  <a:gd name="T62" fmla="*/ 193 w 456"/>
                  <a:gd name="T63" fmla="*/ 511 h 511"/>
                  <a:gd name="T64" fmla="*/ 246 w 456"/>
                  <a:gd name="T65" fmla="*/ 511 h 511"/>
                  <a:gd name="T66" fmla="*/ 283 w 456"/>
                  <a:gd name="T67" fmla="*/ 474 h 511"/>
                  <a:gd name="T68" fmla="*/ 283 w 456"/>
                  <a:gd name="T69" fmla="*/ 459 h 511"/>
                  <a:gd name="T70" fmla="*/ 246 w 456"/>
                  <a:gd name="T71" fmla="*/ 422 h 511"/>
                  <a:gd name="T72" fmla="*/ 193 w 456"/>
                  <a:gd name="T73" fmla="*/ 422 h 511"/>
                  <a:gd name="T74" fmla="*/ 161 w 456"/>
                  <a:gd name="T75" fmla="*/ 441 h 511"/>
                  <a:gd name="T76" fmla="*/ 88 w 456"/>
                  <a:gd name="T77" fmla="*/ 385 h 511"/>
                  <a:gd name="T78" fmla="*/ 112 w 456"/>
                  <a:gd name="T79" fmla="*/ 339 h 511"/>
                  <a:gd name="T80" fmla="*/ 112 w 456"/>
                  <a:gd name="T81" fmla="*/ 269 h 511"/>
                  <a:gd name="T82" fmla="*/ 79 w 456"/>
                  <a:gd name="T83" fmla="*/ 219 h 511"/>
                  <a:gd name="T84" fmla="*/ 79 w 456"/>
                  <a:gd name="T85" fmla="*/ 217 h 511"/>
                  <a:gd name="T86" fmla="*/ 79 w 456"/>
                  <a:gd name="T87" fmla="*/ 198 h 511"/>
                  <a:gd name="T88" fmla="*/ 226 w 456"/>
                  <a:gd name="T89" fmla="*/ 51 h 511"/>
                  <a:gd name="T90" fmla="*/ 373 w 456"/>
                  <a:gd name="T91" fmla="*/ 198 h 511"/>
                  <a:gd name="T92" fmla="*/ 373 w 456"/>
                  <a:gd name="T93" fmla="*/ 221 h 511"/>
                  <a:gd name="T94" fmla="*/ 344 w 456"/>
                  <a:gd name="T95" fmla="*/ 269 h 511"/>
                  <a:gd name="T96" fmla="*/ 344 w 456"/>
                  <a:gd name="T97" fmla="*/ 339 h 511"/>
                  <a:gd name="T98" fmla="*/ 391 w 456"/>
                  <a:gd name="T99" fmla="*/ 392 h 511"/>
                  <a:gd name="T100" fmla="*/ 408 w 456"/>
                  <a:gd name="T101" fmla="*/ 392 h 511"/>
                  <a:gd name="T102" fmla="*/ 456 w 456"/>
                  <a:gd name="T103" fmla="*/ 339 h 511"/>
                  <a:gd name="T104" fmla="*/ 456 w 456"/>
                  <a:gd name="T105" fmla="*/ 269 h 511"/>
                  <a:gd name="T106" fmla="*/ 423 w 456"/>
                  <a:gd name="T107" fmla="*/ 219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56" h="511">
                    <a:moveTo>
                      <a:pt x="67" y="339"/>
                    </a:moveTo>
                    <a:cubicBezTo>
                      <a:pt x="67" y="344"/>
                      <a:pt x="65" y="347"/>
                      <a:pt x="65" y="347"/>
                    </a:cubicBezTo>
                    <a:cubicBezTo>
                      <a:pt x="48" y="347"/>
                      <a:pt x="48" y="347"/>
                      <a:pt x="48" y="347"/>
                    </a:cubicBezTo>
                    <a:cubicBezTo>
                      <a:pt x="47" y="347"/>
                      <a:pt x="45" y="344"/>
                      <a:pt x="45" y="339"/>
                    </a:cubicBezTo>
                    <a:cubicBezTo>
                      <a:pt x="45" y="293"/>
                      <a:pt x="45" y="293"/>
                      <a:pt x="45" y="293"/>
                    </a:cubicBezTo>
                    <a:cubicBezTo>
                      <a:pt x="45" y="269"/>
                      <a:pt x="45" y="269"/>
                      <a:pt x="45" y="269"/>
                    </a:cubicBezTo>
                    <a:cubicBezTo>
                      <a:pt x="45" y="265"/>
                      <a:pt x="47" y="262"/>
                      <a:pt x="48" y="261"/>
                    </a:cubicBezTo>
                    <a:cubicBezTo>
                      <a:pt x="65" y="261"/>
                      <a:pt x="65" y="261"/>
                      <a:pt x="65" y="261"/>
                    </a:cubicBezTo>
                    <a:cubicBezTo>
                      <a:pt x="66" y="262"/>
                      <a:pt x="67" y="265"/>
                      <a:pt x="67" y="269"/>
                    </a:cubicBezTo>
                    <a:cubicBezTo>
                      <a:pt x="67" y="339"/>
                      <a:pt x="67" y="339"/>
                      <a:pt x="67" y="339"/>
                    </a:cubicBezTo>
                    <a:close/>
                    <a:moveTo>
                      <a:pt x="388" y="269"/>
                    </a:moveTo>
                    <a:cubicBezTo>
                      <a:pt x="388" y="265"/>
                      <a:pt x="390" y="262"/>
                      <a:pt x="391" y="261"/>
                    </a:cubicBezTo>
                    <a:cubicBezTo>
                      <a:pt x="409" y="261"/>
                      <a:pt x="409" y="261"/>
                      <a:pt x="409" y="261"/>
                    </a:cubicBezTo>
                    <a:cubicBezTo>
                      <a:pt x="410" y="262"/>
                      <a:pt x="411" y="265"/>
                      <a:pt x="411" y="269"/>
                    </a:cubicBezTo>
                    <a:cubicBezTo>
                      <a:pt x="411" y="339"/>
                      <a:pt x="411" y="339"/>
                      <a:pt x="411" y="339"/>
                    </a:cubicBezTo>
                    <a:cubicBezTo>
                      <a:pt x="411" y="344"/>
                      <a:pt x="409" y="347"/>
                      <a:pt x="408" y="347"/>
                    </a:cubicBezTo>
                    <a:cubicBezTo>
                      <a:pt x="392" y="347"/>
                      <a:pt x="392" y="347"/>
                      <a:pt x="392" y="347"/>
                    </a:cubicBezTo>
                    <a:cubicBezTo>
                      <a:pt x="391" y="347"/>
                      <a:pt x="388" y="344"/>
                      <a:pt x="388" y="339"/>
                    </a:cubicBezTo>
                    <a:cubicBezTo>
                      <a:pt x="388" y="269"/>
                      <a:pt x="388" y="269"/>
                      <a:pt x="388" y="269"/>
                    </a:cubicBezTo>
                    <a:close/>
                    <a:moveTo>
                      <a:pt x="423" y="219"/>
                    </a:moveTo>
                    <a:cubicBezTo>
                      <a:pt x="423" y="198"/>
                      <a:pt x="423" y="198"/>
                      <a:pt x="423" y="198"/>
                    </a:cubicBezTo>
                    <a:cubicBezTo>
                      <a:pt x="423" y="89"/>
                      <a:pt x="334" y="0"/>
                      <a:pt x="226" y="0"/>
                    </a:cubicBezTo>
                    <a:cubicBezTo>
                      <a:pt x="117" y="0"/>
                      <a:pt x="28" y="89"/>
                      <a:pt x="28" y="198"/>
                    </a:cubicBezTo>
                    <a:cubicBezTo>
                      <a:pt x="28" y="221"/>
                      <a:pt x="28" y="221"/>
                      <a:pt x="28" y="221"/>
                    </a:cubicBezTo>
                    <a:cubicBezTo>
                      <a:pt x="15" y="228"/>
                      <a:pt x="4" y="242"/>
                      <a:pt x="1" y="259"/>
                    </a:cubicBezTo>
                    <a:cubicBezTo>
                      <a:pt x="0" y="259"/>
                      <a:pt x="0" y="259"/>
                      <a:pt x="0" y="259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0" y="368"/>
                      <a:pt x="21" y="392"/>
                      <a:pt x="47" y="392"/>
                    </a:cubicBezTo>
                    <a:cubicBezTo>
                      <a:pt x="48" y="392"/>
                      <a:pt x="48" y="392"/>
                      <a:pt x="48" y="392"/>
                    </a:cubicBezTo>
                    <a:cubicBezTo>
                      <a:pt x="69" y="426"/>
                      <a:pt x="108" y="465"/>
                      <a:pt x="157" y="481"/>
                    </a:cubicBezTo>
                    <a:cubicBezTo>
                      <a:pt x="157" y="481"/>
                      <a:pt x="157" y="481"/>
                      <a:pt x="157" y="481"/>
                    </a:cubicBezTo>
                    <a:cubicBezTo>
                      <a:pt x="161" y="499"/>
                      <a:pt x="176" y="511"/>
                      <a:pt x="193" y="511"/>
                    </a:cubicBezTo>
                    <a:cubicBezTo>
                      <a:pt x="246" y="511"/>
                      <a:pt x="246" y="511"/>
                      <a:pt x="246" y="511"/>
                    </a:cubicBezTo>
                    <a:cubicBezTo>
                      <a:pt x="266" y="511"/>
                      <a:pt x="283" y="494"/>
                      <a:pt x="283" y="474"/>
                    </a:cubicBezTo>
                    <a:cubicBezTo>
                      <a:pt x="283" y="459"/>
                      <a:pt x="283" y="459"/>
                      <a:pt x="283" y="459"/>
                    </a:cubicBezTo>
                    <a:cubicBezTo>
                      <a:pt x="283" y="438"/>
                      <a:pt x="266" y="422"/>
                      <a:pt x="246" y="422"/>
                    </a:cubicBezTo>
                    <a:cubicBezTo>
                      <a:pt x="193" y="422"/>
                      <a:pt x="193" y="422"/>
                      <a:pt x="193" y="422"/>
                    </a:cubicBezTo>
                    <a:cubicBezTo>
                      <a:pt x="179" y="422"/>
                      <a:pt x="167" y="429"/>
                      <a:pt x="161" y="441"/>
                    </a:cubicBezTo>
                    <a:cubicBezTo>
                      <a:pt x="138" y="432"/>
                      <a:pt x="112" y="417"/>
                      <a:pt x="88" y="385"/>
                    </a:cubicBezTo>
                    <a:cubicBezTo>
                      <a:pt x="103" y="376"/>
                      <a:pt x="112" y="358"/>
                      <a:pt x="112" y="339"/>
                    </a:cubicBezTo>
                    <a:cubicBezTo>
                      <a:pt x="112" y="269"/>
                      <a:pt x="112" y="269"/>
                      <a:pt x="112" y="269"/>
                    </a:cubicBezTo>
                    <a:cubicBezTo>
                      <a:pt x="112" y="246"/>
                      <a:pt x="98" y="226"/>
                      <a:pt x="79" y="219"/>
                    </a:cubicBezTo>
                    <a:cubicBezTo>
                      <a:pt x="79" y="217"/>
                      <a:pt x="79" y="217"/>
                      <a:pt x="79" y="217"/>
                    </a:cubicBezTo>
                    <a:cubicBezTo>
                      <a:pt x="79" y="198"/>
                      <a:pt x="79" y="198"/>
                      <a:pt x="79" y="198"/>
                    </a:cubicBezTo>
                    <a:cubicBezTo>
                      <a:pt x="79" y="117"/>
                      <a:pt x="145" y="51"/>
                      <a:pt x="226" y="51"/>
                    </a:cubicBezTo>
                    <a:cubicBezTo>
                      <a:pt x="307" y="51"/>
                      <a:pt x="373" y="117"/>
                      <a:pt x="373" y="198"/>
                    </a:cubicBezTo>
                    <a:cubicBezTo>
                      <a:pt x="373" y="221"/>
                      <a:pt x="373" y="221"/>
                      <a:pt x="373" y="221"/>
                    </a:cubicBezTo>
                    <a:cubicBezTo>
                      <a:pt x="356" y="229"/>
                      <a:pt x="344" y="248"/>
                      <a:pt x="344" y="269"/>
                    </a:cubicBezTo>
                    <a:cubicBezTo>
                      <a:pt x="344" y="339"/>
                      <a:pt x="344" y="339"/>
                      <a:pt x="344" y="339"/>
                    </a:cubicBezTo>
                    <a:cubicBezTo>
                      <a:pt x="344" y="368"/>
                      <a:pt x="365" y="392"/>
                      <a:pt x="391" y="392"/>
                    </a:cubicBezTo>
                    <a:cubicBezTo>
                      <a:pt x="408" y="392"/>
                      <a:pt x="408" y="392"/>
                      <a:pt x="408" y="392"/>
                    </a:cubicBezTo>
                    <a:cubicBezTo>
                      <a:pt x="434" y="392"/>
                      <a:pt x="456" y="368"/>
                      <a:pt x="456" y="339"/>
                    </a:cubicBezTo>
                    <a:cubicBezTo>
                      <a:pt x="456" y="269"/>
                      <a:pt x="456" y="269"/>
                      <a:pt x="456" y="269"/>
                    </a:cubicBezTo>
                    <a:cubicBezTo>
                      <a:pt x="456" y="246"/>
                      <a:pt x="442" y="226"/>
                      <a:pt x="423" y="2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4" name="Freeform 19">
                <a:extLst>
                  <a:ext uri="{FF2B5EF4-FFF2-40B4-BE49-F238E27FC236}">
                    <a16:creationId xmlns:a16="http://schemas.microsoft.com/office/drawing/2014/main" id="{3B4D2569-93CF-4CD3-FBD3-DEE417286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3375" y="3551238"/>
                <a:ext cx="79375" cy="866775"/>
              </a:xfrm>
              <a:custGeom>
                <a:avLst/>
                <a:gdLst>
                  <a:gd name="T0" fmla="*/ 32 w 64"/>
                  <a:gd name="T1" fmla="*/ 0 h 700"/>
                  <a:gd name="T2" fmla="*/ 0 w 64"/>
                  <a:gd name="T3" fmla="*/ 41 h 700"/>
                  <a:gd name="T4" fmla="*/ 0 w 64"/>
                  <a:gd name="T5" fmla="*/ 659 h 700"/>
                  <a:gd name="T6" fmla="*/ 32 w 64"/>
                  <a:gd name="T7" fmla="*/ 700 h 700"/>
                  <a:gd name="T8" fmla="*/ 64 w 64"/>
                  <a:gd name="T9" fmla="*/ 659 h 700"/>
                  <a:gd name="T10" fmla="*/ 64 w 64"/>
                  <a:gd name="T11" fmla="*/ 41 h 700"/>
                  <a:gd name="T12" fmla="*/ 32 w 64"/>
                  <a:gd name="T13" fmla="*/ 0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700">
                    <a:moveTo>
                      <a:pt x="32" y="0"/>
                    </a:moveTo>
                    <a:cubicBezTo>
                      <a:pt x="14" y="0"/>
                      <a:pt x="0" y="18"/>
                      <a:pt x="0" y="41"/>
                    </a:cubicBezTo>
                    <a:cubicBezTo>
                      <a:pt x="0" y="659"/>
                      <a:pt x="0" y="659"/>
                      <a:pt x="0" y="659"/>
                    </a:cubicBezTo>
                    <a:cubicBezTo>
                      <a:pt x="0" y="682"/>
                      <a:pt x="14" y="700"/>
                      <a:pt x="32" y="700"/>
                    </a:cubicBezTo>
                    <a:cubicBezTo>
                      <a:pt x="50" y="700"/>
                      <a:pt x="64" y="681"/>
                      <a:pt x="64" y="659"/>
                    </a:cubicBezTo>
                    <a:cubicBezTo>
                      <a:pt x="64" y="41"/>
                      <a:pt x="64" y="41"/>
                      <a:pt x="64" y="41"/>
                    </a:cubicBezTo>
                    <a:cubicBezTo>
                      <a:pt x="64" y="18"/>
                      <a:pt x="50" y="0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5" name="Freeform 20">
                <a:extLst>
                  <a:ext uri="{FF2B5EF4-FFF2-40B4-BE49-F238E27FC236}">
                    <a16:creationId xmlns:a16="http://schemas.microsoft.com/office/drawing/2014/main" id="{90BE8EEB-C4E0-9F5E-2860-EFAD1BA92E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2338" y="3459163"/>
                <a:ext cx="439738" cy="427038"/>
              </a:xfrm>
              <a:custGeom>
                <a:avLst/>
                <a:gdLst>
                  <a:gd name="T0" fmla="*/ 328 w 354"/>
                  <a:gd name="T1" fmla="*/ 0 h 345"/>
                  <a:gd name="T2" fmla="*/ 297 w 354"/>
                  <a:gd name="T3" fmla="*/ 14 h 345"/>
                  <a:gd name="T4" fmla="*/ 15 w 354"/>
                  <a:gd name="T5" fmla="*/ 288 h 345"/>
                  <a:gd name="T6" fmla="*/ 0 w 354"/>
                  <a:gd name="T7" fmla="*/ 319 h 345"/>
                  <a:gd name="T8" fmla="*/ 7 w 354"/>
                  <a:gd name="T9" fmla="*/ 338 h 345"/>
                  <a:gd name="T10" fmla="*/ 26 w 354"/>
                  <a:gd name="T11" fmla="*/ 345 h 345"/>
                  <a:gd name="T12" fmla="*/ 57 w 354"/>
                  <a:gd name="T13" fmla="*/ 330 h 345"/>
                  <a:gd name="T14" fmla="*/ 339 w 354"/>
                  <a:gd name="T15" fmla="*/ 56 h 345"/>
                  <a:gd name="T16" fmla="*/ 354 w 354"/>
                  <a:gd name="T17" fmla="*/ 25 h 345"/>
                  <a:gd name="T18" fmla="*/ 347 w 354"/>
                  <a:gd name="T19" fmla="*/ 7 h 345"/>
                  <a:gd name="T20" fmla="*/ 328 w 354"/>
                  <a:gd name="T21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4" h="345">
                    <a:moveTo>
                      <a:pt x="328" y="0"/>
                    </a:moveTo>
                    <a:cubicBezTo>
                      <a:pt x="318" y="0"/>
                      <a:pt x="306" y="5"/>
                      <a:pt x="297" y="14"/>
                    </a:cubicBezTo>
                    <a:cubicBezTo>
                      <a:pt x="15" y="288"/>
                      <a:pt x="15" y="288"/>
                      <a:pt x="15" y="288"/>
                    </a:cubicBezTo>
                    <a:cubicBezTo>
                      <a:pt x="6" y="297"/>
                      <a:pt x="0" y="309"/>
                      <a:pt x="0" y="319"/>
                    </a:cubicBezTo>
                    <a:cubicBezTo>
                      <a:pt x="0" y="327"/>
                      <a:pt x="3" y="333"/>
                      <a:pt x="7" y="338"/>
                    </a:cubicBezTo>
                    <a:cubicBezTo>
                      <a:pt x="12" y="342"/>
                      <a:pt x="18" y="345"/>
                      <a:pt x="26" y="345"/>
                    </a:cubicBezTo>
                    <a:cubicBezTo>
                      <a:pt x="36" y="345"/>
                      <a:pt x="48" y="339"/>
                      <a:pt x="57" y="330"/>
                    </a:cubicBezTo>
                    <a:cubicBezTo>
                      <a:pt x="339" y="56"/>
                      <a:pt x="339" y="56"/>
                      <a:pt x="339" y="56"/>
                    </a:cubicBezTo>
                    <a:cubicBezTo>
                      <a:pt x="348" y="47"/>
                      <a:pt x="354" y="35"/>
                      <a:pt x="354" y="25"/>
                    </a:cubicBezTo>
                    <a:cubicBezTo>
                      <a:pt x="354" y="18"/>
                      <a:pt x="351" y="11"/>
                      <a:pt x="347" y="7"/>
                    </a:cubicBezTo>
                    <a:cubicBezTo>
                      <a:pt x="342" y="2"/>
                      <a:pt x="335" y="0"/>
                      <a:pt x="3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6" name="Freeform 21">
                <a:extLst>
                  <a:ext uri="{FF2B5EF4-FFF2-40B4-BE49-F238E27FC236}">
                    <a16:creationId xmlns:a16="http://schemas.microsoft.com/office/drawing/2014/main" id="{E1D68DEE-508A-31F8-FAF9-305F293E09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7225" y="3452813"/>
                <a:ext cx="439738" cy="438150"/>
              </a:xfrm>
              <a:custGeom>
                <a:avLst/>
                <a:gdLst>
                  <a:gd name="T0" fmla="*/ 340 w 355"/>
                  <a:gd name="T1" fmla="*/ 297 h 354"/>
                  <a:gd name="T2" fmla="*/ 57 w 355"/>
                  <a:gd name="T3" fmla="*/ 15 h 354"/>
                  <a:gd name="T4" fmla="*/ 25 w 355"/>
                  <a:gd name="T5" fmla="*/ 0 h 354"/>
                  <a:gd name="T6" fmla="*/ 7 w 355"/>
                  <a:gd name="T7" fmla="*/ 7 h 354"/>
                  <a:gd name="T8" fmla="*/ 0 w 355"/>
                  <a:gd name="T9" fmla="*/ 26 h 354"/>
                  <a:gd name="T10" fmla="*/ 14 w 355"/>
                  <a:gd name="T11" fmla="*/ 57 h 354"/>
                  <a:gd name="T12" fmla="*/ 297 w 355"/>
                  <a:gd name="T13" fmla="*/ 340 h 354"/>
                  <a:gd name="T14" fmla="*/ 329 w 355"/>
                  <a:gd name="T15" fmla="*/ 354 h 354"/>
                  <a:gd name="T16" fmla="*/ 347 w 355"/>
                  <a:gd name="T17" fmla="*/ 347 h 354"/>
                  <a:gd name="T18" fmla="*/ 355 w 355"/>
                  <a:gd name="T19" fmla="*/ 329 h 354"/>
                  <a:gd name="T20" fmla="*/ 340 w 355"/>
                  <a:gd name="T21" fmla="*/ 29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55" h="354">
                    <a:moveTo>
                      <a:pt x="340" y="297"/>
                    </a:moveTo>
                    <a:cubicBezTo>
                      <a:pt x="57" y="15"/>
                      <a:pt x="57" y="15"/>
                      <a:pt x="57" y="15"/>
                    </a:cubicBezTo>
                    <a:cubicBezTo>
                      <a:pt x="48" y="6"/>
                      <a:pt x="36" y="0"/>
                      <a:pt x="25" y="0"/>
                    </a:cubicBezTo>
                    <a:cubicBezTo>
                      <a:pt x="18" y="0"/>
                      <a:pt x="12" y="3"/>
                      <a:pt x="7" y="7"/>
                    </a:cubicBezTo>
                    <a:cubicBezTo>
                      <a:pt x="2" y="12"/>
                      <a:pt x="0" y="18"/>
                      <a:pt x="0" y="26"/>
                    </a:cubicBezTo>
                    <a:cubicBezTo>
                      <a:pt x="0" y="36"/>
                      <a:pt x="5" y="48"/>
                      <a:pt x="14" y="57"/>
                    </a:cubicBezTo>
                    <a:cubicBezTo>
                      <a:pt x="297" y="340"/>
                      <a:pt x="297" y="340"/>
                      <a:pt x="297" y="340"/>
                    </a:cubicBezTo>
                    <a:cubicBezTo>
                      <a:pt x="307" y="349"/>
                      <a:pt x="318" y="354"/>
                      <a:pt x="329" y="354"/>
                    </a:cubicBezTo>
                    <a:cubicBezTo>
                      <a:pt x="336" y="354"/>
                      <a:pt x="343" y="352"/>
                      <a:pt x="347" y="347"/>
                    </a:cubicBezTo>
                    <a:cubicBezTo>
                      <a:pt x="352" y="342"/>
                      <a:pt x="355" y="336"/>
                      <a:pt x="355" y="329"/>
                    </a:cubicBezTo>
                    <a:cubicBezTo>
                      <a:pt x="355" y="318"/>
                      <a:pt x="349" y="306"/>
                      <a:pt x="340" y="2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47" name="Group 446">
              <a:extLst>
                <a:ext uri="{FF2B5EF4-FFF2-40B4-BE49-F238E27FC236}">
                  <a16:creationId xmlns:a16="http://schemas.microsoft.com/office/drawing/2014/main" id="{319F3ABB-EC48-0FA4-DB81-8B13548277AB}"/>
                </a:ext>
              </a:extLst>
            </p:cNvPr>
            <p:cNvGrpSpPr/>
            <p:nvPr/>
          </p:nvGrpSpPr>
          <p:grpSpPr>
            <a:xfrm>
              <a:off x="10126169" y="3819552"/>
              <a:ext cx="144204" cy="250206"/>
              <a:chOff x="3657437" y="1184241"/>
              <a:chExt cx="295418" cy="532282"/>
            </a:xfrm>
            <a:solidFill>
              <a:sysClr val="window" lastClr="FFFFFF"/>
            </a:solidFill>
          </p:grpSpPr>
          <p:sp>
            <p:nvSpPr>
              <p:cNvPr id="492" name="Freeform 7">
                <a:extLst>
                  <a:ext uri="{FF2B5EF4-FFF2-40B4-BE49-F238E27FC236}">
                    <a16:creationId xmlns:a16="http://schemas.microsoft.com/office/drawing/2014/main" id="{EF5D3972-90CF-9E31-EE44-9A15F75434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57437" y="1184241"/>
                <a:ext cx="295418" cy="532282"/>
              </a:xfrm>
              <a:custGeom>
                <a:avLst/>
                <a:gdLst>
                  <a:gd name="T0" fmla="*/ 378 w 378"/>
                  <a:gd name="T1" fmla="*/ 341 h 681"/>
                  <a:gd name="T2" fmla="*/ 378 w 378"/>
                  <a:gd name="T3" fmla="*/ 615 h 681"/>
                  <a:gd name="T4" fmla="*/ 315 w 378"/>
                  <a:gd name="T5" fmla="*/ 680 h 681"/>
                  <a:gd name="T6" fmla="*/ 62 w 378"/>
                  <a:gd name="T7" fmla="*/ 680 h 681"/>
                  <a:gd name="T8" fmla="*/ 0 w 378"/>
                  <a:gd name="T9" fmla="*/ 616 h 681"/>
                  <a:gd name="T10" fmla="*/ 0 w 378"/>
                  <a:gd name="T11" fmla="*/ 65 h 681"/>
                  <a:gd name="T12" fmla="*/ 61 w 378"/>
                  <a:gd name="T13" fmla="*/ 1 h 681"/>
                  <a:gd name="T14" fmla="*/ 316 w 378"/>
                  <a:gd name="T15" fmla="*/ 1 h 681"/>
                  <a:gd name="T16" fmla="*/ 378 w 378"/>
                  <a:gd name="T17" fmla="*/ 67 h 681"/>
                  <a:gd name="T18" fmla="*/ 378 w 378"/>
                  <a:gd name="T19" fmla="*/ 341 h 681"/>
                  <a:gd name="T20" fmla="*/ 20 w 378"/>
                  <a:gd name="T21" fmla="*/ 609 h 681"/>
                  <a:gd name="T22" fmla="*/ 358 w 378"/>
                  <a:gd name="T23" fmla="*/ 609 h 681"/>
                  <a:gd name="T24" fmla="*/ 358 w 378"/>
                  <a:gd name="T25" fmla="*/ 62 h 681"/>
                  <a:gd name="T26" fmla="*/ 20 w 378"/>
                  <a:gd name="T27" fmla="*/ 62 h 681"/>
                  <a:gd name="T28" fmla="*/ 20 w 378"/>
                  <a:gd name="T29" fmla="*/ 609 h 681"/>
                  <a:gd name="T30" fmla="*/ 194 w 378"/>
                  <a:gd name="T31" fmla="*/ 22 h 681"/>
                  <a:gd name="T32" fmla="*/ 109 w 378"/>
                  <a:gd name="T33" fmla="*/ 22 h 681"/>
                  <a:gd name="T34" fmla="*/ 93 w 378"/>
                  <a:gd name="T35" fmla="*/ 30 h 681"/>
                  <a:gd name="T36" fmla="*/ 109 w 378"/>
                  <a:gd name="T37" fmla="*/ 39 h 681"/>
                  <a:gd name="T38" fmla="*/ 279 w 378"/>
                  <a:gd name="T39" fmla="*/ 39 h 681"/>
                  <a:gd name="T40" fmla="*/ 294 w 378"/>
                  <a:gd name="T41" fmla="*/ 30 h 681"/>
                  <a:gd name="T42" fmla="*/ 279 w 378"/>
                  <a:gd name="T43" fmla="*/ 22 h 681"/>
                  <a:gd name="T44" fmla="*/ 194 w 378"/>
                  <a:gd name="T45" fmla="*/ 22 h 681"/>
                  <a:gd name="T46" fmla="*/ 325 w 378"/>
                  <a:gd name="T47" fmla="*/ 16 h 681"/>
                  <a:gd name="T48" fmla="*/ 314 w 378"/>
                  <a:gd name="T49" fmla="*/ 30 h 681"/>
                  <a:gd name="T50" fmla="*/ 322 w 378"/>
                  <a:gd name="T51" fmla="*/ 41 h 681"/>
                  <a:gd name="T52" fmla="*/ 333 w 378"/>
                  <a:gd name="T53" fmla="*/ 31 h 681"/>
                  <a:gd name="T54" fmla="*/ 325 w 378"/>
                  <a:gd name="T55" fmla="*/ 16 h 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78" h="681">
                    <a:moveTo>
                      <a:pt x="378" y="341"/>
                    </a:moveTo>
                    <a:cubicBezTo>
                      <a:pt x="378" y="432"/>
                      <a:pt x="378" y="524"/>
                      <a:pt x="378" y="615"/>
                    </a:cubicBezTo>
                    <a:cubicBezTo>
                      <a:pt x="378" y="650"/>
                      <a:pt x="351" y="680"/>
                      <a:pt x="315" y="680"/>
                    </a:cubicBezTo>
                    <a:cubicBezTo>
                      <a:pt x="231" y="681"/>
                      <a:pt x="147" y="681"/>
                      <a:pt x="62" y="680"/>
                    </a:cubicBezTo>
                    <a:cubicBezTo>
                      <a:pt x="28" y="680"/>
                      <a:pt x="0" y="650"/>
                      <a:pt x="0" y="616"/>
                    </a:cubicBezTo>
                    <a:cubicBezTo>
                      <a:pt x="0" y="433"/>
                      <a:pt x="0" y="249"/>
                      <a:pt x="0" y="65"/>
                    </a:cubicBezTo>
                    <a:cubicBezTo>
                      <a:pt x="0" y="32"/>
                      <a:pt x="27" y="2"/>
                      <a:pt x="61" y="1"/>
                    </a:cubicBezTo>
                    <a:cubicBezTo>
                      <a:pt x="146" y="0"/>
                      <a:pt x="231" y="0"/>
                      <a:pt x="316" y="1"/>
                    </a:cubicBezTo>
                    <a:cubicBezTo>
                      <a:pt x="351" y="2"/>
                      <a:pt x="378" y="31"/>
                      <a:pt x="378" y="67"/>
                    </a:cubicBezTo>
                    <a:cubicBezTo>
                      <a:pt x="378" y="158"/>
                      <a:pt x="378" y="250"/>
                      <a:pt x="378" y="341"/>
                    </a:cubicBezTo>
                    <a:close/>
                    <a:moveTo>
                      <a:pt x="20" y="609"/>
                    </a:moveTo>
                    <a:cubicBezTo>
                      <a:pt x="133" y="609"/>
                      <a:pt x="245" y="609"/>
                      <a:pt x="358" y="609"/>
                    </a:cubicBezTo>
                    <a:cubicBezTo>
                      <a:pt x="358" y="426"/>
                      <a:pt x="358" y="244"/>
                      <a:pt x="358" y="62"/>
                    </a:cubicBezTo>
                    <a:cubicBezTo>
                      <a:pt x="245" y="62"/>
                      <a:pt x="133" y="62"/>
                      <a:pt x="20" y="62"/>
                    </a:cubicBezTo>
                    <a:cubicBezTo>
                      <a:pt x="20" y="244"/>
                      <a:pt x="20" y="426"/>
                      <a:pt x="20" y="609"/>
                    </a:cubicBezTo>
                    <a:close/>
                    <a:moveTo>
                      <a:pt x="194" y="22"/>
                    </a:moveTo>
                    <a:cubicBezTo>
                      <a:pt x="166" y="22"/>
                      <a:pt x="137" y="22"/>
                      <a:pt x="109" y="22"/>
                    </a:cubicBezTo>
                    <a:cubicBezTo>
                      <a:pt x="104" y="23"/>
                      <a:pt x="98" y="28"/>
                      <a:pt x="93" y="30"/>
                    </a:cubicBezTo>
                    <a:cubicBezTo>
                      <a:pt x="98" y="33"/>
                      <a:pt x="103" y="39"/>
                      <a:pt x="109" y="39"/>
                    </a:cubicBezTo>
                    <a:cubicBezTo>
                      <a:pt x="165" y="40"/>
                      <a:pt x="222" y="40"/>
                      <a:pt x="279" y="39"/>
                    </a:cubicBezTo>
                    <a:cubicBezTo>
                      <a:pt x="284" y="39"/>
                      <a:pt x="289" y="33"/>
                      <a:pt x="294" y="30"/>
                    </a:cubicBezTo>
                    <a:cubicBezTo>
                      <a:pt x="289" y="27"/>
                      <a:pt x="284" y="23"/>
                      <a:pt x="279" y="22"/>
                    </a:cubicBezTo>
                    <a:cubicBezTo>
                      <a:pt x="251" y="22"/>
                      <a:pt x="222" y="22"/>
                      <a:pt x="194" y="22"/>
                    </a:cubicBezTo>
                    <a:close/>
                    <a:moveTo>
                      <a:pt x="325" y="16"/>
                    </a:moveTo>
                    <a:cubicBezTo>
                      <a:pt x="320" y="22"/>
                      <a:pt x="314" y="26"/>
                      <a:pt x="314" y="30"/>
                    </a:cubicBezTo>
                    <a:cubicBezTo>
                      <a:pt x="314" y="33"/>
                      <a:pt x="319" y="37"/>
                      <a:pt x="322" y="41"/>
                    </a:cubicBezTo>
                    <a:cubicBezTo>
                      <a:pt x="326" y="38"/>
                      <a:pt x="332" y="35"/>
                      <a:pt x="333" y="31"/>
                    </a:cubicBezTo>
                    <a:cubicBezTo>
                      <a:pt x="334" y="28"/>
                      <a:pt x="329" y="23"/>
                      <a:pt x="325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493" name="Group 492">
                <a:extLst>
                  <a:ext uri="{FF2B5EF4-FFF2-40B4-BE49-F238E27FC236}">
                    <a16:creationId xmlns:a16="http://schemas.microsoft.com/office/drawing/2014/main" id="{2CF93EBE-7C7D-65E5-BA03-46B1CC7E07C7}"/>
                  </a:ext>
                </a:extLst>
              </p:cNvPr>
              <p:cNvGrpSpPr/>
              <p:nvPr/>
            </p:nvGrpSpPr>
            <p:grpSpPr>
              <a:xfrm>
                <a:off x="3713395" y="1304178"/>
                <a:ext cx="183502" cy="292409"/>
                <a:chOff x="5217785" y="2416533"/>
                <a:chExt cx="92493" cy="147387"/>
              </a:xfrm>
              <a:grpFill/>
            </p:grpSpPr>
            <p:sp>
              <p:nvSpPr>
                <p:cNvPr id="494" name="Freeform 20">
                  <a:extLst>
                    <a:ext uri="{FF2B5EF4-FFF2-40B4-BE49-F238E27FC236}">
                      <a16:creationId xmlns:a16="http://schemas.microsoft.com/office/drawing/2014/main" id="{F0444432-9ED4-3605-43D6-F50496834F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7785" y="2448116"/>
                  <a:ext cx="92493" cy="115804"/>
                </a:xfrm>
                <a:custGeom>
                  <a:avLst/>
                  <a:gdLst>
                    <a:gd name="T0" fmla="*/ 298 w 307"/>
                    <a:gd name="T1" fmla="*/ 138 h 385"/>
                    <a:gd name="T2" fmla="*/ 275 w 307"/>
                    <a:gd name="T3" fmla="*/ 129 h 385"/>
                    <a:gd name="T4" fmla="*/ 252 w 307"/>
                    <a:gd name="T5" fmla="*/ 138 h 385"/>
                    <a:gd name="T6" fmla="*/ 244 w 307"/>
                    <a:gd name="T7" fmla="*/ 123 h 385"/>
                    <a:gd name="T8" fmla="*/ 221 w 307"/>
                    <a:gd name="T9" fmla="*/ 114 h 385"/>
                    <a:gd name="T10" fmla="*/ 198 w 307"/>
                    <a:gd name="T11" fmla="*/ 123 h 385"/>
                    <a:gd name="T12" fmla="*/ 190 w 307"/>
                    <a:gd name="T13" fmla="*/ 108 h 385"/>
                    <a:gd name="T14" fmla="*/ 167 w 307"/>
                    <a:gd name="T15" fmla="*/ 98 h 385"/>
                    <a:gd name="T16" fmla="*/ 147 w 307"/>
                    <a:gd name="T17" fmla="*/ 105 h 385"/>
                    <a:gd name="T18" fmla="*/ 147 w 307"/>
                    <a:gd name="T19" fmla="*/ 32 h 385"/>
                    <a:gd name="T20" fmla="*/ 138 w 307"/>
                    <a:gd name="T21" fmla="*/ 10 h 385"/>
                    <a:gd name="T22" fmla="*/ 115 w 307"/>
                    <a:gd name="T23" fmla="*/ 0 h 385"/>
                    <a:gd name="T24" fmla="*/ 92 w 307"/>
                    <a:gd name="T25" fmla="*/ 10 h 385"/>
                    <a:gd name="T26" fmla="*/ 82 w 307"/>
                    <a:gd name="T27" fmla="*/ 32 h 385"/>
                    <a:gd name="T28" fmla="*/ 82 w 307"/>
                    <a:gd name="T29" fmla="*/ 214 h 385"/>
                    <a:gd name="T30" fmla="*/ 58 w 307"/>
                    <a:gd name="T31" fmla="*/ 188 h 385"/>
                    <a:gd name="T32" fmla="*/ 37 w 307"/>
                    <a:gd name="T33" fmla="*/ 178 h 385"/>
                    <a:gd name="T34" fmla="*/ 35 w 307"/>
                    <a:gd name="T35" fmla="*/ 178 h 385"/>
                    <a:gd name="T36" fmla="*/ 14 w 307"/>
                    <a:gd name="T37" fmla="*/ 186 h 385"/>
                    <a:gd name="T38" fmla="*/ 12 w 307"/>
                    <a:gd name="T39" fmla="*/ 187 h 385"/>
                    <a:gd name="T40" fmla="*/ 1 w 307"/>
                    <a:gd name="T41" fmla="*/ 208 h 385"/>
                    <a:gd name="T42" fmla="*/ 7 w 307"/>
                    <a:gd name="T43" fmla="*/ 230 h 385"/>
                    <a:gd name="T44" fmla="*/ 93 w 307"/>
                    <a:gd name="T45" fmla="*/ 352 h 385"/>
                    <a:gd name="T46" fmla="*/ 104 w 307"/>
                    <a:gd name="T47" fmla="*/ 374 h 385"/>
                    <a:gd name="T48" fmla="*/ 132 w 307"/>
                    <a:gd name="T49" fmla="*/ 385 h 385"/>
                    <a:gd name="T50" fmla="*/ 241 w 307"/>
                    <a:gd name="T51" fmla="*/ 385 h 385"/>
                    <a:gd name="T52" fmla="*/ 269 w 307"/>
                    <a:gd name="T53" fmla="*/ 374 h 385"/>
                    <a:gd name="T54" fmla="*/ 280 w 307"/>
                    <a:gd name="T55" fmla="*/ 349 h 385"/>
                    <a:gd name="T56" fmla="*/ 302 w 307"/>
                    <a:gd name="T57" fmla="*/ 276 h 385"/>
                    <a:gd name="T58" fmla="*/ 306 w 307"/>
                    <a:gd name="T59" fmla="*/ 258 h 385"/>
                    <a:gd name="T60" fmla="*/ 307 w 307"/>
                    <a:gd name="T61" fmla="*/ 240 h 385"/>
                    <a:gd name="T62" fmla="*/ 307 w 307"/>
                    <a:gd name="T63" fmla="*/ 161 h 385"/>
                    <a:gd name="T64" fmla="*/ 298 w 307"/>
                    <a:gd name="T65" fmla="*/ 138 h 3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07" h="385">
                      <a:moveTo>
                        <a:pt x="298" y="138"/>
                      </a:moveTo>
                      <a:cubicBezTo>
                        <a:pt x="292" y="132"/>
                        <a:pt x="283" y="129"/>
                        <a:pt x="275" y="129"/>
                      </a:cubicBezTo>
                      <a:cubicBezTo>
                        <a:pt x="266" y="129"/>
                        <a:pt x="258" y="132"/>
                        <a:pt x="252" y="138"/>
                      </a:cubicBezTo>
                      <a:cubicBezTo>
                        <a:pt x="251" y="132"/>
                        <a:pt x="248" y="127"/>
                        <a:pt x="244" y="123"/>
                      </a:cubicBezTo>
                      <a:cubicBezTo>
                        <a:pt x="238" y="117"/>
                        <a:pt x="230" y="114"/>
                        <a:pt x="221" y="114"/>
                      </a:cubicBezTo>
                      <a:cubicBezTo>
                        <a:pt x="213" y="114"/>
                        <a:pt x="204" y="117"/>
                        <a:pt x="198" y="123"/>
                      </a:cubicBezTo>
                      <a:cubicBezTo>
                        <a:pt x="197" y="117"/>
                        <a:pt x="194" y="112"/>
                        <a:pt x="190" y="108"/>
                      </a:cubicBezTo>
                      <a:cubicBezTo>
                        <a:pt x="184" y="102"/>
                        <a:pt x="176" y="98"/>
                        <a:pt x="167" y="98"/>
                      </a:cubicBezTo>
                      <a:cubicBezTo>
                        <a:pt x="160" y="98"/>
                        <a:pt x="153" y="101"/>
                        <a:pt x="147" y="105"/>
                      </a:cubicBezTo>
                      <a:cubicBezTo>
                        <a:pt x="147" y="32"/>
                        <a:pt x="147" y="32"/>
                        <a:pt x="147" y="32"/>
                      </a:cubicBezTo>
                      <a:cubicBezTo>
                        <a:pt x="147" y="24"/>
                        <a:pt x="144" y="16"/>
                        <a:pt x="138" y="10"/>
                      </a:cubicBezTo>
                      <a:cubicBezTo>
                        <a:pt x="132" y="4"/>
                        <a:pt x="123" y="0"/>
                        <a:pt x="115" y="0"/>
                      </a:cubicBezTo>
                      <a:cubicBezTo>
                        <a:pt x="106" y="0"/>
                        <a:pt x="98" y="4"/>
                        <a:pt x="92" y="10"/>
                      </a:cubicBezTo>
                      <a:cubicBezTo>
                        <a:pt x="86" y="16"/>
                        <a:pt x="82" y="24"/>
                        <a:pt x="82" y="32"/>
                      </a:cubicBezTo>
                      <a:cubicBezTo>
                        <a:pt x="82" y="214"/>
                        <a:pt x="82" y="214"/>
                        <a:pt x="82" y="214"/>
                      </a:cubicBezTo>
                      <a:cubicBezTo>
                        <a:pt x="58" y="188"/>
                        <a:pt x="58" y="188"/>
                        <a:pt x="58" y="188"/>
                      </a:cubicBezTo>
                      <a:cubicBezTo>
                        <a:pt x="53" y="182"/>
                        <a:pt x="45" y="178"/>
                        <a:pt x="37" y="178"/>
                      </a:cubicBezTo>
                      <a:cubicBezTo>
                        <a:pt x="36" y="178"/>
                        <a:pt x="35" y="178"/>
                        <a:pt x="35" y="178"/>
                      </a:cubicBezTo>
                      <a:cubicBezTo>
                        <a:pt x="27" y="178"/>
                        <a:pt x="20" y="181"/>
                        <a:pt x="14" y="186"/>
                      </a:cubicBezTo>
                      <a:cubicBezTo>
                        <a:pt x="12" y="187"/>
                        <a:pt x="12" y="187"/>
                        <a:pt x="12" y="187"/>
                      </a:cubicBezTo>
                      <a:cubicBezTo>
                        <a:pt x="6" y="193"/>
                        <a:pt x="2" y="200"/>
                        <a:pt x="1" y="208"/>
                      </a:cubicBezTo>
                      <a:cubicBezTo>
                        <a:pt x="0" y="216"/>
                        <a:pt x="2" y="224"/>
                        <a:pt x="7" y="230"/>
                      </a:cubicBezTo>
                      <a:cubicBezTo>
                        <a:pt x="93" y="352"/>
                        <a:pt x="93" y="352"/>
                        <a:pt x="93" y="352"/>
                      </a:cubicBezTo>
                      <a:cubicBezTo>
                        <a:pt x="95" y="360"/>
                        <a:pt x="98" y="368"/>
                        <a:pt x="104" y="374"/>
                      </a:cubicBezTo>
                      <a:cubicBezTo>
                        <a:pt x="112" y="381"/>
                        <a:pt x="122" y="385"/>
                        <a:pt x="132" y="385"/>
                      </a:cubicBezTo>
                      <a:cubicBezTo>
                        <a:pt x="241" y="385"/>
                        <a:pt x="241" y="385"/>
                        <a:pt x="241" y="385"/>
                      </a:cubicBezTo>
                      <a:cubicBezTo>
                        <a:pt x="252" y="385"/>
                        <a:pt x="262" y="381"/>
                        <a:pt x="269" y="374"/>
                      </a:cubicBezTo>
                      <a:cubicBezTo>
                        <a:pt x="276" y="367"/>
                        <a:pt x="280" y="358"/>
                        <a:pt x="280" y="349"/>
                      </a:cubicBezTo>
                      <a:cubicBezTo>
                        <a:pt x="302" y="276"/>
                        <a:pt x="302" y="276"/>
                        <a:pt x="302" y="276"/>
                      </a:cubicBezTo>
                      <a:cubicBezTo>
                        <a:pt x="304" y="270"/>
                        <a:pt x="305" y="264"/>
                        <a:pt x="306" y="258"/>
                      </a:cubicBezTo>
                      <a:cubicBezTo>
                        <a:pt x="307" y="252"/>
                        <a:pt x="307" y="246"/>
                        <a:pt x="307" y="240"/>
                      </a:cubicBezTo>
                      <a:cubicBezTo>
                        <a:pt x="307" y="161"/>
                        <a:pt x="307" y="161"/>
                        <a:pt x="307" y="161"/>
                      </a:cubicBezTo>
                      <a:cubicBezTo>
                        <a:pt x="307" y="152"/>
                        <a:pt x="304" y="144"/>
                        <a:pt x="298" y="1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495" name="Freeform 21">
                  <a:extLst>
                    <a:ext uri="{FF2B5EF4-FFF2-40B4-BE49-F238E27FC236}">
                      <a16:creationId xmlns:a16="http://schemas.microsoft.com/office/drawing/2014/main" id="{F197DE0C-60C6-572C-D97F-46CDEC99E42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220793" y="2416533"/>
                  <a:ext cx="63166" cy="60158"/>
                </a:xfrm>
                <a:custGeom>
                  <a:avLst/>
                  <a:gdLst>
                    <a:gd name="T0" fmla="*/ 162 w 209"/>
                    <a:gd name="T1" fmla="*/ 104 h 200"/>
                    <a:gd name="T2" fmla="*/ 105 w 209"/>
                    <a:gd name="T3" fmla="*/ 47 h 200"/>
                    <a:gd name="T4" fmla="*/ 48 w 209"/>
                    <a:gd name="T5" fmla="*/ 104 h 200"/>
                    <a:gd name="T6" fmla="*/ 64 w 209"/>
                    <a:gd name="T7" fmla="*/ 144 h 200"/>
                    <a:gd name="T8" fmla="*/ 64 w 209"/>
                    <a:gd name="T9" fmla="*/ 136 h 200"/>
                    <a:gd name="T10" fmla="*/ 69 w 209"/>
                    <a:gd name="T11" fmla="*/ 117 h 200"/>
                    <a:gd name="T12" fmla="*/ 67 w 209"/>
                    <a:gd name="T13" fmla="*/ 104 h 200"/>
                    <a:gd name="T14" fmla="*/ 105 w 209"/>
                    <a:gd name="T15" fmla="*/ 67 h 200"/>
                    <a:gd name="T16" fmla="*/ 143 w 209"/>
                    <a:gd name="T17" fmla="*/ 104 h 200"/>
                    <a:gd name="T18" fmla="*/ 140 w 209"/>
                    <a:gd name="T19" fmla="*/ 117 h 200"/>
                    <a:gd name="T20" fmla="*/ 145 w 209"/>
                    <a:gd name="T21" fmla="*/ 136 h 200"/>
                    <a:gd name="T22" fmla="*/ 145 w 209"/>
                    <a:gd name="T23" fmla="*/ 144 h 200"/>
                    <a:gd name="T24" fmla="*/ 162 w 209"/>
                    <a:gd name="T25" fmla="*/ 104 h 200"/>
                    <a:gd name="T26" fmla="*/ 0 w 209"/>
                    <a:gd name="T27" fmla="*/ 104 h 200"/>
                    <a:gd name="T28" fmla="*/ 105 w 209"/>
                    <a:gd name="T29" fmla="*/ 0 h 200"/>
                    <a:gd name="T30" fmla="*/ 209 w 209"/>
                    <a:gd name="T31" fmla="*/ 104 h 200"/>
                    <a:gd name="T32" fmla="*/ 158 w 209"/>
                    <a:gd name="T33" fmla="*/ 194 h 200"/>
                    <a:gd name="T34" fmla="*/ 157 w 209"/>
                    <a:gd name="T35" fmla="*/ 194 h 200"/>
                    <a:gd name="T36" fmla="*/ 145 w 209"/>
                    <a:gd name="T37" fmla="*/ 196 h 200"/>
                    <a:gd name="T38" fmla="*/ 145 w 209"/>
                    <a:gd name="T39" fmla="*/ 179 h 200"/>
                    <a:gd name="T40" fmla="*/ 190 w 209"/>
                    <a:gd name="T41" fmla="*/ 104 h 200"/>
                    <a:gd name="T42" fmla="*/ 105 w 209"/>
                    <a:gd name="T43" fmla="*/ 19 h 200"/>
                    <a:gd name="T44" fmla="*/ 20 w 209"/>
                    <a:gd name="T45" fmla="*/ 104 h 200"/>
                    <a:gd name="T46" fmla="*/ 64 w 209"/>
                    <a:gd name="T47" fmla="*/ 179 h 200"/>
                    <a:gd name="T48" fmla="*/ 64 w 209"/>
                    <a:gd name="T49" fmla="*/ 200 h 200"/>
                    <a:gd name="T50" fmla="*/ 0 w 209"/>
                    <a:gd name="T51" fmla="*/ 104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09" h="200">
                      <a:moveTo>
                        <a:pt x="162" y="104"/>
                      </a:moveTo>
                      <a:cubicBezTo>
                        <a:pt x="162" y="73"/>
                        <a:pt x="136" y="47"/>
                        <a:pt x="105" y="47"/>
                      </a:cubicBezTo>
                      <a:cubicBezTo>
                        <a:pt x="73" y="47"/>
                        <a:pt x="48" y="73"/>
                        <a:pt x="48" y="104"/>
                      </a:cubicBezTo>
                      <a:cubicBezTo>
                        <a:pt x="48" y="120"/>
                        <a:pt x="54" y="134"/>
                        <a:pt x="64" y="144"/>
                      </a:cubicBezTo>
                      <a:cubicBezTo>
                        <a:pt x="64" y="136"/>
                        <a:pt x="64" y="136"/>
                        <a:pt x="64" y="136"/>
                      </a:cubicBezTo>
                      <a:cubicBezTo>
                        <a:pt x="64" y="129"/>
                        <a:pt x="66" y="123"/>
                        <a:pt x="69" y="117"/>
                      </a:cubicBezTo>
                      <a:cubicBezTo>
                        <a:pt x="68" y="113"/>
                        <a:pt x="67" y="109"/>
                        <a:pt x="67" y="104"/>
                      </a:cubicBezTo>
                      <a:cubicBezTo>
                        <a:pt x="67" y="84"/>
                        <a:pt x="84" y="67"/>
                        <a:pt x="105" y="67"/>
                      </a:cubicBezTo>
                      <a:cubicBezTo>
                        <a:pt x="126" y="67"/>
                        <a:pt x="143" y="84"/>
                        <a:pt x="143" y="104"/>
                      </a:cubicBezTo>
                      <a:cubicBezTo>
                        <a:pt x="143" y="109"/>
                        <a:pt x="142" y="113"/>
                        <a:pt x="140" y="117"/>
                      </a:cubicBezTo>
                      <a:cubicBezTo>
                        <a:pt x="143" y="123"/>
                        <a:pt x="145" y="129"/>
                        <a:pt x="145" y="136"/>
                      </a:cubicBezTo>
                      <a:cubicBezTo>
                        <a:pt x="145" y="144"/>
                        <a:pt x="145" y="144"/>
                        <a:pt x="145" y="144"/>
                      </a:cubicBezTo>
                      <a:cubicBezTo>
                        <a:pt x="155" y="134"/>
                        <a:pt x="162" y="120"/>
                        <a:pt x="162" y="104"/>
                      </a:cubicBezTo>
                      <a:close/>
                      <a:moveTo>
                        <a:pt x="0" y="104"/>
                      </a:moveTo>
                      <a:cubicBezTo>
                        <a:pt x="0" y="47"/>
                        <a:pt x="47" y="0"/>
                        <a:pt x="105" y="0"/>
                      </a:cubicBezTo>
                      <a:cubicBezTo>
                        <a:pt x="162" y="0"/>
                        <a:pt x="209" y="47"/>
                        <a:pt x="209" y="104"/>
                      </a:cubicBezTo>
                      <a:cubicBezTo>
                        <a:pt x="209" y="143"/>
                        <a:pt x="188" y="176"/>
                        <a:pt x="158" y="194"/>
                      </a:cubicBezTo>
                      <a:cubicBezTo>
                        <a:pt x="157" y="194"/>
                        <a:pt x="157" y="194"/>
                        <a:pt x="157" y="194"/>
                      </a:cubicBezTo>
                      <a:cubicBezTo>
                        <a:pt x="153" y="194"/>
                        <a:pt x="149" y="195"/>
                        <a:pt x="145" y="196"/>
                      </a:cubicBezTo>
                      <a:cubicBezTo>
                        <a:pt x="145" y="179"/>
                        <a:pt x="145" y="179"/>
                        <a:pt x="145" y="179"/>
                      </a:cubicBezTo>
                      <a:cubicBezTo>
                        <a:pt x="172" y="164"/>
                        <a:pt x="190" y="136"/>
                        <a:pt x="190" y="104"/>
                      </a:cubicBezTo>
                      <a:cubicBezTo>
                        <a:pt x="190" y="57"/>
                        <a:pt x="152" y="19"/>
                        <a:pt x="105" y="19"/>
                      </a:cubicBezTo>
                      <a:cubicBezTo>
                        <a:pt x="58" y="19"/>
                        <a:pt x="20" y="57"/>
                        <a:pt x="20" y="104"/>
                      </a:cubicBezTo>
                      <a:cubicBezTo>
                        <a:pt x="20" y="136"/>
                        <a:pt x="38" y="164"/>
                        <a:pt x="64" y="179"/>
                      </a:cubicBezTo>
                      <a:cubicBezTo>
                        <a:pt x="64" y="200"/>
                        <a:pt x="64" y="200"/>
                        <a:pt x="64" y="200"/>
                      </a:cubicBezTo>
                      <a:cubicBezTo>
                        <a:pt x="27" y="185"/>
                        <a:pt x="0" y="147"/>
                        <a:pt x="0" y="10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448" name="Group 447">
              <a:extLst>
                <a:ext uri="{FF2B5EF4-FFF2-40B4-BE49-F238E27FC236}">
                  <a16:creationId xmlns:a16="http://schemas.microsoft.com/office/drawing/2014/main" id="{520077F7-C15C-3DA6-37A4-5645F0CC899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495461" y="4423486"/>
              <a:ext cx="203626" cy="202465"/>
              <a:chOff x="-2636838" y="3625850"/>
              <a:chExt cx="2228850" cy="2216150"/>
            </a:xfrm>
            <a:solidFill>
              <a:sysClr val="window" lastClr="FFFFFF"/>
            </a:solidFill>
          </p:grpSpPr>
          <p:sp>
            <p:nvSpPr>
              <p:cNvPr id="489" name="Freeform 5">
                <a:extLst>
                  <a:ext uri="{FF2B5EF4-FFF2-40B4-BE49-F238E27FC236}">
                    <a16:creationId xmlns:a16="http://schemas.microsoft.com/office/drawing/2014/main" id="{9A76AC50-12FB-73E4-E314-73BF6D03B1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636838" y="4356100"/>
                <a:ext cx="2228850" cy="1485900"/>
              </a:xfrm>
              <a:custGeom>
                <a:avLst/>
                <a:gdLst>
                  <a:gd name="T0" fmla="*/ 557 w 656"/>
                  <a:gd name="T1" fmla="*/ 372 h 437"/>
                  <a:gd name="T2" fmla="*/ 571 w 656"/>
                  <a:gd name="T3" fmla="*/ 376 h 437"/>
                  <a:gd name="T4" fmla="*/ 593 w 656"/>
                  <a:gd name="T5" fmla="*/ 410 h 437"/>
                  <a:gd name="T6" fmla="*/ 563 w 656"/>
                  <a:gd name="T7" fmla="*/ 437 h 437"/>
                  <a:gd name="T8" fmla="*/ 551 w 656"/>
                  <a:gd name="T9" fmla="*/ 437 h 437"/>
                  <a:gd name="T10" fmla="*/ 43 w 656"/>
                  <a:gd name="T11" fmla="*/ 437 h 437"/>
                  <a:gd name="T12" fmla="*/ 35 w 656"/>
                  <a:gd name="T13" fmla="*/ 437 h 437"/>
                  <a:gd name="T14" fmla="*/ 1 w 656"/>
                  <a:gd name="T15" fmla="*/ 408 h 437"/>
                  <a:gd name="T16" fmla="*/ 33 w 656"/>
                  <a:gd name="T17" fmla="*/ 374 h 437"/>
                  <a:gd name="T18" fmla="*/ 136 w 656"/>
                  <a:gd name="T19" fmla="*/ 366 h 437"/>
                  <a:gd name="T20" fmla="*/ 479 w 656"/>
                  <a:gd name="T21" fmla="*/ 341 h 437"/>
                  <a:gd name="T22" fmla="*/ 506 w 656"/>
                  <a:gd name="T23" fmla="*/ 319 h 437"/>
                  <a:gd name="T24" fmla="*/ 587 w 656"/>
                  <a:gd name="T25" fmla="*/ 41 h 437"/>
                  <a:gd name="T26" fmla="*/ 591 w 656"/>
                  <a:gd name="T27" fmla="*/ 26 h 437"/>
                  <a:gd name="T28" fmla="*/ 631 w 656"/>
                  <a:gd name="T29" fmla="*/ 5 h 437"/>
                  <a:gd name="T30" fmla="*/ 652 w 656"/>
                  <a:gd name="T31" fmla="*/ 43 h 437"/>
                  <a:gd name="T32" fmla="*/ 613 w 656"/>
                  <a:gd name="T33" fmla="*/ 178 h 437"/>
                  <a:gd name="T34" fmla="*/ 562 w 656"/>
                  <a:gd name="T35" fmla="*/ 354 h 437"/>
                  <a:gd name="T36" fmla="*/ 557 w 656"/>
                  <a:gd name="T37" fmla="*/ 372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56" h="437">
                    <a:moveTo>
                      <a:pt x="557" y="372"/>
                    </a:moveTo>
                    <a:cubicBezTo>
                      <a:pt x="562" y="373"/>
                      <a:pt x="567" y="374"/>
                      <a:pt x="571" y="376"/>
                    </a:cubicBezTo>
                    <a:cubicBezTo>
                      <a:pt x="587" y="382"/>
                      <a:pt x="595" y="393"/>
                      <a:pt x="593" y="410"/>
                    </a:cubicBezTo>
                    <a:cubicBezTo>
                      <a:pt x="590" y="426"/>
                      <a:pt x="580" y="436"/>
                      <a:pt x="563" y="437"/>
                    </a:cubicBezTo>
                    <a:cubicBezTo>
                      <a:pt x="559" y="437"/>
                      <a:pt x="555" y="437"/>
                      <a:pt x="551" y="437"/>
                    </a:cubicBezTo>
                    <a:cubicBezTo>
                      <a:pt x="382" y="437"/>
                      <a:pt x="213" y="437"/>
                      <a:pt x="43" y="437"/>
                    </a:cubicBezTo>
                    <a:cubicBezTo>
                      <a:pt x="41" y="437"/>
                      <a:pt x="38" y="437"/>
                      <a:pt x="35" y="437"/>
                    </a:cubicBezTo>
                    <a:cubicBezTo>
                      <a:pt x="15" y="436"/>
                      <a:pt x="2" y="425"/>
                      <a:pt x="1" y="408"/>
                    </a:cubicBezTo>
                    <a:cubicBezTo>
                      <a:pt x="0" y="390"/>
                      <a:pt x="12" y="376"/>
                      <a:pt x="33" y="374"/>
                    </a:cubicBezTo>
                    <a:cubicBezTo>
                      <a:pt x="67" y="371"/>
                      <a:pt x="102" y="368"/>
                      <a:pt x="136" y="366"/>
                    </a:cubicBezTo>
                    <a:cubicBezTo>
                      <a:pt x="250" y="357"/>
                      <a:pt x="365" y="349"/>
                      <a:pt x="479" y="341"/>
                    </a:cubicBezTo>
                    <a:cubicBezTo>
                      <a:pt x="494" y="340"/>
                      <a:pt x="502" y="334"/>
                      <a:pt x="506" y="319"/>
                    </a:cubicBezTo>
                    <a:cubicBezTo>
                      <a:pt x="533" y="226"/>
                      <a:pt x="560" y="134"/>
                      <a:pt x="587" y="41"/>
                    </a:cubicBezTo>
                    <a:cubicBezTo>
                      <a:pt x="588" y="36"/>
                      <a:pt x="590" y="31"/>
                      <a:pt x="591" y="26"/>
                    </a:cubicBezTo>
                    <a:cubicBezTo>
                      <a:pt x="598" y="8"/>
                      <a:pt x="614" y="0"/>
                      <a:pt x="631" y="5"/>
                    </a:cubicBezTo>
                    <a:cubicBezTo>
                      <a:pt x="647" y="10"/>
                      <a:pt x="656" y="25"/>
                      <a:pt x="652" y="43"/>
                    </a:cubicBezTo>
                    <a:cubicBezTo>
                      <a:pt x="639" y="88"/>
                      <a:pt x="626" y="133"/>
                      <a:pt x="613" y="178"/>
                    </a:cubicBezTo>
                    <a:cubicBezTo>
                      <a:pt x="596" y="236"/>
                      <a:pt x="579" y="295"/>
                      <a:pt x="562" y="354"/>
                    </a:cubicBezTo>
                    <a:cubicBezTo>
                      <a:pt x="560" y="360"/>
                      <a:pt x="559" y="365"/>
                      <a:pt x="557" y="3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0" name="Freeform 6">
                <a:extLst>
                  <a:ext uri="{FF2B5EF4-FFF2-40B4-BE49-F238E27FC236}">
                    <a16:creationId xmlns:a16="http://schemas.microsoft.com/office/drawing/2014/main" id="{9FB25AD0-B677-4FAF-A373-AE985AC44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382838" y="3968750"/>
                <a:ext cx="1471613" cy="1465263"/>
              </a:xfrm>
              <a:custGeom>
                <a:avLst/>
                <a:gdLst>
                  <a:gd name="T0" fmla="*/ 220 w 433"/>
                  <a:gd name="T1" fmla="*/ 241 h 431"/>
                  <a:gd name="T2" fmla="*/ 174 w 433"/>
                  <a:gd name="T3" fmla="*/ 327 h 431"/>
                  <a:gd name="T4" fmla="*/ 140 w 433"/>
                  <a:gd name="T5" fmla="*/ 350 h 431"/>
                  <a:gd name="T6" fmla="*/ 38 w 433"/>
                  <a:gd name="T7" fmla="*/ 359 h 431"/>
                  <a:gd name="T8" fmla="*/ 1 w 433"/>
                  <a:gd name="T9" fmla="*/ 331 h 431"/>
                  <a:gd name="T10" fmla="*/ 35 w 433"/>
                  <a:gd name="T11" fmla="*/ 299 h 431"/>
                  <a:gd name="T12" fmla="*/ 112 w 433"/>
                  <a:gd name="T13" fmla="*/ 292 h 431"/>
                  <a:gd name="T14" fmla="*/ 130 w 433"/>
                  <a:gd name="T15" fmla="*/ 283 h 431"/>
                  <a:gd name="T16" fmla="*/ 170 w 433"/>
                  <a:gd name="T17" fmla="*/ 208 h 431"/>
                  <a:gd name="T18" fmla="*/ 160 w 433"/>
                  <a:gd name="T19" fmla="*/ 154 h 431"/>
                  <a:gd name="T20" fmla="*/ 206 w 433"/>
                  <a:gd name="T21" fmla="*/ 59 h 431"/>
                  <a:gd name="T22" fmla="*/ 152 w 433"/>
                  <a:gd name="T23" fmla="*/ 63 h 431"/>
                  <a:gd name="T24" fmla="*/ 116 w 433"/>
                  <a:gd name="T25" fmla="*/ 91 h 431"/>
                  <a:gd name="T26" fmla="*/ 77 w 433"/>
                  <a:gd name="T27" fmla="*/ 88 h 431"/>
                  <a:gd name="T28" fmla="*/ 85 w 433"/>
                  <a:gd name="T29" fmla="*/ 50 h 431"/>
                  <a:gd name="T30" fmla="*/ 145 w 433"/>
                  <a:gd name="T31" fmla="*/ 7 h 431"/>
                  <a:gd name="T32" fmla="*/ 184 w 433"/>
                  <a:gd name="T33" fmla="*/ 1 h 431"/>
                  <a:gd name="T34" fmla="*/ 261 w 433"/>
                  <a:gd name="T35" fmla="*/ 7 h 431"/>
                  <a:gd name="T36" fmla="*/ 307 w 433"/>
                  <a:gd name="T37" fmla="*/ 40 h 431"/>
                  <a:gd name="T38" fmla="*/ 331 w 433"/>
                  <a:gd name="T39" fmla="*/ 89 h 431"/>
                  <a:gd name="T40" fmla="*/ 391 w 433"/>
                  <a:gd name="T41" fmla="*/ 67 h 431"/>
                  <a:gd name="T42" fmla="*/ 427 w 433"/>
                  <a:gd name="T43" fmla="*/ 80 h 431"/>
                  <a:gd name="T44" fmla="*/ 409 w 433"/>
                  <a:gd name="T45" fmla="*/ 115 h 431"/>
                  <a:gd name="T46" fmla="*/ 338 w 433"/>
                  <a:gd name="T47" fmla="*/ 141 h 431"/>
                  <a:gd name="T48" fmla="*/ 304 w 433"/>
                  <a:gd name="T49" fmla="*/ 132 h 431"/>
                  <a:gd name="T50" fmla="*/ 286 w 433"/>
                  <a:gd name="T51" fmla="*/ 111 h 431"/>
                  <a:gd name="T52" fmla="*/ 248 w 433"/>
                  <a:gd name="T53" fmla="*/ 188 h 431"/>
                  <a:gd name="T54" fmla="*/ 323 w 433"/>
                  <a:gd name="T55" fmla="*/ 240 h 431"/>
                  <a:gd name="T56" fmla="*/ 353 w 433"/>
                  <a:gd name="T57" fmla="*/ 280 h 431"/>
                  <a:gd name="T58" fmla="*/ 391 w 433"/>
                  <a:gd name="T59" fmla="*/ 381 h 431"/>
                  <a:gd name="T60" fmla="*/ 374 w 433"/>
                  <a:gd name="T61" fmla="*/ 425 h 431"/>
                  <a:gd name="T62" fmla="*/ 335 w 433"/>
                  <a:gd name="T63" fmla="*/ 401 h 431"/>
                  <a:gd name="T64" fmla="*/ 303 w 433"/>
                  <a:gd name="T65" fmla="*/ 313 h 431"/>
                  <a:gd name="T66" fmla="*/ 277 w 433"/>
                  <a:gd name="T67" fmla="*/ 280 h 431"/>
                  <a:gd name="T68" fmla="*/ 220 w 433"/>
                  <a:gd name="T69" fmla="*/ 241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33" h="431">
                    <a:moveTo>
                      <a:pt x="220" y="241"/>
                    </a:moveTo>
                    <a:cubicBezTo>
                      <a:pt x="204" y="271"/>
                      <a:pt x="188" y="298"/>
                      <a:pt x="174" y="327"/>
                    </a:cubicBezTo>
                    <a:cubicBezTo>
                      <a:pt x="167" y="341"/>
                      <a:pt x="155" y="349"/>
                      <a:pt x="140" y="350"/>
                    </a:cubicBezTo>
                    <a:cubicBezTo>
                      <a:pt x="106" y="353"/>
                      <a:pt x="72" y="356"/>
                      <a:pt x="38" y="359"/>
                    </a:cubicBezTo>
                    <a:cubicBezTo>
                      <a:pt x="16" y="360"/>
                      <a:pt x="2" y="349"/>
                      <a:pt x="1" y="331"/>
                    </a:cubicBezTo>
                    <a:cubicBezTo>
                      <a:pt x="0" y="314"/>
                      <a:pt x="13" y="301"/>
                      <a:pt x="35" y="299"/>
                    </a:cubicBezTo>
                    <a:cubicBezTo>
                      <a:pt x="61" y="297"/>
                      <a:pt x="86" y="296"/>
                      <a:pt x="112" y="292"/>
                    </a:cubicBezTo>
                    <a:cubicBezTo>
                      <a:pt x="118" y="292"/>
                      <a:pt x="127" y="288"/>
                      <a:pt x="130" y="283"/>
                    </a:cubicBezTo>
                    <a:cubicBezTo>
                      <a:pt x="144" y="259"/>
                      <a:pt x="156" y="234"/>
                      <a:pt x="170" y="208"/>
                    </a:cubicBezTo>
                    <a:cubicBezTo>
                      <a:pt x="148" y="193"/>
                      <a:pt x="150" y="174"/>
                      <a:pt x="160" y="154"/>
                    </a:cubicBezTo>
                    <a:cubicBezTo>
                      <a:pt x="176" y="123"/>
                      <a:pt x="191" y="92"/>
                      <a:pt x="206" y="59"/>
                    </a:cubicBezTo>
                    <a:cubicBezTo>
                      <a:pt x="187" y="51"/>
                      <a:pt x="170" y="47"/>
                      <a:pt x="152" y="63"/>
                    </a:cubicBezTo>
                    <a:cubicBezTo>
                      <a:pt x="142" y="74"/>
                      <a:pt x="128" y="82"/>
                      <a:pt x="116" y="91"/>
                    </a:cubicBezTo>
                    <a:cubicBezTo>
                      <a:pt x="102" y="101"/>
                      <a:pt x="89" y="102"/>
                      <a:pt x="77" y="88"/>
                    </a:cubicBezTo>
                    <a:cubicBezTo>
                      <a:pt x="67" y="76"/>
                      <a:pt x="71" y="61"/>
                      <a:pt x="85" y="50"/>
                    </a:cubicBezTo>
                    <a:cubicBezTo>
                      <a:pt x="104" y="35"/>
                      <a:pt x="123" y="19"/>
                      <a:pt x="145" y="7"/>
                    </a:cubicBezTo>
                    <a:cubicBezTo>
                      <a:pt x="156" y="0"/>
                      <a:pt x="171" y="1"/>
                      <a:pt x="184" y="1"/>
                    </a:cubicBezTo>
                    <a:cubicBezTo>
                      <a:pt x="210" y="2"/>
                      <a:pt x="235" y="6"/>
                      <a:pt x="261" y="7"/>
                    </a:cubicBezTo>
                    <a:cubicBezTo>
                      <a:pt x="281" y="8"/>
                      <a:pt x="299" y="21"/>
                      <a:pt x="307" y="40"/>
                    </a:cubicBezTo>
                    <a:cubicBezTo>
                      <a:pt x="313" y="57"/>
                      <a:pt x="323" y="72"/>
                      <a:pt x="331" y="89"/>
                    </a:cubicBezTo>
                    <a:cubicBezTo>
                      <a:pt x="354" y="81"/>
                      <a:pt x="373" y="74"/>
                      <a:pt x="391" y="67"/>
                    </a:cubicBezTo>
                    <a:cubicBezTo>
                      <a:pt x="407" y="61"/>
                      <a:pt x="419" y="65"/>
                      <a:pt x="427" y="80"/>
                    </a:cubicBezTo>
                    <a:cubicBezTo>
                      <a:pt x="433" y="94"/>
                      <a:pt x="426" y="108"/>
                      <a:pt x="409" y="115"/>
                    </a:cubicBezTo>
                    <a:cubicBezTo>
                      <a:pt x="386" y="124"/>
                      <a:pt x="362" y="132"/>
                      <a:pt x="338" y="141"/>
                    </a:cubicBezTo>
                    <a:cubicBezTo>
                      <a:pt x="325" y="146"/>
                      <a:pt x="313" y="143"/>
                      <a:pt x="304" y="132"/>
                    </a:cubicBezTo>
                    <a:cubicBezTo>
                      <a:pt x="299" y="126"/>
                      <a:pt x="294" y="120"/>
                      <a:pt x="286" y="111"/>
                    </a:cubicBezTo>
                    <a:cubicBezTo>
                      <a:pt x="273" y="138"/>
                      <a:pt x="261" y="162"/>
                      <a:pt x="248" y="188"/>
                    </a:cubicBezTo>
                    <a:cubicBezTo>
                      <a:pt x="274" y="206"/>
                      <a:pt x="299" y="221"/>
                      <a:pt x="323" y="240"/>
                    </a:cubicBezTo>
                    <a:cubicBezTo>
                      <a:pt x="335" y="250"/>
                      <a:pt x="347" y="265"/>
                      <a:pt x="353" y="280"/>
                    </a:cubicBezTo>
                    <a:cubicBezTo>
                      <a:pt x="368" y="312"/>
                      <a:pt x="379" y="347"/>
                      <a:pt x="391" y="381"/>
                    </a:cubicBezTo>
                    <a:cubicBezTo>
                      <a:pt x="398" y="403"/>
                      <a:pt x="392" y="419"/>
                      <a:pt x="374" y="425"/>
                    </a:cubicBezTo>
                    <a:cubicBezTo>
                      <a:pt x="358" y="431"/>
                      <a:pt x="343" y="422"/>
                      <a:pt x="335" y="401"/>
                    </a:cubicBezTo>
                    <a:cubicBezTo>
                      <a:pt x="324" y="372"/>
                      <a:pt x="315" y="342"/>
                      <a:pt x="303" y="313"/>
                    </a:cubicBezTo>
                    <a:cubicBezTo>
                      <a:pt x="298" y="301"/>
                      <a:pt x="288" y="289"/>
                      <a:pt x="277" y="280"/>
                    </a:cubicBezTo>
                    <a:cubicBezTo>
                      <a:pt x="260" y="266"/>
                      <a:pt x="241" y="255"/>
                      <a:pt x="220" y="2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1" name="Freeform 7">
                <a:extLst>
                  <a:ext uri="{FF2B5EF4-FFF2-40B4-BE49-F238E27FC236}">
                    <a16:creationId xmlns:a16="http://schemas.microsoft.com/office/drawing/2014/main" id="{808A8369-DCF2-8ACA-0631-F7CBCDE2C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508126" y="3625850"/>
                <a:ext cx="366713" cy="369888"/>
              </a:xfrm>
              <a:custGeom>
                <a:avLst/>
                <a:gdLst>
                  <a:gd name="T0" fmla="*/ 108 w 108"/>
                  <a:gd name="T1" fmla="*/ 55 h 109"/>
                  <a:gd name="T2" fmla="*/ 55 w 108"/>
                  <a:gd name="T3" fmla="*/ 109 h 109"/>
                  <a:gd name="T4" fmla="*/ 0 w 108"/>
                  <a:gd name="T5" fmla="*/ 55 h 109"/>
                  <a:gd name="T6" fmla="*/ 55 w 108"/>
                  <a:gd name="T7" fmla="*/ 1 h 109"/>
                  <a:gd name="T8" fmla="*/ 108 w 108"/>
                  <a:gd name="T9" fmla="*/ 5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8" h="109">
                    <a:moveTo>
                      <a:pt x="108" y="55"/>
                    </a:moveTo>
                    <a:cubicBezTo>
                      <a:pt x="108" y="85"/>
                      <a:pt x="85" y="108"/>
                      <a:pt x="55" y="109"/>
                    </a:cubicBezTo>
                    <a:cubicBezTo>
                      <a:pt x="25" y="109"/>
                      <a:pt x="0" y="85"/>
                      <a:pt x="0" y="55"/>
                    </a:cubicBezTo>
                    <a:cubicBezTo>
                      <a:pt x="0" y="26"/>
                      <a:pt x="26" y="0"/>
                      <a:pt x="55" y="1"/>
                    </a:cubicBezTo>
                    <a:cubicBezTo>
                      <a:pt x="85" y="1"/>
                      <a:pt x="108" y="25"/>
                      <a:pt x="108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D547D7C5-2E6D-350F-C906-E81393B9F1D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069560" y="4190194"/>
              <a:ext cx="288337" cy="158008"/>
              <a:chOff x="6102764" y="2369472"/>
              <a:chExt cx="1570976" cy="860885"/>
            </a:xfrm>
            <a:solidFill>
              <a:sysClr val="window" lastClr="FFFFFF"/>
            </a:solidFill>
          </p:grpSpPr>
          <p:sp>
            <p:nvSpPr>
              <p:cNvPr id="478" name="Freeform 7">
                <a:extLst>
                  <a:ext uri="{FF2B5EF4-FFF2-40B4-BE49-F238E27FC236}">
                    <a16:creationId xmlns:a16="http://schemas.microsoft.com/office/drawing/2014/main" id="{CCF6B71E-CFA8-3CD8-F2D8-F86B9C2F4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2066" y="2693646"/>
                <a:ext cx="901674" cy="534565"/>
              </a:xfrm>
              <a:custGeom>
                <a:avLst/>
                <a:gdLst>
                  <a:gd name="T0" fmla="*/ 58 w 457"/>
                  <a:gd name="T1" fmla="*/ 271 h 271"/>
                  <a:gd name="T2" fmla="*/ 35 w 457"/>
                  <a:gd name="T3" fmla="*/ 271 h 271"/>
                  <a:gd name="T4" fmla="*/ 35 w 457"/>
                  <a:gd name="T5" fmla="*/ 259 h 271"/>
                  <a:gd name="T6" fmla="*/ 4 w 457"/>
                  <a:gd name="T7" fmla="*/ 243 h 271"/>
                  <a:gd name="T8" fmla="*/ 17 w 457"/>
                  <a:gd name="T9" fmla="*/ 214 h 271"/>
                  <a:gd name="T10" fmla="*/ 70 w 457"/>
                  <a:gd name="T11" fmla="*/ 194 h 271"/>
                  <a:gd name="T12" fmla="*/ 182 w 457"/>
                  <a:gd name="T13" fmla="*/ 183 h 271"/>
                  <a:gd name="T14" fmla="*/ 276 w 457"/>
                  <a:gd name="T15" fmla="*/ 207 h 271"/>
                  <a:gd name="T16" fmla="*/ 286 w 457"/>
                  <a:gd name="T17" fmla="*/ 204 h 271"/>
                  <a:gd name="T18" fmla="*/ 317 w 457"/>
                  <a:gd name="T19" fmla="*/ 157 h 271"/>
                  <a:gd name="T20" fmla="*/ 357 w 457"/>
                  <a:gd name="T21" fmla="*/ 96 h 271"/>
                  <a:gd name="T22" fmla="*/ 411 w 457"/>
                  <a:gd name="T23" fmla="*/ 16 h 271"/>
                  <a:gd name="T24" fmla="*/ 450 w 457"/>
                  <a:gd name="T25" fmla="*/ 13 h 271"/>
                  <a:gd name="T26" fmla="*/ 452 w 457"/>
                  <a:gd name="T27" fmla="*/ 38 h 271"/>
                  <a:gd name="T28" fmla="*/ 430 w 457"/>
                  <a:gd name="T29" fmla="*/ 72 h 271"/>
                  <a:gd name="T30" fmla="*/ 400 w 457"/>
                  <a:gd name="T31" fmla="*/ 116 h 271"/>
                  <a:gd name="T32" fmla="*/ 372 w 457"/>
                  <a:gd name="T33" fmla="*/ 161 h 271"/>
                  <a:gd name="T34" fmla="*/ 351 w 457"/>
                  <a:gd name="T35" fmla="*/ 190 h 271"/>
                  <a:gd name="T36" fmla="*/ 323 w 457"/>
                  <a:gd name="T37" fmla="*/ 234 h 271"/>
                  <a:gd name="T38" fmla="*/ 318 w 457"/>
                  <a:gd name="T39" fmla="*/ 240 h 271"/>
                  <a:gd name="T40" fmla="*/ 309 w 457"/>
                  <a:gd name="T41" fmla="*/ 271 h 271"/>
                  <a:gd name="T42" fmla="*/ 286 w 457"/>
                  <a:gd name="T43" fmla="*/ 271 h 271"/>
                  <a:gd name="T44" fmla="*/ 285 w 457"/>
                  <a:gd name="T45" fmla="*/ 270 h 271"/>
                  <a:gd name="T46" fmla="*/ 273 w 457"/>
                  <a:gd name="T47" fmla="*/ 255 h 271"/>
                  <a:gd name="T48" fmla="*/ 152 w 457"/>
                  <a:gd name="T49" fmla="*/ 227 h 271"/>
                  <a:gd name="T50" fmla="*/ 106 w 457"/>
                  <a:gd name="T51" fmla="*/ 233 h 271"/>
                  <a:gd name="T52" fmla="*/ 63 w 457"/>
                  <a:gd name="T53" fmla="*/ 247 h 271"/>
                  <a:gd name="T54" fmla="*/ 58 w 457"/>
                  <a:gd name="T55" fmla="*/ 254 h 271"/>
                  <a:gd name="T56" fmla="*/ 58 w 457"/>
                  <a:gd name="T57" fmla="*/ 271 h 2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57" h="271">
                    <a:moveTo>
                      <a:pt x="58" y="271"/>
                    </a:moveTo>
                    <a:cubicBezTo>
                      <a:pt x="50" y="271"/>
                      <a:pt x="43" y="271"/>
                      <a:pt x="35" y="271"/>
                    </a:cubicBezTo>
                    <a:cubicBezTo>
                      <a:pt x="35" y="267"/>
                      <a:pt x="35" y="263"/>
                      <a:pt x="35" y="259"/>
                    </a:cubicBezTo>
                    <a:cubicBezTo>
                      <a:pt x="17" y="260"/>
                      <a:pt x="8" y="255"/>
                      <a:pt x="4" y="243"/>
                    </a:cubicBezTo>
                    <a:cubicBezTo>
                      <a:pt x="0" y="232"/>
                      <a:pt x="7" y="218"/>
                      <a:pt x="17" y="214"/>
                    </a:cubicBezTo>
                    <a:cubicBezTo>
                      <a:pt x="35" y="207"/>
                      <a:pt x="53" y="200"/>
                      <a:pt x="70" y="194"/>
                    </a:cubicBezTo>
                    <a:cubicBezTo>
                      <a:pt x="107" y="183"/>
                      <a:pt x="143" y="175"/>
                      <a:pt x="182" y="183"/>
                    </a:cubicBezTo>
                    <a:cubicBezTo>
                      <a:pt x="214" y="190"/>
                      <a:pt x="245" y="196"/>
                      <a:pt x="276" y="207"/>
                    </a:cubicBezTo>
                    <a:cubicBezTo>
                      <a:pt x="281" y="208"/>
                      <a:pt x="283" y="208"/>
                      <a:pt x="286" y="204"/>
                    </a:cubicBezTo>
                    <a:cubicBezTo>
                      <a:pt x="296" y="188"/>
                      <a:pt x="307" y="173"/>
                      <a:pt x="317" y="157"/>
                    </a:cubicBezTo>
                    <a:cubicBezTo>
                      <a:pt x="331" y="137"/>
                      <a:pt x="344" y="116"/>
                      <a:pt x="357" y="96"/>
                    </a:cubicBezTo>
                    <a:cubicBezTo>
                      <a:pt x="375" y="69"/>
                      <a:pt x="393" y="43"/>
                      <a:pt x="411" y="16"/>
                    </a:cubicBezTo>
                    <a:cubicBezTo>
                      <a:pt x="421" y="1"/>
                      <a:pt x="439" y="0"/>
                      <a:pt x="450" y="13"/>
                    </a:cubicBezTo>
                    <a:cubicBezTo>
                      <a:pt x="456" y="20"/>
                      <a:pt x="457" y="31"/>
                      <a:pt x="452" y="38"/>
                    </a:cubicBezTo>
                    <a:cubicBezTo>
                      <a:pt x="445" y="50"/>
                      <a:pt x="438" y="61"/>
                      <a:pt x="430" y="72"/>
                    </a:cubicBezTo>
                    <a:cubicBezTo>
                      <a:pt x="420" y="87"/>
                      <a:pt x="410" y="101"/>
                      <a:pt x="400" y="116"/>
                    </a:cubicBezTo>
                    <a:cubicBezTo>
                      <a:pt x="391" y="131"/>
                      <a:pt x="382" y="146"/>
                      <a:pt x="372" y="161"/>
                    </a:cubicBezTo>
                    <a:cubicBezTo>
                      <a:pt x="365" y="171"/>
                      <a:pt x="358" y="180"/>
                      <a:pt x="351" y="190"/>
                    </a:cubicBezTo>
                    <a:cubicBezTo>
                      <a:pt x="341" y="204"/>
                      <a:pt x="332" y="219"/>
                      <a:pt x="323" y="234"/>
                    </a:cubicBezTo>
                    <a:cubicBezTo>
                      <a:pt x="321" y="236"/>
                      <a:pt x="320" y="238"/>
                      <a:pt x="318" y="240"/>
                    </a:cubicBezTo>
                    <a:cubicBezTo>
                      <a:pt x="312" y="249"/>
                      <a:pt x="304" y="258"/>
                      <a:pt x="309" y="271"/>
                    </a:cubicBezTo>
                    <a:cubicBezTo>
                      <a:pt x="300" y="271"/>
                      <a:pt x="293" y="271"/>
                      <a:pt x="286" y="271"/>
                    </a:cubicBezTo>
                    <a:cubicBezTo>
                      <a:pt x="286" y="271"/>
                      <a:pt x="285" y="270"/>
                      <a:pt x="285" y="270"/>
                    </a:cubicBezTo>
                    <a:cubicBezTo>
                      <a:pt x="287" y="260"/>
                      <a:pt x="282" y="257"/>
                      <a:pt x="273" y="255"/>
                    </a:cubicBezTo>
                    <a:cubicBezTo>
                      <a:pt x="234" y="242"/>
                      <a:pt x="193" y="232"/>
                      <a:pt x="152" y="227"/>
                    </a:cubicBezTo>
                    <a:cubicBezTo>
                      <a:pt x="136" y="225"/>
                      <a:pt x="121" y="229"/>
                      <a:pt x="106" y="233"/>
                    </a:cubicBezTo>
                    <a:cubicBezTo>
                      <a:pt x="91" y="237"/>
                      <a:pt x="77" y="242"/>
                      <a:pt x="63" y="247"/>
                    </a:cubicBezTo>
                    <a:cubicBezTo>
                      <a:pt x="59" y="248"/>
                      <a:pt x="57" y="250"/>
                      <a:pt x="58" y="254"/>
                    </a:cubicBezTo>
                    <a:cubicBezTo>
                      <a:pt x="58" y="259"/>
                      <a:pt x="58" y="265"/>
                      <a:pt x="58" y="2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9" name="Freeform 8">
                <a:extLst>
                  <a:ext uri="{FF2B5EF4-FFF2-40B4-BE49-F238E27FC236}">
                    <a16:creationId xmlns:a16="http://schemas.microsoft.com/office/drawing/2014/main" id="{3E5FC30E-F75C-7FCF-B7CC-CA27F8888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53219" y="2369472"/>
                <a:ext cx="382138" cy="356376"/>
              </a:xfrm>
              <a:custGeom>
                <a:avLst/>
                <a:gdLst>
                  <a:gd name="T0" fmla="*/ 172 w 194"/>
                  <a:gd name="T1" fmla="*/ 181 h 181"/>
                  <a:gd name="T2" fmla="*/ 147 w 194"/>
                  <a:gd name="T3" fmla="*/ 176 h 181"/>
                  <a:gd name="T4" fmla="*/ 119 w 194"/>
                  <a:gd name="T5" fmla="*/ 164 h 181"/>
                  <a:gd name="T6" fmla="*/ 88 w 194"/>
                  <a:gd name="T7" fmla="*/ 157 h 181"/>
                  <a:gd name="T8" fmla="*/ 36 w 194"/>
                  <a:gd name="T9" fmla="*/ 141 h 181"/>
                  <a:gd name="T10" fmla="*/ 0 w 194"/>
                  <a:gd name="T11" fmla="*/ 83 h 181"/>
                  <a:gd name="T12" fmla="*/ 11 w 194"/>
                  <a:gd name="T13" fmla="*/ 50 h 181"/>
                  <a:gd name="T14" fmla="*/ 150 w 194"/>
                  <a:gd name="T15" fmla="*/ 24 h 181"/>
                  <a:gd name="T16" fmla="*/ 182 w 194"/>
                  <a:gd name="T17" fmla="*/ 54 h 181"/>
                  <a:gd name="T18" fmla="*/ 184 w 194"/>
                  <a:gd name="T19" fmla="*/ 110 h 181"/>
                  <a:gd name="T20" fmla="*/ 168 w 194"/>
                  <a:gd name="T21" fmla="*/ 131 h 181"/>
                  <a:gd name="T22" fmla="*/ 173 w 194"/>
                  <a:gd name="T23" fmla="*/ 180 h 181"/>
                  <a:gd name="T24" fmla="*/ 172 w 194"/>
                  <a:gd name="T25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4" h="181">
                    <a:moveTo>
                      <a:pt x="172" y="181"/>
                    </a:moveTo>
                    <a:cubicBezTo>
                      <a:pt x="164" y="180"/>
                      <a:pt x="155" y="178"/>
                      <a:pt x="147" y="176"/>
                    </a:cubicBezTo>
                    <a:cubicBezTo>
                      <a:pt x="138" y="172"/>
                      <a:pt x="129" y="167"/>
                      <a:pt x="119" y="164"/>
                    </a:cubicBezTo>
                    <a:cubicBezTo>
                      <a:pt x="109" y="161"/>
                      <a:pt x="98" y="159"/>
                      <a:pt x="88" y="157"/>
                    </a:cubicBezTo>
                    <a:cubicBezTo>
                      <a:pt x="69" y="154"/>
                      <a:pt x="52" y="152"/>
                      <a:pt x="36" y="141"/>
                    </a:cubicBezTo>
                    <a:cubicBezTo>
                      <a:pt x="15" y="127"/>
                      <a:pt x="1" y="109"/>
                      <a:pt x="0" y="83"/>
                    </a:cubicBezTo>
                    <a:cubicBezTo>
                      <a:pt x="0" y="71"/>
                      <a:pt x="5" y="60"/>
                      <a:pt x="11" y="50"/>
                    </a:cubicBezTo>
                    <a:cubicBezTo>
                      <a:pt x="41" y="6"/>
                      <a:pt x="111" y="0"/>
                      <a:pt x="150" y="24"/>
                    </a:cubicBezTo>
                    <a:cubicBezTo>
                      <a:pt x="164" y="32"/>
                      <a:pt x="174" y="41"/>
                      <a:pt x="182" y="54"/>
                    </a:cubicBezTo>
                    <a:cubicBezTo>
                      <a:pt x="193" y="72"/>
                      <a:pt x="194" y="91"/>
                      <a:pt x="184" y="110"/>
                    </a:cubicBezTo>
                    <a:cubicBezTo>
                      <a:pt x="180" y="118"/>
                      <a:pt x="174" y="125"/>
                      <a:pt x="168" y="131"/>
                    </a:cubicBezTo>
                    <a:cubicBezTo>
                      <a:pt x="155" y="144"/>
                      <a:pt x="157" y="165"/>
                      <a:pt x="173" y="180"/>
                    </a:cubicBezTo>
                    <a:cubicBezTo>
                      <a:pt x="172" y="180"/>
                      <a:pt x="172" y="181"/>
                      <a:pt x="172" y="1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0" name="Freeform 9">
                <a:extLst>
                  <a:ext uri="{FF2B5EF4-FFF2-40B4-BE49-F238E27FC236}">
                    <a16:creationId xmlns:a16="http://schemas.microsoft.com/office/drawing/2014/main" id="{03BFF76F-1576-93BD-0AFB-87F45FC3B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2764" y="2719408"/>
                <a:ext cx="395019" cy="510949"/>
              </a:xfrm>
              <a:custGeom>
                <a:avLst/>
                <a:gdLst>
                  <a:gd name="T0" fmla="*/ 201 w 201"/>
                  <a:gd name="T1" fmla="*/ 239 h 259"/>
                  <a:gd name="T2" fmla="*/ 201 w 201"/>
                  <a:gd name="T3" fmla="*/ 246 h 259"/>
                  <a:gd name="T4" fmla="*/ 188 w 201"/>
                  <a:gd name="T5" fmla="*/ 258 h 259"/>
                  <a:gd name="T6" fmla="*/ 177 w 201"/>
                  <a:gd name="T7" fmla="*/ 258 h 259"/>
                  <a:gd name="T8" fmla="*/ 172 w 201"/>
                  <a:gd name="T9" fmla="*/ 255 h 259"/>
                  <a:gd name="T10" fmla="*/ 168 w 201"/>
                  <a:gd name="T11" fmla="*/ 253 h 259"/>
                  <a:gd name="T12" fmla="*/ 67 w 201"/>
                  <a:gd name="T13" fmla="*/ 253 h 259"/>
                  <a:gd name="T14" fmla="*/ 62 w 201"/>
                  <a:gd name="T15" fmla="*/ 256 h 259"/>
                  <a:gd name="T16" fmla="*/ 59 w 201"/>
                  <a:gd name="T17" fmla="*/ 258 h 259"/>
                  <a:gd name="T18" fmla="*/ 50 w 201"/>
                  <a:gd name="T19" fmla="*/ 258 h 259"/>
                  <a:gd name="T20" fmla="*/ 34 w 201"/>
                  <a:gd name="T21" fmla="*/ 245 h 259"/>
                  <a:gd name="T22" fmla="*/ 20 w 201"/>
                  <a:gd name="T23" fmla="*/ 162 h 259"/>
                  <a:gd name="T24" fmla="*/ 2 w 201"/>
                  <a:gd name="T25" fmla="*/ 20 h 259"/>
                  <a:gd name="T26" fmla="*/ 22 w 201"/>
                  <a:gd name="T27" fmla="*/ 7 h 259"/>
                  <a:gd name="T28" fmla="*/ 58 w 201"/>
                  <a:gd name="T29" fmla="*/ 47 h 259"/>
                  <a:gd name="T30" fmla="*/ 58 w 201"/>
                  <a:gd name="T31" fmla="*/ 76 h 259"/>
                  <a:gd name="T32" fmla="*/ 52 w 201"/>
                  <a:gd name="T33" fmla="*/ 116 h 259"/>
                  <a:gd name="T34" fmla="*/ 80 w 201"/>
                  <a:gd name="T35" fmla="*/ 154 h 259"/>
                  <a:gd name="T36" fmla="*/ 117 w 201"/>
                  <a:gd name="T37" fmla="*/ 159 h 259"/>
                  <a:gd name="T38" fmla="*/ 148 w 201"/>
                  <a:gd name="T39" fmla="*/ 164 h 259"/>
                  <a:gd name="T40" fmla="*/ 199 w 201"/>
                  <a:gd name="T41" fmla="*/ 220 h 259"/>
                  <a:gd name="T42" fmla="*/ 201 w 201"/>
                  <a:gd name="T43" fmla="*/ 239 h 259"/>
                  <a:gd name="T44" fmla="*/ 201 w 201"/>
                  <a:gd name="T45" fmla="*/ 239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1" h="259">
                    <a:moveTo>
                      <a:pt x="201" y="239"/>
                    </a:moveTo>
                    <a:cubicBezTo>
                      <a:pt x="201" y="241"/>
                      <a:pt x="201" y="244"/>
                      <a:pt x="201" y="246"/>
                    </a:cubicBezTo>
                    <a:cubicBezTo>
                      <a:pt x="200" y="253"/>
                      <a:pt x="195" y="258"/>
                      <a:pt x="188" y="258"/>
                    </a:cubicBezTo>
                    <a:cubicBezTo>
                      <a:pt x="185" y="258"/>
                      <a:pt x="181" y="259"/>
                      <a:pt x="177" y="258"/>
                    </a:cubicBezTo>
                    <a:cubicBezTo>
                      <a:pt x="176" y="258"/>
                      <a:pt x="174" y="256"/>
                      <a:pt x="172" y="255"/>
                    </a:cubicBezTo>
                    <a:cubicBezTo>
                      <a:pt x="171" y="255"/>
                      <a:pt x="169" y="253"/>
                      <a:pt x="168" y="253"/>
                    </a:cubicBezTo>
                    <a:cubicBezTo>
                      <a:pt x="134" y="253"/>
                      <a:pt x="101" y="253"/>
                      <a:pt x="67" y="253"/>
                    </a:cubicBezTo>
                    <a:cubicBezTo>
                      <a:pt x="65" y="253"/>
                      <a:pt x="64" y="255"/>
                      <a:pt x="62" y="256"/>
                    </a:cubicBezTo>
                    <a:cubicBezTo>
                      <a:pt x="61" y="257"/>
                      <a:pt x="60" y="258"/>
                      <a:pt x="59" y="258"/>
                    </a:cubicBezTo>
                    <a:cubicBezTo>
                      <a:pt x="56" y="259"/>
                      <a:pt x="53" y="258"/>
                      <a:pt x="50" y="258"/>
                    </a:cubicBezTo>
                    <a:cubicBezTo>
                      <a:pt x="41" y="258"/>
                      <a:pt x="35" y="254"/>
                      <a:pt x="34" y="245"/>
                    </a:cubicBezTo>
                    <a:cubicBezTo>
                      <a:pt x="29" y="217"/>
                      <a:pt x="24" y="190"/>
                      <a:pt x="20" y="162"/>
                    </a:cubicBezTo>
                    <a:cubicBezTo>
                      <a:pt x="14" y="115"/>
                      <a:pt x="8" y="68"/>
                      <a:pt x="2" y="20"/>
                    </a:cubicBezTo>
                    <a:cubicBezTo>
                      <a:pt x="0" y="5"/>
                      <a:pt x="8" y="0"/>
                      <a:pt x="22" y="7"/>
                    </a:cubicBezTo>
                    <a:cubicBezTo>
                      <a:pt x="39" y="15"/>
                      <a:pt x="52" y="28"/>
                      <a:pt x="58" y="47"/>
                    </a:cubicBezTo>
                    <a:cubicBezTo>
                      <a:pt x="60" y="56"/>
                      <a:pt x="59" y="66"/>
                      <a:pt x="58" y="76"/>
                    </a:cubicBezTo>
                    <a:cubicBezTo>
                      <a:pt x="57" y="89"/>
                      <a:pt x="53" y="103"/>
                      <a:pt x="52" y="116"/>
                    </a:cubicBezTo>
                    <a:cubicBezTo>
                      <a:pt x="51" y="136"/>
                      <a:pt x="61" y="149"/>
                      <a:pt x="80" y="154"/>
                    </a:cubicBezTo>
                    <a:cubicBezTo>
                      <a:pt x="92" y="157"/>
                      <a:pt x="104" y="158"/>
                      <a:pt x="117" y="159"/>
                    </a:cubicBezTo>
                    <a:cubicBezTo>
                      <a:pt x="127" y="161"/>
                      <a:pt x="138" y="161"/>
                      <a:pt x="148" y="164"/>
                    </a:cubicBezTo>
                    <a:cubicBezTo>
                      <a:pt x="177" y="172"/>
                      <a:pt x="194" y="190"/>
                      <a:pt x="199" y="220"/>
                    </a:cubicBezTo>
                    <a:cubicBezTo>
                      <a:pt x="200" y="226"/>
                      <a:pt x="200" y="233"/>
                      <a:pt x="201" y="239"/>
                    </a:cubicBezTo>
                    <a:cubicBezTo>
                      <a:pt x="201" y="239"/>
                      <a:pt x="201" y="239"/>
                      <a:pt x="201" y="2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1" name="Freeform 10">
                <a:extLst>
                  <a:ext uri="{FF2B5EF4-FFF2-40B4-BE49-F238E27FC236}">
                    <a16:creationId xmlns:a16="http://schemas.microsoft.com/office/drawing/2014/main" id="{64E0F8B4-06EA-DDD3-5598-4D5C3D0D1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0162" y="2667884"/>
                <a:ext cx="371404" cy="541005"/>
              </a:xfrm>
              <a:custGeom>
                <a:avLst/>
                <a:gdLst>
                  <a:gd name="T0" fmla="*/ 110 w 188"/>
                  <a:gd name="T1" fmla="*/ 61 h 274"/>
                  <a:gd name="T2" fmla="*/ 101 w 188"/>
                  <a:gd name="T3" fmla="*/ 50 h 274"/>
                  <a:gd name="T4" fmla="*/ 104 w 188"/>
                  <a:gd name="T5" fmla="*/ 47 h 274"/>
                  <a:gd name="T6" fmla="*/ 108 w 188"/>
                  <a:gd name="T7" fmla="*/ 51 h 274"/>
                  <a:gd name="T8" fmla="*/ 124 w 188"/>
                  <a:gd name="T9" fmla="*/ 58 h 274"/>
                  <a:gd name="T10" fmla="*/ 135 w 188"/>
                  <a:gd name="T11" fmla="*/ 82 h 274"/>
                  <a:gd name="T12" fmla="*/ 140 w 188"/>
                  <a:gd name="T13" fmla="*/ 94 h 274"/>
                  <a:gd name="T14" fmla="*/ 138 w 188"/>
                  <a:gd name="T15" fmla="*/ 94 h 274"/>
                  <a:gd name="T16" fmla="*/ 116 w 188"/>
                  <a:gd name="T17" fmla="*/ 90 h 274"/>
                  <a:gd name="T18" fmla="*/ 94 w 188"/>
                  <a:gd name="T19" fmla="*/ 94 h 274"/>
                  <a:gd name="T20" fmla="*/ 62 w 188"/>
                  <a:gd name="T21" fmla="*/ 70 h 274"/>
                  <a:gd name="T22" fmla="*/ 59 w 188"/>
                  <a:gd name="T23" fmla="*/ 37 h 274"/>
                  <a:gd name="T24" fmla="*/ 47 w 188"/>
                  <a:gd name="T25" fmla="*/ 17 h 274"/>
                  <a:gd name="T26" fmla="*/ 26 w 188"/>
                  <a:gd name="T27" fmla="*/ 23 h 274"/>
                  <a:gd name="T28" fmla="*/ 23 w 188"/>
                  <a:gd name="T29" fmla="*/ 29 h 274"/>
                  <a:gd name="T30" fmla="*/ 30 w 188"/>
                  <a:gd name="T31" fmla="*/ 92 h 274"/>
                  <a:gd name="T32" fmla="*/ 79 w 188"/>
                  <a:gd name="T33" fmla="*/ 131 h 274"/>
                  <a:gd name="T34" fmla="*/ 106 w 188"/>
                  <a:gd name="T35" fmla="*/ 136 h 274"/>
                  <a:gd name="T36" fmla="*/ 111 w 188"/>
                  <a:gd name="T37" fmla="*/ 135 h 274"/>
                  <a:gd name="T38" fmla="*/ 121 w 188"/>
                  <a:gd name="T39" fmla="*/ 133 h 274"/>
                  <a:gd name="T40" fmla="*/ 117 w 188"/>
                  <a:gd name="T41" fmla="*/ 138 h 274"/>
                  <a:gd name="T42" fmla="*/ 131 w 188"/>
                  <a:gd name="T43" fmla="*/ 145 h 274"/>
                  <a:gd name="T44" fmla="*/ 175 w 188"/>
                  <a:gd name="T45" fmla="*/ 197 h 274"/>
                  <a:gd name="T46" fmla="*/ 188 w 188"/>
                  <a:gd name="T47" fmla="*/ 245 h 274"/>
                  <a:gd name="T48" fmla="*/ 188 w 188"/>
                  <a:gd name="T49" fmla="*/ 253 h 274"/>
                  <a:gd name="T50" fmla="*/ 166 w 188"/>
                  <a:gd name="T51" fmla="*/ 274 h 274"/>
                  <a:gd name="T52" fmla="*/ 147 w 188"/>
                  <a:gd name="T53" fmla="*/ 252 h 274"/>
                  <a:gd name="T54" fmla="*/ 139 w 188"/>
                  <a:gd name="T55" fmla="*/ 217 h 274"/>
                  <a:gd name="T56" fmla="*/ 73 w 188"/>
                  <a:gd name="T57" fmla="*/ 175 h 274"/>
                  <a:gd name="T58" fmla="*/ 57 w 188"/>
                  <a:gd name="T59" fmla="*/ 175 h 274"/>
                  <a:gd name="T60" fmla="*/ 24 w 188"/>
                  <a:gd name="T61" fmla="*/ 155 h 274"/>
                  <a:gd name="T62" fmla="*/ 4 w 188"/>
                  <a:gd name="T63" fmla="*/ 46 h 274"/>
                  <a:gd name="T64" fmla="*/ 30 w 188"/>
                  <a:gd name="T65" fmla="*/ 6 h 274"/>
                  <a:gd name="T66" fmla="*/ 62 w 188"/>
                  <a:gd name="T67" fmla="*/ 14 h 274"/>
                  <a:gd name="T68" fmla="*/ 73 w 188"/>
                  <a:gd name="T69" fmla="*/ 48 h 274"/>
                  <a:gd name="T70" fmla="*/ 88 w 188"/>
                  <a:gd name="T71" fmla="*/ 63 h 274"/>
                  <a:gd name="T72" fmla="*/ 110 w 188"/>
                  <a:gd name="T73" fmla="*/ 61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88" h="274">
                    <a:moveTo>
                      <a:pt x="110" y="61"/>
                    </a:moveTo>
                    <a:cubicBezTo>
                      <a:pt x="106" y="57"/>
                      <a:pt x="103" y="53"/>
                      <a:pt x="101" y="50"/>
                    </a:cubicBezTo>
                    <a:cubicBezTo>
                      <a:pt x="102" y="49"/>
                      <a:pt x="103" y="48"/>
                      <a:pt x="104" y="47"/>
                    </a:cubicBezTo>
                    <a:cubicBezTo>
                      <a:pt x="106" y="49"/>
                      <a:pt x="107" y="50"/>
                      <a:pt x="108" y="51"/>
                    </a:cubicBezTo>
                    <a:cubicBezTo>
                      <a:pt x="112" y="56"/>
                      <a:pt x="116" y="59"/>
                      <a:pt x="124" y="58"/>
                    </a:cubicBezTo>
                    <a:cubicBezTo>
                      <a:pt x="133" y="57"/>
                      <a:pt x="143" y="70"/>
                      <a:pt x="135" y="82"/>
                    </a:cubicBezTo>
                    <a:cubicBezTo>
                      <a:pt x="136" y="86"/>
                      <a:pt x="138" y="90"/>
                      <a:pt x="140" y="94"/>
                    </a:cubicBezTo>
                    <a:cubicBezTo>
                      <a:pt x="139" y="94"/>
                      <a:pt x="138" y="94"/>
                      <a:pt x="138" y="94"/>
                    </a:cubicBezTo>
                    <a:cubicBezTo>
                      <a:pt x="132" y="86"/>
                      <a:pt x="124" y="88"/>
                      <a:pt x="116" y="90"/>
                    </a:cubicBezTo>
                    <a:cubicBezTo>
                      <a:pt x="109" y="92"/>
                      <a:pt x="102" y="93"/>
                      <a:pt x="94" y="94"/>
                    </a:cubicBezTo>
                    <a:cubicBezTo>
                      <a:pt x="78" y="95"/>
                      <a:pt x="69" y="88"/>
                      <a:pt x="62" y="70"/>
                    </a:cubicBezTo>
                    <a:cubicBezTo>
                      <a:pt x="59" y="60"/>
                      <a:pt x="60" y="48"/>
                      <a:pt x="59" y="37"/>
                    </a:cubicBezTo>
                    <a:cubicBezTo>
                      <a:pt x="59" y="28"/>
                      <a:pt x="55" y="20"/>
                      <a:pt x="47" y="17"/>
                    </a:cubicBezTo>
                    <a:cubicBezTo>
                      <a:pt x="40" y="14"/>
                      <a:pt x="31" y="17"/>
                      <a:pt x="26" y="23"/>
                    </a:cubicBezTo>
                    <a:cubicBezTo>
                      <a:pt x="25" y="25"/>
                      <a:pt x="23" y="27"/>
                      <a:pt x="23" y="29"/>
                    </a:cubicBezTo>
                    <a:cubicBezTo>
                      <a:pt x="21" y="50"/>
                      <a:pt x="20" y="72"/>
                      <a:pt x="30" y="92"/>
                    </a:cubicBezTo>
                    <a:cubicBezTo>
                      <a:pt x="41" y="112"/>
                      <a:pt x="56" y="126"/>
                      <a:pt x="79" y="131"/>
                    </a:cubicBezTo>
                    <a:cubicBezTo>
                      <a:pt x="88" y="132"/>
                      <a:pt x="97" y="134"/>
                      <a:pt x="106" y="136"/>
                    </a:cubicBezTo>
                    <a:cubicBezTo>
                      <a:pt x="108" y="136"/>
                      <a:pt x="109" y="136"/>
                      <a:pt x="111" y="135"/>
                    </a:cubicBezTo>
                    <a:cubicBezTo>
                      <a:pt x="114" y="134"/>
                      <a:pt x="117" y="133"/>
                      <a:pt x="121" y="133"/>
                    </a:cubicBezTo>
                    <a:cubicBezTo>
                      <a:pt x="120" y="134"/>
                      <a:pt x="119" y="136"/>
                      <a:pt x="117" y="138"/>
                    </a:cubicBezTo>
                    <a:cubicBezTo>
                      <a:pt x="122" y="140"/>
                      <a:pt x="126" y="143"/>
                      <a:pt x="131" y="145"/>
                    </a:cubicBezTo>
                    <a:cubicBezTo>
                      <a:pt x="153" y="156"/>
                      <a:pt x="167" y="174"/>
                      <a:pt x="175" y="197"/>
                    </a:cubicBezTo>
                    <a:cubicBezTo>
                      <a:pt x="182" y="213"/>
                      <a:pt x="187" y="228"/>
                      <a:pt x="188" y="245"/>
                    </a:cubicBezTo>
                    <a:cubicBezTo>
                      <a:pt x="188" y="248"/>
                      <a:pt x="188" y="250"/>
                      <a:pt x="188" y="253"/>
                    </a:cubicBezTo>
                    <a:cubicBezTo>
                      <a:pt x="187" y="265"/>
                      <a:pt x="177" y="274"/>
                      <a:pt x="166" y="274"/>
                    </a:cubicBezTo>
                    <a:cubicBezTo>
                      <a:pt x="155" y="273"/>
                      <a:pt x="148" y="265"/>
                      <a:pt x="147" y="252"/>
                    </a:cubicBezTo>
                    <a:cubicBezTo>
                      <a:pt x="145" y="241"/>
                      <a:pt x="144" y="228"/>
                      <a:pt x="139" y="217"/>
                    </a:cubicBezTo>
                    <a:cubicBezTo>
                      <a:pt x="124" y="182"/>
                      <a:pt x="111" y="174"/>
                      <a:pt x="73" y="175"/>
                    </a:cubicBezTo>
                    <a:cubicBezTo>
                      <a:pt x="67" y="175"/>
                      <a:pt x="62" y="175"/>
                      <a:pt x="57" y="175"/>
                    </a:cubicBezTo>
                    <a:cubicBezTo>
                      <a:pt x="41" y="175"/>
                      <a:pt x="30" y="168"/>
                      <a:pt x="24" y="155"/>
                    </a:cubicBezTo>
                    <a:cubicBezTo>
                      <a:pt x="8" y="120"/>
                      <a:pt x="0" y="84"/>
                      <a:pt x="4" y="46"/>
                    </a:cubicBezTo>
                    <a:cubicBezTo>
                      <a:pt x="5" y="28"/>
                      <a:pt x="14" y="14"/>
                      <a:pt x="30" y="6"/>
                    </a:cubicBezTo>
                    <a:cubicBezTo>
                      <a:pt x="42" y="0"/>
                      <a:pt x="53" y="3"/>
                      <a:pt x="62" y="14"/>
                    </a:cubicBezTo>
                    <a:cubicBezTo>
                      <a:pt x="70" y="24"/>
                      <a:pt x="72" y="35"/>
                      <a:pt x="73" y="48"/>
                    </a:cubicBezTo>
                    <a:cubicBezTo>
                      <a:pt x="73" y="61"/>
                      <a:pt x="74" y="63"/>
                      <a:pt x="88" y="63"/>
                    </a:cubicBezTo>
                    <a:cubicBezTo>
                      <a:pt x="95" y="63"/>
                      <a:pt x="101" y="62"/>
                      <a:pt x="110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2" name="Freeform 11">
                <a:extLst>
                  <a:ext uri="{FF2B5EF4-FFF2-40B4-BE49-F238E27FC236}">
                    <a16:creationId xmlns:a16="http://schemas.microsoft.com/office/drawing/2014/main" id="{E8837F0A-1DC3-3417-A940-4F9E8FBC3C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262" y="2408117"/>
                <a:ext cx="296264" cy="264062"/>
              </a:xfrm>
              <a:custGeom>
                <a:avLst/>
                <a:gdLst>
                  <a:gd name="T0" fmla="*/ 19 w 151"/>
                  <a:gd name="T1" fmla="*/ 132 h 134"/>
                  <a:gd name="T2" fmla="*/ 15 w 151"/>
                  <a:gd name="T3" fmla="*/ 86 h 134"/>
                  <a:gd name="T4" fmla="*/ 16 w 151"/>
                  <a:gd name="T5" fmla="*/ 29 h 134"/>
                  <a:gd name="T6" fmla="*/ 95 w 151"/>
                  <a:gd name="T7" fmla="*/ 4 h 134"/>
                  <a:gd name="T8" fmla="*/ 139 w 151"/>
                  <a:gd name="T9" fmla="*/ 28 h 134"/>
                  <a:gd name="T10" fmla="*/ 149 w 151"/>
                  <a:gd name="T11" fmla="*/ 65 h 134"/>
                  <a:gd name="T12" fmla="*/ 108 w 151"/>
                  <a:gd name="T13" fmla="*/ 109 h 134"/>
                  <a:gd name="T14" fmla="*/ 76 w 151"/>
                  <a:gd name="T15" fmla="*/ 114 h 134"/>
                  <a:gd name="T16" fmla="*/ 45 w 151"/>
                  <a:gd name="T17" fmla="*/ 126 h 134"/>
                  <a:gd name="T18" fmla="*/ 21 w 151"/>
                  <a:gd name="T19" fmla="*/ 134 h 134"/>
                  <a:gd name="T20" fmla="*/ 19 w 151"/>
                  <a:gd name="T21" fmla="*/ 132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1" h="134">
                    <a:moveTo>
                      <a:pt x="19" y="132"/>
                    </a:moveTo>
                    <a:cubicBezTo>
                      <a:pt x="34" y="115"/>
                      <a:pt x="29" y="100"/>
                      <a:pt x="15" y="86"/>
                    </a:cubicBezTo>
                    <a:cubicBezTo>
                      <a:pt x="0" y="70"/>
                      <a:pt x="3" y="43"/>
                      <a:pt x="16" y="29"/>
                    </a:cubicBezTo>
                    <a:cubicBezTo>
                      <a:pt x="37" y="3"/>
                      <a:pt x="65" y="0"/>
                      <a:pt x="95" y="4"/>
                    </a:cubicBezTo>
                    <a:cubicBezTo>
                      <a:pt x="113" y="6"/>
                      <a:pt x="127" y="15"/>
                      <a:pt x="139" y="28"/>
                    </a:cubicBezTo>
                    <a:cubicBezTo>
                      <a:pt x="148" y="39"/>
                      <a:pt x="151" y="52"/>
                      <a:pt x="149" y="65"/>
                    </a:cubicBezTo>
                    <a:cubicBezTo>
                      <a:pt x="145" y="88"/>
                      <a:pt x="130" y="102"/>
                      <a:pt x="108" y="109"/>
                    </a:cubicBezTo>
                    <a:cubicBezTo>
                      <a:pt x="98" y="112"/>
                      <a:pt x="87" y="112"/>
                      <a:pt x="76" y="114"/>
                    </a:cubicBezTo>
                    <a:cubicBezTo>
                      <a:pt x="66" y="117"/>
                      <a:pt x="55" y="122"/>
                      <a:pt x="45" y="126"/>
                    </a:cubicBezTo>
                    <a:cubicBezTo>
                      <a:pt x="37" y="128"/>
                      <a:pt x="29" y="131"/>
                      <a:pt x="21" y="134"/>
                    </a:cubicBezTo>
                    <a:cubicBezTo>
                      <a:pt x="20" y="133"/>
                      <a:pt x="20" y="132"/>
                      <a:pt x="19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3" name="Freeform 12">
                <a:extLst>
                  <a:ext uri="{FF2B5EF4-FFF2-40B4-BE49-F238E27FC236}">
                    <a16:creationId xmlns:a16="http://schemas.microsoft.com/office/drawing/2014/main" id="{FFF5E31F-3D4F-1848-B544-8556CA9AE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3646" y="2753758"/>
                <a:ext cx="605410" cy="313439"/>
              </a:xfrm>
              <a:custGeom>
                <a:avLst/>
                <a:gdLst>
                  <a:gd name="T0" fmla="*/ 155 w 307"/>
                  <a:gd name="T1" fmla="*/ 96 h 159"/>
                  <a:gd name="T2" fmla="*/ 179 w 307"/>
                  <a:gd name="T3" fmla="*/ 117 h 159"/>
                  <a:gd name="T4" fmla="*/ 251 w 307"/>
                  <a:gd name="T5" fmla="*/ 92 h 159"/>
                  <a:gd name="T6" fmla="*/ 290 w 307"/>
                  <a:gd name="T7" fmla="*/ 37 h 159"/>
                  <a:gd name="T8" fmla="*/ 283 w 307"/>
                  <a:gd name="T9" fmla="*/ 15 h 159"/>
                  <a:gd name="T10" fmla="*/ 264 w 307"/>
                  <a:gd name="T11" fmla="*/ 14 h 159"/>
                  <a:gd name="T12" fmla="*/ 256 w 307"/>
                  <a:gd name="T13" fmla="*/ 24 h 159"/>
                  <a:gd name="T14" fmla="*/ 216 w 307"/>
                  <a:gd name="T15" fmla="*/ 70 h 159"/>
                  <a:gd name="T16" fmla="*/ 214 w 307"/>
                  <a:gd name="T17" fmla="*/ 70 h 159"/>
                  <a:gd name="T18" fmla="*/ 225 w 307"/>
                  <a:gd name="T19" fmla="*/ 54 h 159"/>
                  <a:gd name="T20" fmla="*/ 240 w 307"/>
                  <a:gd name="T21" fmla="*/ 27 h 159"/>
                  <a:gd name="T22" fmla="*/ 265 w 307"/>
                  <a:gd name="T23" fmla="*/ 4 h 159"/>
                  <a:gd name="T24" fmla="*/ 294 w 307"/>
                  <a:gd name="T25" fmla="*/ 12 h 159"/>
                  <a:gd name="T26" fmla="*/ 300 w 307"/>
                  <a:gd name="T27" fmla="*/ 57 h 159"/>
                  <a:gd name="T28" fmla="*/ 280 w 307"/>
                  <a:gd name="T29" fmla="*/ 98 h 159"/>
                  <a:gd name="T30" fmla="*/ 260 w 307"/>
                  <a:gd name="T31" fmla="*/ 124 h 159"/>
                  <a:gd name="T32" fmla="*/ 223 w 307"/>
                  <a:gd name="T33" fmla="*/ 155 h 159"/>
                  <a:gd name="T34" fmla="*/ 203 w 307"/>
                  <a:gd name="T35" fmla="*/ 156 h 159"/>
                  <a:gd name="T36" fmla="*/ 128 w 307"/>
                  <a:gd name="T37" fmla="*/ 136 h 159"/>
                  <a:gd name="T38" fmla="*/ 32 w 307"/>
                  <a:gd name="T39" fmla="*/ 152 h 159"/>
                  <a:gd name="T40" fmla="*/ 8 w 307"/>
                  <a:gd name="T41" fmla="*/ 149 h 159"/>
                  <a:gd name="T42" fmla="*/ 3 w 307"/>
                  <a:gd name="T43" fmla="*/ 125 h 159"/>
                  <a:gd name="T44" fmla="*/ 19 w 307"/>
                  <a:gd name="T45" fmla="*/ 110 h 159"/>
                  <a:gd name="T46" fmla="*/ 82 w 307"/>
                  <a:gd name="T47" fmla="*/ 94 h 159"/>
                  <a:gd name="T48" fmla="*/ 155 w 307"/>
                  <a:gd name="T49" fmla="*/ 96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07" h="159">
                    <a:moveTo>
                      <a:pt x="155" y="96"/>
                    </a:moveTo>
                    <a:cubicBezTo>
                      <a:pt x="156" y="113"/>
                      <a:pt x="163" y="119"/>
                      <a:pt x="179" y="117"/>
                    </a:cubicBezTo>
                    <a:cubicBezTo>
                      <a:pt x="205" y="115"/>
                      <a:pt x="230" y="108"/>
                      <a:pt x="251" y="92"/>
                    </a:cubicBezTo>
                    <a:cubicBezTo>
                      <a:pt x="269" y="78"/>
                      <a:pt x="283" y="60"/>
                      <a:pt x="290" y="37"/>
                    </a:cubicBezTo>
                    <a:cubicBezTo>
                      <a:pt x="293" y="28"/>
                      <a:pt x="291" y="21"/>
                      <a:pt x="283" y="15"/>
                    </a:cubicBezTo>
                    <a:cubicBezTo>
                      <a:pt x="277" y="10"/>
                      <a:pt x="270" y="11"/>
                      <a:pt x="264" y="14"/>
                    </a:cubicBezTo>
                    <a:cubicBezTo>
                      <a:pt x="261" y="16"/>
                      <a:pt x="258" y="20"/>
                      <a:pt x="256" y="24"/>
                    </a:cubicBezTo>
                    <a:cubicBezTo>
                      <a:pt x="248" y="44"/>
                      <a:pt x="235" y="60"/>
                      <a:pt x="216" y="70"/>
                    </a:cubicBezTo>
                    <a:cubicBezTo>
                      <a:pt x="215" y="70"/>
                      <a:pt x="215" y="70"/>
                      <a:pt x="214" y="70"/>
                    </a:cubicBezTo>
                    <a:cubicBezTo>
                      <a:pt x="217" y="64"/>
                      <a:pt x="221" y="59"/>
                      <a:pt x="225" y="54"/>
                    </a:cubicBezTo>
                    <a:cubicBezTo>
                      <a:pt x="230" y="45"/>
                      <a:pt x="235" y="36"/>
                      <a:pt x="240" y="27"/>
                    </a:cubicBezTo>
                    <a:cubicBezTo>
                      <a:pt x="246" y="16"/>
                      <a:pt x="253" y="8"/>
                      <a:pt x="265" y="4"/>
                    </a:cubicBezTo>
                    <a:cubicBezTo>
                      <a:pt x="276" y="0"/>
                      <a:pt x="288" y="4"/>
                      <a:pt x="294" y="12"/>
                    </a:cubicBezTo>
                    <a:cubicBezTo>
                      <a:pt x="305" y="26"/>
                      <a:pt x="307" y="41"/>
                      <a:pt x="300" y="57"/>
                    </a:cubicBezTo>
                    <a:cubicBezTo>
                      <a:pt x="294" y="71"/>
                      <a:pt x="288" y="85"/>
                      <a:pt x="280" y="98"/>
                    </a:cubicBezTo>
                    <a:cubicBezTo>
                      <a:pt x="275" y="108"/>
                      <a:pt x="267" y="116"/>
                      <a:pt x="260" y="124"/>
                    </a:cubicBezTo>
                    <a:cubicBezTo>
                      <a:pt x="249" y="136"/>
                      <a:pt x="238" y="147"/>
                      <a:pt x="223" y="155"/>
                    </a:cubicBezTo>
                    <a:cubicBezTo>
                      <a:pt x="217" y="158"/>
                      <a:pt x="211" y="159"/>
                      <a:pt x="203" y="156"/>
                    </a:cubicBezTo>
                    <a:cubicBezTo>
                      <a:pt x="179" y="145"/>
                      <a:pt x="154" y="138"/>
                      <a:pt x="128" y="136"/>
                    </a:cubicBezTo>
                    <a:cubicBezTo>
                      <a:pt x="95" y="133"/>
                      <a:pt x="63" y="139"/>
                      <a:pt x="32" y="152"/>
                    </a:cubicBezTo>
                    <a:cubicBezTo>
                      <a:pt x="24" y="156"/>
                      <a:pt x="14" y="155"/>
                      <a:pt x="8" y="149"/>
                    </a:cubicBezTo>
                    <a:cubicBezTo>
                      <a:pt x="3" y="144"/>
                      <a:pt x="0" y="133"/>
                      <a:pt x="3" y="125"/>
                    </a:cubicBezTo>
                    <a:cubicBezTo>
                      <a:pt x="5" y="117"/>
                      <a:pt x="11" y="112"/>
                      <a:pt x="19" y="110"/>
                    </a:cubicBezTo>
                    <a:cubicBezTo>
                      <a:pt x="40" y="104"/>
                      <a:pt x="61" y="98"/>
                      <a:pt x="82" y="94"/>
                    </a:cubicBezTo>
                    <a:cubicBezTo>
                      <a:pt x="106" y="90"/>
                      <a:pt x="130" y="92"/>
                      <a:pt x="155" y="9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4" name="Freeform 13">
                <a:extLst>
                  <a:ext uri="{FF2B5EF4-FFF2-40B4-BE49-F238E27FC236}">
                    <a16:creationId xmlns:a16="http://schemas.microsoft.com/office/drawing/2014/main" id="{ACC3B52F-E5FD-433E-07E3-397398065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9622" y="2586304"/>
                <a:ext cx="171747" cy="171747"/>
              </a:xfrm>
              <a:custGeom>
                <a:avLst/>
                <a:gdLst>
                  <a:gd name="T0" fmla="*/ 43 w 87"/>
                  <a:gd name="T1" fmla="*/ 86 h 87"/>
                  <a:gd name="T2" fmla="*/ 1 w 87"/>
                  <a:gd name="T3" fmla="*/ 43 h 87"/>
                  <a:gd name="T4" fmla="*/ 43 w 87"/>
                  <a:gd name="T5" fmla="*/ 1 h 87"/>
                  <a:gd name="T6" fmla="*/ 86 w 87"/>
                  <a:gd name="T7" fmla="*/ 44 h 87"/>
                  <a:gd name="T8" fmla="*/ 43 w 87"/>
                  <a:gd name="T9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7">
                    <a:moveTo>
                      <a:pt x="43" y="86"/>
                    </a:moveTo>
                    <a:cubicBezTo>
                      <a:pt x="21" y="87"/>
                      <a:pt x="0" y="65"/>
                      <a:pt x="1" y="43"/>
                    </a:cubicBezTo>
                    <a:cubicBezTo>
                      <a:pt x="1" y="21"/>
                      <a:pt x="21" y="1"/>
                      <a:pt x="43" y="1"/>
                    </a:cubicBezTo>
                    <a:cubicBezTo>
                      <a:pt x="64" y="0"/>
                      <a:pt x="87" y="21"/>
                      <a:pt x="86" y="44"/>
                    </a:cubicBezTo>
                    <a:cubicBezTo>
                      <a:pt x="86" y="67"/>
                      <a:pt x="66" y="86"/>
                      <a:pt x="43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5" name="Freeform 14">
                <a:extLst>
                  <a:ext uri="{FF2B5EF4-FFF2-40B4-BE49-F238E27FC236}">
                    <a16:creationId xmlns:a16="http://schemas.microsoft.com/office/drawing/2014/main" id="{F7382080-A3F4-5E22-3853-57B891B7D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3099" y="2502578"/>
                <a:ext cx="171747" cy="169601"/>
              </a:xfrm>
              <a:custGeom>
                <a:avLst/>
                <a:gdLst>
                  <a:gd name="T0" fmla="*/ 1 w 87"/>
                  <a:gd name="T1" fmla="*/ 43 h 86"/>
                  <a:gd name="T2" fmla="*/ 44 w 87"/>
                  <a:gd name="T3" fmla="*/ 1 h 86"/>
                  <a:gd name="T4" fmla="*/ 86 w 87"/>
                  <a:gd name="T5" fmla="*/ 42 h 86"/>
                  <a:gd name="T6" fmla="*/ 45 w 87"/>
                  <a:gd name="T7" fmla="*/ 85 h 86"/>
                  <a:gd name="T8" fmla="*/ 1 w 87"/>
                  <a:gd name="T9" fmla="*/ 4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" h="86">
                    <a:moveTo>
                      <a:pt x="1" y="43"/>
                    </a:moveTo>
                    <a:cubicBezTo>
                      <a:pt x="0" y="18"/>
                      <a:pt x="22" y="0"/>
                      <a:pt x="44" y="1"/>
                    </a:cubicBezTo>
                    <a:cubicBezTo>
                      <a:pt x="69" y="1"/>
                      <a:pt x="85" y="16"/>
                      <a:pt x="86" y="42"/>
                    </a:cubicBezTo>
                    <a:cubicBezTo>
                      <a:pt x="87" y="63"/>
                      <a:pt x="70" y="86"/>
                      <a:pt x="45" y="85"/>
                    </a:cubicBezTo>
                    <a:cubicBezTo>
                      <a:pt x="20" y="84"/>
                      <a:pt x="2" y="67"/>
                      <a:pt x="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6" name="Freeform 15">
                <a:extLst>
                  <a:ext uri="{FF2B5EF4-FFF2-40B4-BE49-F238E27FC236}">
                    <a16:creationId xmlns:a16="http://schemas.microsoft.com/office/drawing/2014/main" id="{E05B6312-CF12-9BF1-F264-22690979D1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5246" y="2706527"/>
                <a:ext cx="240446" cy="221126"/>
              </a:xfrm>
              <a:custGeom>
                <a:avLst/>
                <a:gdLst>
                  <a:gd name="T0" fmla="*/ 82 w 122"/>
                  <a:gd name="T1" fmla="*/ 81 h 112"/>
                  <a:gd name="T2" fmla="*/ 104 w 122"/>
                  <a:gd name="T3" fmla="*/ 78 h 112"/>
                  <a:gd name="T4" fmla="*/ 120 w 122"/>
                  <a:gd name="T5" fmla="*/ 84 h 112"/>
                  <a:gd name="T6" fmla="*/ 121 w 122"/>
                  <a:gd name="T7" fmla="*/ 99 h 112"/>
                  <a:gd name="T8" fmla="*/ 112 w 122"/>
                  <a:gd name="T9" fmla="*/ 107 h 112"/>
                  <a:gd name="T10" fmla="*/ 52 w 122"/>
                  <a:gd name="T11" fmla="*/ 107 h 112"/>
                  <a:gd name="T12" fmla="*/ 7 w 122"/>
                  <a:gd name="T13" fmla="*/ 62 h 112"/>
                  <a:gd name="T14" fmla="*/ 2 w 122"/>
                  <a:gd name="T15" fmla="*/ 14 h 112"/>
                  <a:gd name="T16" fmla="*/ 20 w 122"/>
                  <a:gd name="T17" fmla="*/ 1 h 112"/>
                  <a:gd name="T18" fmla="*/ 33 w 122"/>
                  <a:gd name="T19" fmla="*/ 17 h 112"/>
                  <a:gd name="T20" fmla="*/ 32 w 122"/>
                  <a:gd name="T21" fmla="*/ 32 h 112"/>
                  <a:gd name="T22" fmla="*/ 82 w 122"/>
                  <a:gd name="T23" fmla="*/ 8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2" h="112">
                    <a:moveTo>
                      <a:pt x="82" y="81"/>
                    </a:moveTo>
                    <a:cubicBezTo>
                      <a:pt x="89" y="80"/>
                      <a:pt x="96" y="80"/>
                      <a:pt x="104" y="78"/>
                    </a:cubicBezTo>
                    <a:cubicBezTo>
                      <a:pt x="110" y="77"/>
                      <a:pt x="117" y="79"/>
                      <a:pt x="120" y="84"/>
                    </a:cubicBezTo>
                    <a:cubicBezTo>
                      <a:pt x="122" y="88"/>
                      <a:pt x="122" y="95"/>
                      <a:pt x="121" y="99"/>
                    </a:cubicBezTo>
                    <a:cubicBezTo>
                      <a:pt x="120" y="103"/>
                      <a:pt x="115" y="106"/>
                      <a:pt x="112" y="107"/>
                    </a:cubicBezTo>
                    <a:cubicBezTo>
                      <a:pt x="92" y="111"/>
                      <a:pt x="72" y="112"/>
                      <a:pt x="52" y="107"/>
                    </a:cubicBezTo>
                    <a:cubicBezTo>
                      <a:pt x="29" y="101"/>
                      <a:pt x="15" y="84"/>
                      <a:pt x="7" y="62"/>
                    </a:cubicBezTo>
                    <a:cubicBezTo>
                      <a:pt x="1" y="47"/>
                      <a:pt x="0" y="30"/>
                      <a:pt x="2" y="14"/>
                    </a:cubicBezTo>
                    <a:cubicBezTo>
                      <a:pt x="3" y="6"/>
                      <a:pt x="12" y="0"/>
                      <a:pt x="20" y="1"/>
                    </a:cubicBezTo>
                    <a:cubicBezTo>
                      <a:pt x="27" y="2"/>
                      <a:pt x="33" y="9"/>
                      <a:pt x="33" y="17"/>
                    </a:cubicBezTo>
                    <a:cubicBezTo>
                      <a:pt x="32" y="22"/>
                      <a:pt x="32" y="27"/>
                      <a:pt x="32" y="32"/>
                    </a:cubicBezTo>
                    <a:cubicBezTo>
                      <a:pt x="32" y="60"/>
                      <a:pt x="48" y="83"/>
                      <a:pt x="82" y="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7" name="Freeform 16">
                <a:extLst>
                  <a:ext uri="{FF2B5EF4-FFF2-40B4-BE49-F238E27FC236}">
                    <a16:creationId xmlns:a16="http://schemas.microsoft.com/office/drawing/2014/main" id="{02A964C9-7516-DF24-FC8B-0014990EC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8498" y="2781667"/>
                <a:ext cx="264062" cy="197510"/>
              </a:xfrm>
              <a:custGeom>
                <a:avLst/>
                <a:gdLst>
                  <a:gd name="T0" fmla="*/ 23 w 134"/>
                  <a:gd name="T1" fmla="*/ 100 h 101"/>
                  <a:gd name="T2" fmla="*/ 4 w 134"/>
                  <a:gd name="T3" fmla="*/ 80 h 101"/>
                  <a:gd name="T4" fmla="*/ 20 w 134"/>
                  <a:gd name="T5" fmla="*/ 70 h 101"/>
                  <a:gd name="T6" fmla="*/ 69 w 134"/>
                  <a:gd name="T7" fmla="*/ 55 h 101"/>
                  <a:gd name="T8" fmla="*/ 103 w 134"/>
                  <a:gd name="T9" fmla="*/ 13 h 101"/>
                  <a:gd name="T10" fmla="*/ 123 w 134"/>
                  <a:gd name="T11" fmla="*/ 2 h 101"/>
                  <a:gd name="T12" fmla="*/ 131 w 134"/>
                  <a:gd name="T13" fmla="*/ 22 h 101"/>
                  <a:gd name="T14" fmla="*/ 90 w 134"/>
                  <a:gd name="T15" fmla="*/ 78 h 101"/>
                  <a:gd name="T16" fmla="*/ 23 w 134"/>
                  <a:gd name="T17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4" h="101">
                    <a:moveTo>
                      <a:pt x="23" y="100"/>
                    </a:moveTo>
                    <a:cubicBezTo>
                      <a:pt x="8" y="101"/>
                      <a:pt x="0" y="92"/>
                      <a:pt x="4" y="80"/>
                    </a:cubicBezTo>
                    <a:cubicBezTo>
                      <a:pt x="6" y="74"/>
                      <a:pt x="11" y="69"/>
                      <a:pt x="20" y="70"/>
                    </a:cubicBezTo>
                    <a:cubicBezTo>
                      <a:pt x="38" y="70"/>
                      <a:pt x="54" y="65"/>
                      <a:pt x="69" y="55"/>
                    </a:cubicBezTo>
                    <a:cubicBezTo>
                      <a:pt x="84" y="44"/>
                      <a:pt x="98" y="32"/>
                      <a:pt x="103" y="13"/>
                    </a:cubicBezTo>
                    <a:cubicBezTo>
                      <a:pt x="105" y="4"/>
                      <a:pt x="114" y="0"/>
                      <a:pt x="123" y="2"/>
                    </a:cubicBezTo>
                    <a:cubicBezTo>
                      <a:pt x="130" y="4"/>
                      <a:pt x="134" y="14"/>
                      <a:pt x="131" y="22"/>
                    </a:cubicBezTo>
                    <a:cubicBezTo>
                      <a:pt x="124" y="46"/>
                      <a:pt x="109" y="63"/>
                      <a:pt x="90" y="78"/>
                    </a:cubicBezTo>
                    <a:cubicBezTo>
                      <a:pt x="70" y="93"/>
                      <a:pt x="47" y="98"/>
                      <a:pt x="23" y="10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8" name="Freeform 17">
                <a:extLst>
                  <a:ext uri="{FF2B5EF4-FFF2-40B4-BE49-F238E27FC236}">
                    <a16:creationId xmlns:a16="http://schemas.microsoft.com/office/drawing/2014/main" id="{744947D8-8ACD-DA0B-C4FE-87AE8A4B6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7105" y="2779520"/>
                <a:ext cx="88021" cy="90167"/>
              </a:xfrm>
              <a:custGeom>
                <a:avLst/>
                <a:gdLst>
                  <a:gd name="T0" fmla="*/ 45 w 45"/>
                  <a:gd name="T1" fmla="*/ 3 h 46"/>
                  <a:gd name="T2" fmla="*/ 8 w 45"/>
                  <a:gd name="T3" fmla="*/ 46 h 46"/>
                  <a:gd name="T4" fmla="*/ 0 w 45"/>
                  <a:gd name="T5" fmla="*/ 40 h 46"/>
                  <a:gd name="T6" fmla="*/ 29 w 45"/>
                  <a:gd name="T7" fmla="*/ 1 h 46"/>
                  <a:gd name="T8" fmla="*/ 34 w 45"/>
                  <a:gd name="T9" fmla="*/ 0 h 46"/>
                  <a:gd name="T10" fmla="*/ 45 w 45"/>
                  <a:gd name="T1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46">
                    <a:moveTo>
                      <a:pt x="45" y="3"/>
                    </a:moveTo>
                    <a:cubicBezTo>
                      <a:pt x="32" y="18"/>
                      <a:pt x="20" y="32"/>
                      <a:pt x="8" y="46"/>
                    </a:cubicBezTo>
                    <a:cubicBezTo>
                      <a:pt x="5" y="44"/>
                      <a:pt x="3" y="43"/>
                      <a:pt x="0" y="40"/>
                    </a:cubicBezTo>
                    <a:cubicBezTo>
                      <a:pt x="10" y="27"/>
                      <a:pt x="20" y="14"/>
                      <a:pt x="29" y="1"/>
                    </a:cubicBezTo>
                    <a:cubicBezTo>
                      <a:pt x="30" y="0"/>
                      <a:pt x="33" y="0"/>
                      <a:pt x="34" y="0"/>
                    </a:cubicBezTo>
                    <a:cubicBezTo>
                      <a:pt x="38" y="1"/>
                      <a:pt x="41" y="2"/>
                      <a:pt x="4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0" name="Group 449">
              <a:extLst>
                <a:ext uri="{FF2B5EF4-FFF2-40B4-BE49-F238E27FC236}">
                  <a16:creationId xmlns:a16="http://schemas.microsoft.com/office/drawing/2014/main" id="{3584F821-6FD4-11A0-B34E-0E54A0A26C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46123" y="4418414"/>
              <a:ext cx="220337" cy="223674"/>
              <a:chOff x="-2505076" y="3225801"/>
              <a:chExt cx="1782763" cy="1809749"/>
            </a:xfrm>
            <a:solidFill>
              <a:sysClr val="window" lastClr="FFFFFF"/>
            </a:solidFill>
          </p:grpSpPr>
          <p:sp>
            <p:nvSpPr>
              <p:cNvPr id="474" name="Freeform 5">
                <a:extLst>
                  <a:ext uri="{FF2B5EF4-FFF2-40B4-BE49-F238E27FC236}">
                    <a16:creationId xmlns:a16="http://schemas.microsoft.com/office/drawing/2014/main" id="{8C336C1D-FA5C-D889-0142-33A1C72F23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320925" y="3225801"/>
                <a:ext cx="1371600" cy="1417637"/>
              </a:xfrm>
              <a:custGeom>
                <a:avLst/>
                <a:gdLst>
                  <a:gd name="T0" fmla="*/ 477 w 695"/>
                  <a:gd name="T1" fmla="*/ 538 h 718"/>
                  <a:gd name="T2" fmla="*/ 485 w 695"/>
                  <a:gd name="T3" fmla="*/ 572 h 718"/>
                  <a:gd name="T4" fmla="*/ 388 w 695"/>
                  <a:gd name="T5" fmla="*/ 672 h 718"/>
                  <a:gd name="T6" fmla="*/ 406 w 695"/>
                  <a:gd name="T7" fmla="*/ 668 h 718"/>
                  <a:gd name="T8" fmla="*/ 354 w 695"/>
                  <a:gd name="T9" fmla="*/ 716 h 718"/>
                  <a:gd name="T10" fmla="*/ 50 w 695"/>
                  <a:gd name="T11" fmla="*/ 546 h 718"/>
                  <a:gd name="T12" fmla="*/ 90 w 695"/>
                  <a:gd name="T13" fmla="*/ 543 h 718"/>
                  <a:gd name="T14" fmla="*/ 122 w 695"/>
                  <a:gd name="T15" fmla="*/ 578 h 718"/>
                  <a:gd name="T16" fmla="*/ 200 w 695"/>
                  <a:gd name="T17" fmla="*/ 559 h 718"/>
                  <a:gd name="T18" fmla="*/ 142 w 695"/>
                  <a:gd name="T19" fmla="*/ 598 h 718"/>
                  <a:gd name="T20" fmla="*/ 227 w 695"/>
                  <a:gd name="T21" fmla="*/ 575 h 718"/>
                  <a:gd name="T22" fmla="*/ 323 w 695"/>
                  <a:gd name="T23" fmla="*/ 659 h 718"/>
                  <a:gd name="T24" fmla="*/ 328 w 695"/>
                  <a:gd name="T25" fmla="*/ 639 h 718"/>
                  <a:gd name="T26" fmla="*/ 349 w 695"/>
                  <a:gd name="T27" fmla="*/ 540 h 718"/>
                  <a:gd name="T28" fmla="*/ 429 w 695"/>
                  <a:gd name="T29" fmla="*/ 528 h 718"/>
                  <a:gd name="T30" fmla="*/ 474 w 695"/>
                  <a:gd name="T31" fmla="*/ 396 h 718"/>
                  <a:gd name="T32" fmla="*/ 391 w 695"/>
                  <a:gd name="T33" fmla="*/ 396 h 718"/>
                  <a:gd name="T34" fmla="*/ 328 w 695"/>
                  <a:gd name="T35" fmla="*/ 358 h 718"/>
                  <a:gd name="T36" fmla="*/ 328 w 695"/>
                  <a:gd name="T37" fmla="*/ 249 h 718"/>
                  <a:gd name="T38" fmla="*/ 232 w 695"/>
                  <a:gd name="T39" fmla="*/ 245 h 718"/>
                  <a:gd name="T40" fmla="*/ 200 w 695"/>
                  <a:gd name="T41" fmla="*/ 370 h 718"/>
                  <a:gd name="T42" fmla="*/ 146 w 695"/>
                  <a:gd name="T43" fmla="*/ 396 h 718"/>
                  <a:gd name="T44" fmla="*/ 48 w 695"/>
                  <a:gd name="T45" fmla="*/ 396 h 718"/>
                  <a:gd name="T46" fmla="*/ 14 w 695"/>
                  <a:gd name="T47" fmla="*/ 427 h 718"/>
                  <a:gd name="T48" fmla="*/ 126 w 695"/>
                  <a:gd name="T49" fmla="*/ 127 h 718"/>
                  <a:gd name="T50" fmla="*/ 628 w 695"/>
                  <a:gd name="T51" fmla="*/ 555 h 718"/>
                  <a:gd name="T52" fmla="*/ 569 w 695"/>
                  <a:gd name="T53" fmla="*/ 574 h 718"/>
                  <a:gd name="T54" fmla="*/ 635 w 695"/>
                  <a:gd name="T55" fmla="*/ 397 h 718"/>
                  <a:gd name="T56" fmla="*/ 561 w 695"/>
                  <a:gd name="T57" fmla="*/ 188 h 718"/>
                  <a:gd name="T58" fmla="*/ 505 w 695"/>
                  <a:gd name="T59" fmla="*/ 368 h 718"/>
                  <a:gd name="T60" fmla="*/ 561 w 695"/>
                  <a:gd name="T61" fmla="*/ 188 h 718"/>
                  <a:gd name="T62" fmla="*/ 128 w 695"/>
                  <a:gd name="T63" fmla="*/ 189 h 718"/>
                  <a:gd name="T64" fmla="*/ 48 w 695"/>
                  <a:gd name="T65" fmla="*/ 368 h 718"/>
                  <a:gd name="T66" fmla="*/ 206 w 695"/>
                  <a:gd name="T67" fmla="*/ 227 h 718"/>
                  <a:gd name="T68" fmla="*/ 448 w 695"/>
                  <a:gd name="T69" fmla="*/ 241 h 718"/>
                  <a:gd name="T70" fmla="*/ 365 w 695"/>
                  <a:gd name="T71" fmla="*/ 246 h 718"/>
                  <a:gd name="T72" fmla="*/ 355 w 695"/>
                  <a:gd name="T73" fmla="*/ 360 h 718"/>
                  <a:gd name="T74" fmla="*/ 474 w 695"/>
                  <a:gd name="T75" fmla="*/ 369 h 718"/>
                  <a:gd name="T76" fmla="*/ 383 w 695"/>
                  <a:gd name="T77" fmla="*/ 96 h 718"/>
                  <a:gd name="T78" fmla="*/ 450 w 695"/>
                  <a:gd name="T79" fmla="*/ 180 h 718"/>
                  <a:gd name="T80" fmla="*/ 541 w 695"/>
                  <a:gd name="T81" fmla="*/ 167 h 718"/>
                  <a:gd name="T82" fmla="*/ 216 w 695"/>
                  <a:gd name="T83" fmla="*/ 201 h 718"/>
                  <a:gd name="T84" fmla="*/ 141 w 695"/>
                  <a:gd name="T85" fmla="*/ 167 h 718"/>
                  <a:gd name="T86" fmla="*/ 356 w 695"/>
                  <a:gd name="T87" fmla="*/ 220 h 718"/>
                  <a:gd name="T88" fmla="*/ 356 w 695"/>
                  <a:gd name="T89" fmla="*/ 107 h 718"/>
                  <a:gd name="T90" fmla="*/ 356 w 695"/>
                  <a:gd name="T91" fmla="*/ 659 h 718"/>
                  <a:gd name="T92" fmla="*/ 356 w 695"/>
                  <a:gd name="T93" fmla="*/ 545 h 718"/>
                  <a:gd name="T94" fmla="*/ 327 w 695"/>
                  <a:gd name="T95" fmla="*/ 106 h 718"/>
                  <a:gd name="T96" fmla="*/ 327 w 695"/>
                  <a:gd name="T97" fmla="*/ 22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95" h="718">
                    <a:moveTo>
                      <a:pt x="505" y="397"/>
                    </a:moveTo>
                    <a:cubicBezTo>
                      <a:pt x="496" y="444"/>
                      <a:pt x="487" y="491"/>
                      <a:pt x="477" y="538"/>
                    </a:cubicBezTo>
                    <a:cubicBezTo>
                      <a:pt x="500" y="549"/>
                      <a:pt x="526" y="560"/>
                      <a:pt x="553" y="573"/>
                    </a:cubicBezTo>
                    <a:cubicBezTo>
                      <a:pt x="528" y="588"/>
                      <a:pt x="507" y="582"/>
                      <a:pt x="485" y="572"/>
                    </a:cubicBezTo>
                    <a:cubicBezTo>
                      <a:pt x="463" y="562"/>
                      <a:pt x="464" y="564"/>
                      <a:pt x="450" y="584"/>
                    </a:cubicBezTo>
                    <a:cubicBezTo>
                      <a:pt x="431" y="614"/>
                      <a:pt x="409" y="643"/>
                      <a:pt x="388" y="672"/>
                    </a:cubicBezTo>
                    <a:cubicBezTo>
                      <a:pt x="393" y="671"/>
                      <a:pt x="401" y="670"/>
                      <a:pt x="408" y="669"/>
                    </a:cubicBezTo>
                    <a:cubicBezTo>
                      <a:pt x="407" y="669"/>
                      <a:pt x="406" y="668"/>
                      <a:pt x="406" y="668"/>
                    </a:cubicBezTo>
                    <a:cubicBezTo>
                      <a:pt x="392" y="683"/>
                      <a:pt x="378" y="699"/>
                      <a:pt x="364" y="714"/>
                    </a:cubicBezTo>
                    <a:cubicBezTo>
                      <a:pt x="362" y="716"/>
                      <a:pt x="357" y="716"/>
                      <a:pt x="354" y="716"/>
                    </a:cubicBezTo>
                    <a:cubicBezTo>
                      <a:pt x="222" y="718"/>
                      <a:pt x="122" y="662"/>
                      <a:pt x="52" y="551"/>
                    </a:cubicBezTo>
                    <a:cubicBezTo>
                      <a:pt x="51" y="549"/>
                      <a:pt x="51" y="547"/>
                      <a:pt x="50" y="546"/>
                    </a:cubicBezTo>
                    <a:cubicBezTo>
                      <a:pt x="50" y="545"/>
                      <a:pt x="50" y="544"/>
                      <a:pt x="50" y="542"/>
                    </a:cubicBezTo>
                    <a:cubicBezTo>
                      <a:pt x="63" y="542"/>
                      <a:pt x="77" y="542"/>
                      <a:pt x="90" y="543"/>
                    </a:cubicBezTo>
                    <a:cubicBezTo>
                      <a:pt x="93" y="543"/>
                      <a:pt x="97" y="546"/>
                      <a:pt x="99" y="549"/>
                    </a:cubicBezTo>
                    <a:cubicBezTo>
                      <a:pt x="107" y="559"/>
                      <a:pt x="114" y="568"/>
                      <a:pt x="122" y="578"/>
                    </a:cubicBezTo>
                    <a:cubicBezTo>
                      <a:pt x="137" y="571"/>
                      <a:pt x="152" y="564"/>
                      <a:pt x="166" y="556"/>
                    </a:cubicBezTo>
                    <a:cubicBezTo>
                      <a:pt x="178" y="549"/>
                      <a:pt x="190" y="547"/>
                      <a:pt x="200" y="559"/>
                    </a:cubicBezTo>
                    <a:cubicBezTo>
                      <a:pt x="202" y="562"/>
                      <a:pt x="206" y="563"/>
                      <a:pt x="210" y="566"/>
                    </a:cubicBezTo>
                    <a:cubicBezTo>
                      <a:pt x="187" y="577"/>
                      <a:pt x="166" y="587"/>
                      <a:pt x="142" y="598"/>
                    </a:cubicBezTo>
                    <a:cubicBezTo>
                      <a:pt x="188" y="639"/>
                      <a:pt x="238" y="663"/>
                      <a:pt x="297" y="671"/>
                    </a:cubicBezTo>
                    <a:cubicBezTo>
                      <a:pt x="270" y="642"/>
                      <a:pt x="246" y="611"/>
                      <a:pt x="227" y="575"/>
                    </a:cubicBezTo>
                    <a:cubicBezTo>
                      <a:pt x="247" y="576"/>
                      <a:pt x="262" y="579"/>
                      <a:pt x="273" y="598"/>
                    </a:cubicBezTo>
                    <a:cubicBezTo>
                      <a:pt x="287" y="620"/>
                      <a:pt x="306" y="639"/>
                      <a:pt x="323" y="659"/>
                    </a:cubicBezTo>
                    <a:cubicBezTo>
                      <a:pt x="325" y="658"/>
                      <a:pt x="326" y="657"/>
                      <a:pt x="328" y="657"/>
                    </a:cubicBezTo>
                    <a:cubicBezTo>
                      <a:pt x="328" y="651"/>
                      <a:pt x="328" y="645"/>
                      <a:pt x="328" y="639"/>
                    </a:cubicBezTo>
                    <a:cubicBezTo>
                      <a:pt x="328" y="626"/>
                      <a:pt x="329" y="612"/>
                      <a:pt x="328" y="599"/>
                    </a:cubicBezTo>
                    <a:cubicBezTo>
                      <a:pt x="326" y="576"/>
                      <a:pt x="333" y="559"/>
                      <a:pt x="349" y="540"/>
                    </a:cubicBezTo>
                    <a:cubicBezTo>
                      <a:pt x="366" y="519"/>
                      <a:pt x="383" y="519"/>
                      <a:pt x="405" y="523"/>
                    </a:cubicBezTo>
                    <a:cubicBezTo>
                      <a:pt x="413" y="524"/>
                      <a:pt x="422" y="525"/>
                      <a:pt x="429" y="528"/>
                    </a:cubicBezTo>
                    <a:cubicBezTo>
                      <a:pt x="442" y="532"/>
                      <a:pt x="448" y="529"/>
                      <a:pt x="453" y="515"/>
                    </a:cubicBezTo>
                    <a:cubicBezTo>
                      <a:pt x="465" y="477"/>
                      <a:pt x="473" y="438"/>
                      <a:pt x="474" y="396"/>
                    </a:cubicBezTo>
                    <a:cubicBezTo>
                      <a:pt x="462" y="396"/>
                      <a:pt x="451" y="396"/>
                      <a:pt x="440" y="396"/>
                    </a:cubicBezTo>
                    <a:cubicBezTo>
                      <a:pt x="424" y="396"/>
                      <a:pt x="407" y="396"/>
                      <a:pt x="391" y="396"/>
                    </a:cubicBezTo>
                    <a:cubicBezTo>
                      <a:pt x="356" y="396"/>
                      <a:pt x="356" y="396"/>
                      <a:pt x="333" y="371"/>
                    </a:cubicBezTo>
                    <a:cubicBezTo>
                      <a:pt x="330" y="368"/>
                      <a:pt x="328" y="362"/>
                      <a:pt x="328" y="358"/>
                    </a:cubicBezTo>
                    <a:cubicBezTo>
                      <a:pt x="328" y="326"/>
                      <a:pt x="328" y="294"/>
                      <a:pt x="328" y="263"/>
                    </a:cubicBezTo>
                    <a:cubicBezTo>
                      <a:pt x="328" y="258"/>
                      <a:pt x="328" y="253"/>
                      <a:pt x="328" y="249"/>
                    </a:cubicBezTo>
                    <a:cubicBezTo>
                      <a:pt x="298" y="244"/>
                      <a:pt x="271" y="239"/>
                      <a:pt x="243" y="236"/>
                    </a:cubicBezTo>
                    <a:cubicBezTo>
                      <a:pt x="240" y="235"/>
                      <a:pt x="233" y="241"/>
                      <a:pt x="232" y="245"/>
                    </a:cubicBezTo>
                    <a:cubicBezTo>
                      <a:pt x="224" y="282"/>
                      <a:pt x="217" y="318"/>
                      <a:pt x="209" y="354"/>
                    </a:cubicBezTo>
                    <a:cubicBezTo>
                      <a:pt x="208" y="360"/>
                      <a:pt x="204" y="365"/>
                      <a:pt x="200" y="370"/>
                    </a:cubicBezTo>
                    <a:cubicBezTo>
                      <a:pt x="197" y="374"/>
                      <a:pt x="191" y="376"/>
                      <a:pt x="188" y="380"/>
                    </a:cubicBezTo>
                    <a:cubicBezTo>
                      <a:pt x="177" y="395"/>
                      <a:pt x="163" y="397"/>
                      <a:pt x="146" y="396"/>
                    </a:cubicBezTo>
                    <a:cubicBezTo>
                      <a:pt x="119" y="395"/>
                      <a:pt x="91" y="396"/>
                      <a:pt x="63" y="396"/>
                    </a:cubicBezTo>
                    <a:cubicBezTo>
                      <a:pt x="58" y="396"/>
                      <a:pt x="54" y="396"/>
                      <a:pt x="48" y="396"/>
                    </a:cubicBezTo>
                    <a:cubicBezTo>
                      <a:pt x="49" y="409"/>
                      <a:pt x="50" y="420"/>
                      <a:pt x="51" y="434"/>
                    </a:cubicBezTo>
                    <a:cubicBezTo>
                      <a:pt x="38" y="432"/>
                      <a:pt x="26" y="430"/>
                      <a:pt x="14" y="427"/>
                    </a:cubicBezTo>
                    <a:cubicBezTo>
                      <a:pt x="12" y="426"/>
                      <a:pt x="9" y="420"/>
                      <a:pt x="9" y="416"/>
                    </a:cubicBezTo>
                    <a:cubicBezTo>
                      <a:pt x="0" y="300"/>
                      <a:pt x="38" y="203"/>
                      <a:pt x="126" y="127"/>
                    </a:cubicBezTo>
                    <a:cubicBezTo>
                      <a:pt x="274" y="0"/>
                      <a:pt x="518" y="26"/>
                      <a:pt x="628" y="211"/>
                    </a:cubicBezTo>
                    <a:cubicBezTo>
                      <a:pt x="695" y="324"/>
                      <a:pt x="692" y="440"/>
                      <a:pt x="628" y="555"/>
                    </a:cubicBezTo>
                    <a:cubicBezTo>
                      <a:pt x="623" y="564"/>
                      <a:pt x="617" y="568"/>
                      <a:pt x="607" y="569"/>
                    </a:cubicBezTo>
                    <a:cubicBezTo>
                      <a:pt x="594" y="570"/>
                      <a:pt x="581" y="572"/>
                      <a:pt x="569" y="574"/>
                    </a:cubicBezTo>
                    <a:cubicBezTo>
                      <a:pt x="585" y="546"/>
                      <a:pt x="601" y="519"/>
                      <a:pt x="614" y="490"/>
                    </a:cubicBezTo>
                    <a:cubicBezTo>
                      <a:pt x="628" y="461"/>
                      <a:pt x="633" y="430"/>
                      <a:pt x="635" y="397"/>
                    </a:cubicBezTo>
                    <a:cubicBezTo>
                      <a:pt x="590" y="397"/>
                      <a:pt x="546" y="397"/>
                      <a:pt x="505" y="397"/>
                    </a:cubicBezTo>
                    <a:close/>
                    <a:moveTo>
                      <a:pt x="561" y="188"/>
                    </a:moveTo>
                    <a:cubicBezTo>
                      <a:pt x="531" y="202"/>
                      <a:pt x="502" y="215"/>
                      <a:pt x="477" y="227"/>
                    </a:cubicBezTo>
                    <a:cubicBezTo>
                      <a:pt x="487" y="275"/>
                      <a:pt x="496" y="321"/>
                      <a:pt x="505" y="368"/>
                    </a:cubicBezTo>
                    <a:cubicBezTo>
                      <a:pt x="547" y="368"/>
                      <a:pt x="590" y="368"/>
                      <a:pt x="635" y="368"/>
                    </a:cubicBezTo>
                    <a:cubicBezTo>
                      <a:pt x="630" y="298"/>
                      <a:pt x="606" y="239"/>
                      <a:pt x="561" y="188"/>
                    </a:cubicBezTo>
                    <a:close/>
                    <a:moveTo>
                      <a:pt x="206" y="227"/>
                    </a:moveTo>
                    <a:cubicBezTo>
                      <a:pt x="181" y="215"/>
                      <a:pt x="155" y="202"/>
                      <a:pt x="128" y="189"/>
                    </a:cubicBezTo>
                    <a:cubicBezTo>
                      <a:pt x="126" y="188"/>
                      <a:pt x="120" y="190"/>
                      <a:pt x="118" y="192"/>
                    </a:cubicBezTo>
                    <a:cubicBezTo>
                      <a:pt x="75" y="243"/>
                      <a:pt x="52" y="301"/>
                      <a:pt x="48" y="368"/>
                    </a:cubicBezTo>
                    <a:cubicBezTo>
                      <a:pt x="93" y="368"/>
                      <a:pt x="137" y="368"/>
                      <a:pt x="177" y="368"/>
                    </a:cubicBezTo>
                    <a:cubicBezTo>
                      <a:pt x="187" y="320"/>
                      <a:pt x="197" y="273"/>
                      <a:pt x="206" y="227"/>
                    </a:cubicBezTo>
                    <a:close/>
                    <a:moveTo>
                      <a:pt x="474" y="369"/>
                    </a:moveTo>
                    <a:cubicBezTo>
                      <a:pt x="473" y="323"/>
                      <a:pt x="464" y="281"/>
                      <a:pt x="448" y="241"/>
                    </a:cubicBezTo>
                    <a:cubicBezTo>
                      <a:pt x="447" y="238"/>
                      <a:pt x="441" y="236"/>
                      <a:pt x="438" y="236"/>
                    </a:cubicBezTo>
                    <a:cubicBezTo>
                      <a:pt x="413" y="239"/>
                      <a:pt x="389" y="242"/>
                      <a:pt x="365" y="246"/>
                    </a:cubicBezTo>
                    <a:cubicBezTo>
                      <a:pt x="361" y="247"/>
                      <a:pt x="355" y="252"/>
                      <a:pt x="355" y="256"/>
                    </a:cubicBezTo>
                    <a:cubicBezTo>
                      <a:pt x="355" y="290"/>
                      <a:pt x="355" y="325"/>
                      <a:pt x="355" y="360"/>
                    </a:cubicBezTo>
                    <a:cubicBezTo>
                      <a:pt x="355" y="363"/>
                      <a:pt x="360" y="368"/>
                      <a:pt x="363" y="368"/>
                    </a:cubicBezTo>
                    <a:cubicBezTo>
                      <a:pt x="399" y="369"/>
                      <a:pt x="436" y="369"/>
                      <a:pt x="474" y="369"/>
                    </a:cubicBezTo>
                    <a:close/>
                    <a:moveTo>
                      <a:pt x="386" y="92"/>
                    </a:moveTo>
                    <a:cubicBezTo>
                      <a:pt x="385" y="93"/>
                      <a:pt x="384" y="95"/>
                      <a:pt x="383" y="96"/>
                    </a:cubicBezTo>
                    <a:cubicBezTo>
                      <a:pt x="386" y="98"/>
                      <a:pt x="390" y="100"/>
                      <a:pt x="392" y="102"/>
                    </a:cubicBezTo>
                    <a:cubicBezTo>
                      <a:pt x="411" y="128"/>
                      <a:pt x="432" y="153"/>
                      <a:pt x="450" y="180"/>
                    </a:cubicBezTo>
                    <a:cubicBezTo>
                      <a:pt x="464" y="201"/>
                      <a:pt x="463" y="202"/>
                      <a:pt x="486" y="193"/>
                    </a:cubicBezTo>
                    <a:cubicBezTo>
                      <a:pt x="504" y="185"/>
                      <a:pt x="522" y="177"/>
                      <a:pt x="541" y="167"/>
                    </a:cubicBezTo>
                    <a:cubicBezTo>
                      <a:pt x="495" y="126"/>
                      <a:pt x="444" y="101"/>
                      <a:pt x="386" y="92"/>
                    </a:cubicBezTo>
                    <a:close/>
                    <a:moveTo>
                      <a:pt x="216" y="201"/>
                    </a:moveTo>
                    <a:cubicBezTo>
                      <a:pt x="244" y="162"/>
                      <a:pt x="270" y="127"/>
                      <a:pt x="295" y="93"/>
                    </a:cubicBezTo>
                    <a:cubicBezTo>
                      <a:pt x="239" y="101"/>
                      <a:pt x="188" y="126"/>
                      <a:pt x="141" y="167"/>
                    </a:cubicBezTo>
                    <a:cubicBezTo>
                      <a:pt x="169" y="180"/>
                      <a:pt x="194" y="191"/>
                      <a:pt x="216" y="201"/>
                    </a:cubicBezTo>
                    <a:close/>
                    <a:moveTo>
                      <a:pt x="356" y="220"/>
                    </a:moveTo>
                    <a:cubicBezTo>
                      <a:pt x="383" y="217"/>
                      <a:pt x="408" y="214"/>
                      <a:pt x="436" y="210"/>
                    </a:cubicBezTo>
                    <a:cubicBezTo>
                      <a:pt x="415" y="169"/>
                      <a:pt x="391" y="135"/>
                      <a:pt x="356" y="107"/>
                    </a:cubicBezTo>
                    <a:cubicBezTo>
                      <a:pt x="356" y="146"/>
                      <a:pt x="356" y="182"/>
                      <a:pt x="356" y="220"/>
                    </a:cubicBezTo>
                    <a:close/>
                    <a:moveTo>
                      <a:pt x="356" y="659"/>
                    </a:moveTo>
                    <a:cubicBezTo>
                      <a:pt x="390" y="629"/>
                      <a:pt x="415" y="596"/>
                      <a:pt x="435" y="555"/>
                    </a:cubicBezTo>
                    <a:cubicBezTo>
                      <a:pt x="407" y="551"/>
                      <a:pt x="382" y="548"/>
                      <a:pt x="356" y="545"/>
                    </a:cubicBezTo>
                    <a:cubicBezTo>
                      <a:pt x="356" y="584"/>
                      <a:pt x="356" y="620"/>
                      <a:pt x="356" y="659"/>
                    </a:cubicBezTo>
                    <a:close/>
                    <a:moveTo>
                      <a:pt x="327" y="106"/>
                    </a:moveTo>
                    <a:cubicBezTo>
                      <a:pt x="292" y="135"/>
                      <a:pt x="268" y="169"/>
                      <a:pt x="247" y="210"/>
                    </a:cubicBezTo>
                    <a:cubicBezTo>
                      <a:pt x="275" y="213"/>
                      <a:pt x="301" y="217"/>
                      <a:pt x="327" y="220"/>
                    </a:cubicBezTo>
                    <a:cubicBezTo>
                      <a:pt x="327" y="181"/>
                      <a:pt x="327" y="145"/>
                      <a:pt x="327" y="1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5" name="Freeform 6">
                <a:extLst>
                  <a:ext uri="{FF2B5EF4-FFF2-40B4-BE49-F238E27FC236}">
                    <a16:creationId xmlns:a16="http://schemas.microsoft.com/office/drawing/2014/main" id="{F12C171C-DE2A-B6D5-EE9E-99CD94C481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1563688" y="3856038"/>
                <a:ext cx="841375" cy="1179512"/>
              </a:xfrm>
              <a:custGeom>
                <a:avLst/>
                <a:gdLst>
                  <a:gd name="T0" fmla="*/ 321 w 426"/>
                  <a:gd name="T1" fmla="*/ 0 h 597"/>
                  <a:gd name="T2" fmla="*/ 369 w 426"/>
                  <a:gd name="T3" fmla="*/ 245 h 597"/>
                  <a:gd name="T4" fmla="*/ 346 w 426"/>
                  <a:gd name="T5" fmla="*/ 280 h 597"/>
                  <a:gd name="T6" fmla="*/ 327 w 426"/>
                  <a:gd name="T7" fmla="*/ 327 h 597"/>
                  <a:gd name="T8" fmla="*/ 313 w 426"/>
                  <a:gd name="T9" fmla="*/ 428 h 597"/>
                  <a:gd name="T10" fmla="*/ 289 w 426"/>
                  <a:gd name="T11" fmla="*/ 483 h 597"/>
                  <a:gd name="T12" fmla="*/ 200 w 426"/>
                  <a:gd name="T13" fmla="*/ 579 h 597"/>
                  <a:gd name="T14" fmla="*/ 147 w 426"/>
                  <a:gd name="T15" fmla="*/ 586 h 597"/>
                  <a:gd name="T16" fmla="*/ 133 w 426"/>
                  <a:gd name="T17" fmla="*/ 582 h 597"/>
                  <a:gd name="T18" fmla="*/ 87 w 426"/>
                  <a:gd name="T19" fmla="*/ 543 h 597"/>
                  <a:gd name="T20" fmla="*/ 125 w 426"/>
                  <a:gd name="T21" fmla="*/ 501 h 597"/>
                  <a:gd name="T22" fmla="*/ 168 w 426"/>
                  <a:gd name="T23" fmla="*/ 543 h 597"/>
                  <a:gd name="T24" fmla="*/ 168 w 426"/>
                  <a:gd name="T25" fmla="*/ 552 h 597"/>
                  <a:gd name="T26" fmla="*/ 178 w 426"/>
                  <a:gd name="T27" fmla="*/ 543 h 597"/>
                  <a:gd name="T28" fmla="*/ 256 w 426"/>
                  <a:gd name="T29" fmla="*/ 459 h 597"/>
                  <a:gd name="T30" fmla="*/ 253 w 426"/>
                  <a:gd name="T31" fmla="*/ 351 h 597"/>
                  <a:gd name="T32" fmla="*/ 147 w 426"/>
                  <a:gd name="T33" fmla="*/ 345 h 597"/>
                  <a:gd name="T34" fmla="*/ 52 w 426"/>
                  <a:gd name="T35" fmla="*/ 427 h 597"/>
                  <a:gd name="T36" fmla="*/ 46 w 426"/>
                  <a:gd name="T37" fmla="*/ 434 h 597"/>
                  <a:gd name="T38" fmla="*/ 61 w 426"/>
                  <a:gd name="T39" fmla="*/ 436 h 597"/>
                  <a:gd name="T40" fmla="*/ 96 w 426"/>
                  <a:gd name="T41" fmla="*/ 480 h 597"/>
                  <a:gd name="T42" fmla="*/ 53 w 426"/>
                  <a:gd name="T43" fmla="*/ 517 h 597"/>
                  <a:gd name="T44" fmla="*/ 14 w 426"/>
                  <a:gd name="T45" fmla="*/ 475 h 597"/>
                  <a:gd name="T46" fmla="*/ 9 w 426"/>
                  <a:gd name="T47" fmla="*/ 454 h 597"/>
                  <a:gd name="T48" fmla="*/ 15 w 426"/>
                  <a:gd name="T49" fmla="*/ 406 h 597"/>
                  <a:gd name="T50" fmla="*/ 131 w 426"/>
                  <a:gd name="T51" fmla="*/ 308 h 597"/>
                  <a:gd name="T52" fmla="*/ 172 w 426"/>
                  <a:gd name="T53" fmla="*/ 292 h 597"/>
                  <a:gd name="T54" fmla="*/ 289 w 426"/>
                  <a:gd name="T55" fmla="*/ 274 h 597"/>
                  <a:gd name="T56" fmla="*/ 309 w 426"/>
                  <a:gd name="T57" fmla="*/ 262 h 597"/>
                  <a:gd name="T58" fmla="*/ 355 w 426"/>
                  <a:gd name="T59" fmla="*/ 162 h 597"/>
                  <a:gd name="T60" fmla="*/ 335 w 426"/>
                  <a:gd name="T61" fmla="*/ 75 h 597"/>
                  <a:gd name="T62" fmla="*/ 325 w 426"/>
                  <a:gd name="T63" fmla="*/ 43 h 597"/>
                  <a:gd name="T64" fmla="*/ 321 w 426"/>
                  <a:gd name="T65" fmla="*/ 0 h 597"/>
                  <a:gd name="T66" fmla="*/ 285 w 426"/>
                  <a:gd name="T67" fmla="*/ 341 h 597"/>
                  <a:gd name="T68" fmla="*/ 288 w 426"/>
                  <a:gd name="T69" fmla="*/ 316 h 597"/>
                  <a:gd name="T70" fmla="*/ 263 w 426"/>
                  <a:gd name="T71" fmla="*/ 319 h 597"/>
                  <a:gd name="T72" fmla="*/ 285 w 426"/>
                  <a:gd name="T73" fmla="*/ 341 h 5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6" h="597">
                    <a:moveTo>
                      <a:pt x="321" y="0"/>
                    </a:moveTo>
                    <a:cubicBezTo>
                      <a:pt x="387" y="53"/>
                      <a:pt x="426" y="147"/>
                      <a:pt x="369" y="245"/>
                    </a:cubicBezTo>
                    <a:cubicBezTo>
                      <a:pt x="362" y="257"/>
                      <a:pt x="355" y="269"/>
                      <a:pt x="346" y="280"/>
                    </a:cubicBezTo>
                    <a:cubicBezTo>
                      <a:pt x="334" y="294"/>
                      <a:pt x="329" y="309"/>
                      <a:pt x="327" y="327"/>
                    </a:cubicBezTo>
                    <a:cubicBezTo>
                      <a:pt x="323" y="360"/>
                      <a:pt x="318" y="394"/>
                      <a:pt x="313" y="428"/>
                    </a:cubicBezTo>
                    <a:cubicBezTo>
                      <a:pt x="311" y="448"/>
                      <a:pt x="303" y="467"/>
                      <a:pt x="289" y="483"/>
                    </a:cubicBezTo>
                    <a:cubicBezTo>
                      <a:pt x="259" y="515"/>
                      <a:pt x="230" y="547"/>
                      <a:pt x="200" y="579"/>
                    </a:cubicBezTo>
                    <a:cubicBezTo>
                      <a:pt x="185" y="595"/>
                      <a:pt x="165" y="597"/>
                      <a:pt x="147" y="586"/>
                    </a:cubicBezTo>
                    <a:cubicBezTo>
                      <a:pt x="143" y="583"/>
                      <a:pt x="138" y="582"/>
                      <a:pt x="133" y="582"/>
                    </a:cubicBezTo>
                    <a:cubicBezTo>
                      <a:pt x="107" y="583"/>
                      <a:pt x="88" y="567"/>
                      <a:pt x="87" y="543"/>
                    </a:cubicBezTo>
                    <a:cubicBezTo>
                      <a:pt x="86" y="520"/>
                      <a:pt x="103" y="502"/>
                      <a:pt x="125" y="501"/>
                    </a:cubicBezTo>
                    <a:cubicBezTo>
                      <a:pt x="150" y="499"/>
                      <a:pt x="167" y="517"/>
                      <a:pt x="168" y="543"/>
                    </a:cubicBezTo>
                    <a:cubicBezTo>
                      <a:pt x="168" y="545"/>
                      <a:pt x="168" y="547"/>
                      <a:pt x="168" y="552"/>
                    </a:cubicBezTo>
                    <a:cubicBezTo>
                      <a:pt x="173" y="548"/>
                      <a:pt x="176" y="546"/>
                      <a:pt x="178" y="543"/>
                    </a:cubicBezTo>
                    <a:cubicBezTo>
                      <a:pt x="204" y="515"/>
                      <a:pt x="230" y="487"/>
                      <a:pt x="256" y="459"/>
                    </a:cubicBezTo>
                    <a:cubicBezTo>
                      <a:pt x="283" y="428"/>
                      <a:pt x="282" y="381"/>
                      <a:pt x="253" y="351"/>
                    </a:cubicBezTo>
                    <a:cubicBezTo>
                      <a:pt x="226" y="323"/>
                      <a:pt x="178" y="320"/>
                      <a:pt x="147" y="345"/>
                    </a:cubicBezTo>
                    <a:cubicBezTo>
                      <a:pt x="115" y="372"/>
                      <a:pt x="84" y="400"/>
                      <a:pt x="52" y="427"/>
                    </a:cubicBezTo>
                    <a:cubicBezTo>
                      <a:pt x="50" y="429"/>
                      <a:pt x="49" y="431"/>
                      <a:pt x="46" y="434"/>
                    </a:cubicBezTo>
                    <a:cubicBezTo>
                      <a:pt x="52" y="435"/>
                      <a:pt x="57" y="435"/>
                      <a:pt x="61" y="436"/>
                    </a:cubicBezTo>
                    <a:cubicBezTo>
                      <a:pt x="83" y="439"/>
                      <a:pt x="98" y="458"/>
                      <a:pt x="96" y="480"/>
                    </a:cubicBezTo>
                    <a:cubicBezTo>
                      <a:pt x="94" y="502"/>
                      <a:pt x="75" y="518"/>
                      <a:pt x="53" y="517"/>
                    </a:cubicBezTo>
                    <a:cubicBezTo>
                      <a:pt x="31" y="515"/>
                      <a:pt x="15" y="497"/>
                      <a:pt x="14" y="475"/>
                    </a:cubicBezTo>
                    <a:cubicBezTo>
                      <a:pt x="14" y="468"/>
                      <a:pt x="12" y="460"/>
                      <a:pt x="9" y="454"/>
                    </a:cubicBezTo>
                    <a:cubicBezTo>
                      <a:pt x="0" y="437"/>
                      <a:pt x="1" y="419"/>
                      <a:pt x="15" y="406"/>
                    </a:cubicBezTo>
                    <a:cubicBezTo>
                      <a:pt x="53" y="373"/>
                      <a:pt x="91" y="340"/>
                      <a:pt x="131" y="308"/>
                    </a:cubicBezTo>
                    <a:cubicBezTo>
                      <a:pt x="142" y="299"/>
                      <a:pt x="157" y="294"/>
                      <a:pt x="172" y="292"/>
                    </a:cubicBezTo>
                    <a:cubicBezTo>
                      <a:pt x="210" y="285"/>
                      <a:pt x="250" y="280"/>
                      <a:pt x="289" y="274"/>
                    </a:cubicBezTo>
                    <a:cubicBezTo>
                      <a:pt x="296" y="273"/>
                      <a:pt x="304" y="268"/>
                      <a:pt x="309" y="262"/>
                    </a:cubicBezTo>
                    <a:cubicBezTo>
                      <a:pt x="331" y="232"/>
                      <a:pt x="351" y="200"/>
                      <a:pt x="355" y="162"/>
                    </a:cubicBezTo>
                    <a:cubicBezTo>
                      <a:pt x="359" y="131"/>
                      <a:pt x="350" y="102"/>
                      <a:pt x="335" y="75"/>
                    </a:cubicBezTo>
                    <a:cubicBezTo>
                      <a:pt x="330" y="66"/>
                      <a:pt x="327" y="54"/>
                      <a:pt x="325" y="43"/>
                    </a:cubicBezTo>
                    <a:cubicBezTo>
                      <a:pt x="323" y="29"/>
                      <a:pt x="322" y="15"/>
                      <a:pt x="321" y="0"/>
                    </a:cubicBezTo>
                    <a:close/>
                    <a:moveTo>
                      <a:pt x="285" y="341"/>
                    </a:moveTo>
                    <a:cubicBezTo>
                      <a:pt x="286" y="333"/>
                      <a:pt x="287" y="325"/>
                      <a:pt x="288" y="316"/>
                    </a:cubicBezTo>
                    <a:cubicBezTo>
                      <a:pt x="278" y="317"/>
                      <a:pt x="270" y="318"/>
                      <a:pt x="263" y="319"/>
                    </a:cubicBezTo>
                    <a:cubicBezTo>
                      <a:pt x="271" y="326"/>
                      <a:pt x="277" y="333"/>
                      <a:pt x="285" y="3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6" name="Freeform 7">
                <a:extLst>
                  <a:ext uri="{FF2B5EF4-FFF2-40B4-BE49-F238E27FC236}">
                    <a16:creationId xmlns:a16="http://schemas.microsoft.com/office/drawing/2014/main" id="{A6A1133C-9903-4DDD-109E-91B3109878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2505076" y="3821113"/>
                <a:ext cx="900113" cy="517525"/>
              </a:xfrm>
              <a:custGeom>
                <a:avLst/>
                <a:gdLst>
                  <a:gd name="T0" fmla="*/ 76 w 456"/>
                  <a:gd name="T1" fmla="*/ 0 h 262"/>
                  <a:gd name="T2" fmla="*/ 56 w 456"/>
                  <a:gd name="T3" fmla="*/ 70 h 262"/>
                  <a:gd name="T4" fmla="*/ 78 w 456"/>
                  <a:gd name="T5" fmla="*/ 148 h 262"/>
                  <a:gd name="T6" fmla="*/ 157 w 456"/>
                  <a:gd name="T7" fmla="*/ 166 h 262"/>
                  <a:gd name="T8" fmla="*/ 257 w 456"/>
                  <a:gd name="T9" fmla="*/ 161 h 262"/>
                  <a:gd name="T10" fmla="*/ 272 w 456"/>
                  <a:gd name="T11" fmla="*/ 147 h 262"/>
                  <a:gd name="T12" fmla="*/ 380 w 456"/>
                  <a:gd name="T13" fmla="*/ 79 h 262"/>
                  <a:gd name="T14" fmla="*/ 443 w 456"/>
                  <a:gd name="T15" fmla="*/ 187 h 262"/>
                  <a:gd name="T16" fmla="*/ 330 w 456"/>
                  <a:gd name="T17" fmla="*/ 247 h 262"/>
                  <a:gd name="T18" fmla="*/ 284 w 456"/>
                  <a:gd name="T19" fmla="*/ 209 h 262"/>
                  <a:gd name="T20" fmla="*/ 265 w 456"/>
                  <a:gd name="T21" fmla="*/ 201 h 262"/>
                  <a:gd name="T22" fmla="*/ 123 w 456"/>
                  <a:gd name="T23" fmla="*/ 203 h 262"/>
                  <a:gd name="T24" fmla="*/ 68 w 456"/>
                  <a:gd name="T25" fmla="*/ 189 h 262"/>
                  <a:gd name="T26" fmla="*/ 18 w 456"/>
                  <a:gd name="T27" fmla="*/ 61 h 262"/>
                  <a:gd name="T28" fmla="*/ 76 w 456"/>
                  <a:gd name="T29" fmla="*/ 0 h 262"/>
                  <a:gd name="T30" fmla="*/ 405 w 456"/>
                  <a:gd name="T31" fmla="*/ 164 h 262"/>
                  <a:gd name="T32" fmla="*/ 359 w 456"/>
                  <a:gd name="T33" fmla="*/ 116 h 262"/>
                  <a:gd name="T34" fmla="*/ 311 w 456"/>
                  <a:gd name="T35" fmla="*/ 164 h 262"/>
                  <a:gd name="T36" fmla="*/ 358 w 456"/>
                  <a:gd name="T37" fmla="*/ 211 h 262"/>
                  <a:gd name="T38" fmla="*/ 405 w 456"/>
                  <a:gd name="T39" fmla="*/ 164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6" h="262">
                    <a:moveTo>
                      <a:pt x="76" y="0"/>
                    </a:moveTo>
                    <a:cubicBezTo>
                      <a:pt x="68" y="26"/>
                      <a:pt x="71" y="49"/>
                      <a:pt x="56" y="70"/>
                    </a:cubicBezTo>
                    <a:cubicBezTo>
                      <a:pt x="38" y="96"/>
                      <a:pt x="50" y="133"/>
                      <a:pt x="78" y="148"/>
                    </a:cubicBezTo>
                    <a:cubicBezTo>
                      <a:pt x="103" y="162"/>
                      <a:pt x="130" y="166"/>
                      <a:pt x="157" y="166"/>
                    </a:cubicBezTo>
                    <a:cubicBezTo>
                      <a:pt x="191" y="166"/>
                      <a:pt x="224" y="163"/>
                      <a:pt x="257" y="161"/>
                    </a:cubicBezTo>
                    <a:cubicBezTo>
                      <a:pt x="267" y="161"/>
                      <a:pt x="270" y="157"/>
                      <a:pt x="272" y="147"/>
                    </a:cubicBezTo>
                    <a:cubicBezTo>
                      <a:pt x="282" y="97"/>
                      <a:pt x="331" y="66"/>
                      <a:pt x="380" y="79"/>
                    </a:cubicBezTo>
                    <a:cubicBezTo>
                      <a:pt x="427" y="90"/>
                      <a:pt x="456" y="140"/>
                      <a:pt x="443" y="187"/>
                    </a:cubicBezTo>
                    <a:cubicBezTo>
                      <a:pt x="429" y="235"/>
                      <a:pt x="378" y="262"/>
                      <a:pt x="330" y="247"/>
                    </a:cubicBezTo>
                    <a:cubicBezTo>
                      <a:pt x="310" y="240"/>
                      <a:pt x="294" y="228"/>
                      <a:pt x="284" y="209"/>
                    </a:cubicBezTo>
                    <a:cubicBezTo>
                      <a:pt x="279" y="201"/>
                      <a:pt x="274" y="199"/>
                      <a:pt x="265" y="201"/>
                    </a:cubicBezTo>
                    <a:cubicBezTo>
                      <a:pt x="217" y="207"/>
                      <a:pt x="170" y="210"/>
                      <a:pt x="123" y="203"/>
                    </a:cubicBezTo>
                    <a:cubicBezTo>
                      <a:pt x="104" y="200"/>
                      <a:pt x="85" y="196"/>
                      <a:pt x="68" y="189"/>
                    </a:cubicBezTo>
                    <a:cubicBezTo>
                      <a:pt x="5" y="164"/>
                      <a:pt x="0" y="107"/>
                      <a:pt x="18" y="61"/>
                    </a:cubicBezTo>
                    <a:cubicBezTo>
                      <a:pt x="29" y="35"/>
                      <a:pt x="49" y="17"/>
                      <a:pt x="76" y="0"/>
                    </a:cubicBezTo>
                    <a:close/>
                    <a:moveTo>
                      <a:pt x="405" y="164"/>
                    </a:moveTo>
                    <a:cubicBezTo>
                      <a:pt x="405" y="138"/>
                      <a:pt x="385" y="117"/>
                      <a:pt x="359" y="116"/>
                    </a:cubicBezTo>
                    <a:cubicBezTo>
                      <a:pt x="332" y="116"/>
                      <a:pt x="311" y="137"/>
                      <a:pt x="311" y="164"/>
                    </a:cubicBezTo>
                    <a:cubicBezTo>
                      <a:pt x="311" y="189"/>
                      <a:pt x="333" y="211"/>
                      <a:pt x="358" y="211"/>
                    </a:cubicBezTo>
                    <a:cubicBezTo>
                      <a:pt x="384" y="210"/>
                      <a:pt x="405" y="190"/>
                      <a:pt x="405" y="1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7" name="Freeform 16">
                <a:extLst>
                  <a:ext uri="{FF2B5EF4-FFF2-40B4-BE49-F238E27FC236}">
                    <a16:creationId xmlns:a16="http://schemas.microsoft.com/office/drawing/2014/main" id="{73DA6888-0F78-5FDC-293D-E33F8885F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1851025" y="4089400"/>
                <a:ext cx="106363" cy="107950"/>
              </a:xfrm>
              <a:custGeom>
                <a:avLst/>
                <a:gdLst>
                  <a:gd name="T0" fmla="*/ 54 w 54"/>
                  <a:gd name="T1" fmla="*/ 28 h 55"/>
                  <a:gd name="T2" fmla="*/ 26 w 54"/>
                  <a:gd name="T3" fmla="*/ 54 h 55"/>
                  <a:gd name="T4" fmla="*/ 0 w 54"/>
                  <a:gd name="T5" fmla="*/ 27 h 55"/>
                  <a:gd name="T6" fmla="*/ 28 w 54"/>
                  <a:gd name="T7" fmla="*/ 1 h 55"/>
                  <a:gd name="T8" fmla="*/ 54 w 54"/>
                  <a:gd name="T9" fmla="*/ 2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" h="55">
                    <a:moveTo>
                      <a:pt x="54" y="28"/>
                    </a:moveTo>
                    <a:cubicBezTo>
                      <a:pt x="54" y="43"/>
                      <a:pt x="41" y="55"/>
                      <a:pt x="26" y="54"/>
                    </a:cubicBezTo>
                    <a:cubicBezTo>
                      <a:pt x="11" y="54"/>
                      <a:pt x="0" y="42"/>
                      <a:pt x="0" y="27"/>
                    </a:cubicBezTo>
                    <a:cubicBezTo>
                      <a:pt x="1" y="12"/>
                      <a:pt x="13" y="0"/>
                      <a:pt x="28" y="1"/>
                    </a:cubicBezTo>
                    <a:cubicBezTo>
                      <a:pt x="43" y="1"/>
                      <a:pt x="54" y="14"/>
                      <a:pt x="5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51" name="Freeform 23">
              <a:extLst>
                <a:ext uri="{FF2B5EF4-FFF2-40B4-BE49-F238E27FC236}">
                  <a16:creationId xmlns:a16="http://schemas.microsoft.com/office/drawing/2014/main" id="{66B0AD61-3A08-B5E2-BA86-8111A6710841}"/>
                </a:ext>
              </a:extLst>
            </p:cNvPr>
            <p:cNvSpPr>
              <a:spLocks/>
            </p:cNvSpPr>
            <p:nvPr/>
          </p:nvSpPr>
          <p:spPr bwMode="auto">
            <a:xfrm rot="1635232">
              <a:off x="10023049" y="3997763"/>
              <a:ext cx="22374" cy="22375"/>
            </a:xfrm>
            <a:custGeom>
              <a:avLst/>
              <a:gdLst>
                <a:gd name="T0" fmla="*/ 40 w 80"/>
                <a:gd name="T1" fmla="*/ 0 h 80"/>
                <a:gd name="T2" fmla="*/ 40 w 80"/>
                <a:gd name="T3" fmla="*/ 0 h 80"/>
                <a:gd name="T4" fmla="*/ 32 w 80"/>
                <a:gd name="T5" fmla="*/ 2 h 80"/>
                <a:gd name="T6" fmla="*/ 24 w 80"/>
                <a:gd name="T7" fmla="*/ 4 h 80"/>
                <a:gd name="T8" fmla="*/ 18 w 80"/>
                <a:gd name="T9" fmla="*/ 8 h 80"/>
                <a:gd name="T10" fmla="*/ 12 w 80"/>
                <a:gd name="T11" fmla="*/ 12 h 80"/>
                <a:gd name="T12" fmla="*/ 6 w 80"/>
                <a:gd name="T13" fmla="*/ 18 h 80"/>
                <a:gd name="T14" fmla="*/ 2 w 80"/>
                <a:gd name="T15" fmla="*/ 26 h 80"/>
                <a:gd name="T16" fmla="*/ 0 w 80"/>
                <a:gd name="T17" fmla="*/ 32 h 80"/>
                <a:gd name="T18" fmla="*/ 0 w 80"/>
                <a:gd name="T19" fmla="*/ 40 h 80"/>
                <a:gd name="T20" fmla="*/ 0 w 80"/>
                <a:gd name="T21" fmla="*/ 40 h 80"/>
                <a:gd name="T22" fmla="*/ 0 w 80"/>
                <a:gd name="T23" fmla="*/ 48 h 80"/>
                <a:gd name="T24" fmla="*/ 4 w 80"/>
                <a:gd name="T25" fmla="*/ 56 h 80"/>
                <a:gd name="T26" fmla="*/ 8 w 80"/>
                <a:gd name="T27" fmla="*/ 62 h 80"/>
                <a:gd name="T28" fmla="*/ 12 w 80"/>
                <a:gd name="T29" fmla="*/ 68 h 80"/>
                <a:gd name="T30" fmla="*/ 18 w 80"/>
                <a:gd name="T31" fmla="*/ 74 h 80"/>
                <a:gd name="T32" fmla="*/ 26 w 80"/>
                <a:gd name="T33" fmla="*/ 76 h 80"/>
                <a:gd name="T34" fmla="*/ 34 w 80"/>
                <a:gd name="T35" fmla="*/ 78 h 80"/>
                <a:gd name="T36" fmla="*/ 42 w 80"/>
                <a:gd name="T37" fmla="*/ 80 h 80"/>
                <a:gd name="T38" fmla="*/ 42 w 80"/>
                <a:gd name="T39" fmla="*/ 80 h 80"/>
                <a:gd name="T40" fmla="*/ 50 w 80"/>
                <a:gd name="T41" fmla="*/ 78 h 80"/>
                <a:gd name="T42" fmla="*/ 56 w 80"/>
                <a:gd name="T43" fmla="*/ 76 h 80"/>
                <a:gd name="T44" fmla="*/ 62 w 80"/>
                <a:gd name="T45" fmla="*/ 72 h 80"/>
                <a:gd name="T46" fmla="*/ 68 w 80"/>
                <a:gd name="T47" fmla="*/ 68 h 80"/>
                <a:gd name="T48" fmla="*/ 74 w 80"/>
                <a:gd name="T49" fmla="*/ 62 h 80"/>
                <a:gd name="T50" fmla="*/ 76 w 80"/>
                <a:gd name="T51" fmla="*/ 54 h 80"/>
                <a:gd name="T52" fmla="*/ 78 w 80"/>
                <a:gd name="T53" fmla="*/ 48 h 80"/>
                <a:gd name="T54" fmla="*/ 80 w 80"/>
                <a:gd name="T55" fmla="*/ 40 h 80"/>
                <a:gd name="T56" fmla="*/ 80 w 80"/>
                <a:gd name="T57" fmla="*/ 40 h 80"/>
                <a:gd name="T58" fmla="*/ 78 w 80"/>
                <a:gd name="T59" fmla="*/ 32 h 80"/>
                <a:gd name="T60" fmla="*/ 76 w 80"/>
                <a:gd name="T61" fmla="*/ 24 h 80"/>
                <a:gd name="T62" fmla="*/ 72 w 80"/>
                <a:gd name="T63" fmla="*/ 18 h 80"/>
                <a:gd name="T64" fmla="*/ 68 w 80"/>
                <a:gd name="T65" fmla="*/ 12 h 80"/>
                <a:gd name="T66" fmla="*/ 62 w 80"/>
                <a:gd name="T67" fmla="*/ 8 h 80"/>
                <a:gd name="T68" fmla="*/ 56 w 80"/>
                <a:gd name="T69" fmla="*/ 4 h 80"/>
                <a:gd name="T70" fmla="*/ 48 w 80"/>
                <a:gd name="T71" fmla="*/ 2 h 80"/>
                <a:gd name="T72" fmla="*/ 40 w 80"/>
                <a:gd name="T73" fmla="*/ 0 h 80"/>
                <a:gd name="T74" fmla="*/ 40 w 80"/>
                <a:gd name="T7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lnTo>
                    <a:pt x="40" y="0"/>
                  </a:lnTo>
                  <a:lnTo>
                    <a:pt x="32" y="2"/>
                  </a:lnTo>
                  <a:lnTo>
                    <a:pt x="24" y="4"/>
                  </a:lnTo>
                  <a:lnTo>
                    <a:pt x="18" y="8"/>
                  </a:lnTo>
                  <a:lnTo>
                    <a:pt x="12" y="12"/>
                  </a:lnTo>
                  <a:lnTo>
                    <a:pt x="6" y="18"/>
                  </a:lnTo>
                  <a:lnTo>
                    <a:pt x="2" y="26"/>
                  </a:lnTo>
                  <a:lnTo>
                    <a:pt x="0" y="3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4" y="56"/>
                  </a:lnTo>
                  <a:lnTo>
                    <a:pt x="8" y="62"/>
                  </a:lnTo>
                  <a:lnTo>
                    <a:pt x="12" y="68"/>
                  </a:lnTo>
                  <a:lnTo>
                    <a:pt x="18" y="74"/>
                  </a:lnTo>
                  <a:lnTo>
                    <a:pt x="26" y="76"/>
                  </a:lnTo>
                  <a:lnTo>
                    <a:pt x="34" y="78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50" y="78"/>
                  </a:lnTo>
                  <a:lnTo>
                    <a:pt x="56" y="76"/>
                  </a:lnTo>
                  <a:lnTo>
                    <a:pt x="62" y="72"/>
                  </a:lnTo>
                  <a:lnTo>
                    <a:pt x="68" y="68"/>
                  </a:lnTo>
                  <a:lnTo>
                    <a:pt x="74" y="62"/>
                  </a:lnTo>
                  <a:lnTo>
                    <a:pt x="76" y="54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8" y="32"/>
                  </a:lnTo>
                  <a:lnTo>
                    <a:pt x="76" y="24"/>
                  </a:lnTo>
                  <a:lnTo>
                    <a:pt x="72" y="18"/>
                  </a:lnTo>
                  <a:lnTo>
                    <a:pt x="68" y="12"/>
                  </a:lnTo>
                  <a:lnTo>
                    <a:pt x="62" y="8"/>
                  </a:lnTo>
                  <a:lnTo>
                    <a:pt x="56" y="4"/>
                  </a:lnTo>
                  <a:lnTo>
                    <a:pt x="48" y="2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2" name="Freeform 30">
              <a:extLst>
                <a:ext uri="{FF2B5EF4-FFF2-40B4-BE49-F238E27FC236}">
                  <a16:creationId xmlns:a16="http://schemas.microsoft.com/office/drawing/2014/main" id="{2D13A711-1D57-B8C1-8C96-79F5EA4F70DB}"/>
                </a:ext>
              </a:extLst>
            </p:cNvPr>
            <p:cNvSpPr>
              <a:spLocks/>
            </p:cNvSpPr>
            <p:nvPr/>
          </p:nvSpPr>
          <p:spPr bwMode="auto">
            <a:xfrm rot="1635232">
              <a:off x="9991745" y="4011176"/>
              <a:ext cx="22374" cy="21816"/>
            </a:xfrm>
            <a:custGeom>
              <a:avLst/>
              <a:gdLst>
                <a:gd name="T0" fmla="*/ 40 w 80"/>
                <a:gd name="T1" fmla="*/ 78 h 78"/>
                <a:gd name="T2" fmla="*/ 40 w 80"/>
                <a:gd name="T3" fmla="*/ 78 h 78"/>
                <a:gd name="T4" fmla="*/ 48 w 80"/>
                <a:gd name="T5" fmla="*/ 76 h 78"/>
                <a:gd name="T6" fmla="*/ 56 w 80"/>
                <a:gd name="T7" fmla="*/ 74 h 78"/>
                <a:gd name="T8" fmla="*/ 62 w 80"/>
                <a:gd name="T9" fmla="*/ 72 h 78"/>
                <a:gd name="T10" fmla="*/ 68 w 80"/>
                <a:gd name="T11" fmla="*/ 66 h 78"/>
                <a:gd name="T12" fmla="*/ 72 w 80"/>
                <a:gd name="T13" fmla="*/ 62 h 78"/>
                <a:gd name="T14" fmla="*/ 76 w 80"/>
                <a:gd name="T15" fmla="*/ 54 h 78"/>
                <a:gd name="T16" fmla="*/ 78 w 80"/>
                <a:gd name="T17" fmla="*/ 48 h 78"/>
                <a:gd name="T18" fmla="*/ 80 w 80"/>
                <a:gd name="T19" fmla="*/ 40 h 78"/>
                <a:gd name="T20" fmla="*/ 80 w 80"/>
                <a:gd name="T21" fmla="*/ 40 h 78"/>
                <a:gd name="T22" fmla="*/ 80 w 80"/>
                <a:gd name="T23" fmla="*/ 32 h 78"/>
                <a:gd name="T24" fmla="*/ 78 w 80"/>
                <a:gd name="T25" fmla="*/ 24 h 78"/>
                <a:gd name="T26" fmla="*/ 74 w 80"/>
                <a:gd name="T27" fmla="*/ 18 h 78"/>
                <a:gd name="T28" fmla="*/ 68 w 80"/>
                <a:gd name="T29" fmla="*/ 12 h 78"/>
                <a:gd name="T30" fmla="*/ 62 w 80"/>
                <a:gd name="T31" fmla="*/ 6 h 78"/>
                <a:gd name="T32" fmla="*/ 56 w 80"/>
                <a:gd name="T33" fmla="*/ 2 h 78"/>
                <a:gd name="T34" fmla="*/ 48 w 80"/>
                <a:gd name="T35" fmla="*/ 0 h 78"/>
                <a:gd name="T36" fmla="*/ 40 w 80"/>
                <a:gd name="T37" fmla="*/ 0 h 78"/>
                <a:gd name="T38" fmla="*/ 40 w 80"/>
                <a:gd name="T39" fmla="*/ 0 h 78"/>
                <a:gd name="T40" fmla="*/ 32 w 80"/>
                <a:gd name="T41" fmla="*/ 0 h 78"/>
                <a:gd name="T42" fmla="*/ 26 w 80"/>
                <a:gd name="T43" fmla="*/ 2 h 78"/>
                <a:gd name="T44" fmla="*/ 18 w 80"/>
                <a:gd name="T45" fmla="*/ 6 h 78"/>
                <a:gd name="T46" fmla="*/ 12 w 80"/>
                <a:gd name="T47" fmla="*/ 10 h 78"/>
                <a:gd name="T48" fmla="*/ 8 w 80"/>
                <a:gd name="T49" fmla="*/ 16 h 78"/>
                <a:gd name="T50" fmla="*/ 4 w 80"/>
                <a:gd name="T51" fmla="*/ 22 h 78"/>
                <a:gd name="T52" fmla="*/ 2 w 80"/>
                <a:gd name="T53" fmla="*/ 30 h 78"/>
                <a:gd name="T54" fmla="*/ 0 w 80"/>
                <a:gd name="T55" fmla="*/ 38 h 78"/>
                <a:gd name="T56" fmla="*/ 0 w 80"/>
                <a:gd name="T57" fmla="*/ 38 h 78"/>
                <a:gd name="T58" fmla="*/ 0 w 80"/>
                <a:gd name="T59" fmla="*/ 46 h 78"/>
                <a:gd name="T60" fmla="*/ 4 w 80"/>
                <a:gd name="T61" fmla="*/ 54 h 78"/>
                <a:gd name="T62" fmla="*/ 6 w 80"/>
                <a:gd name="T63" fmla="*/ 60 h 78"/>
                <a:gd name="T64" fmla="*/ 12 w 80"/>
                <a:gd name="T65" fmla="*/ 66 h 78"/>
                <a:gd name="T66" fmla="*/ 18 w 80"/>
                <a:gd name="T67" fmla="*/ 70 h 78"/>
                <a:gd name="T68" fmla="*/ 24 w 80"/>
                <a:gd name="T69" fmla="*/ 74 h 78"/>
                <a:gd name="T70" fmla="*/ 32 w 80"/>
                <a:gd name="T71" fmla="*/ 76 h 78"/>
                <a:gd name="T72" fmla="*/ 40 w 80"/>
                <a:gd name="T73" fmla="*/ 78 h 78"/>
                <a:gd name="T74" fmla="*/ 40 w 80"/>
                <a:gd name="T7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0" h="78">
                  <a:moveTo>
                    <a:pt x="40" y="78"/>
                  </a:moveTo>
                  <a:lnTo>
                    <a:pt x="40" y="78"/>
                  </a:lnTo>
                  <a:lnTo>
                    <a:pt x="48" y="76"/>
                  </a:lnTo>
                  <a:lnTo>
                    <a:pt x="56" y="74"/>
                  </a:lnTo>
                  <a:lnTo>
                    <a:pt x="62" y="72"/>
                  </a:lnTo>
                  <a:lnTo>
                    <a:pt x="68" y="66"/>
                  </a:lnTo>
                  <a:lnTo>
                    <a:pt x="72" y="62"/>
                  </a:lnTo>
                  <a:lnTo>
                    <a:pt x="76" y="54"/>
                  </a:lnTo>
                  <a:lnTo>
                    <a:pt x="78" y="48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2"/>
                  </a:lnTo>
                  <a:lnTo>
                    <a:pt x="78" y="24"/>
                  </a:lnTo>
                  <a:lnTo>
                    <a:pt x="74" y="18"/>
                  </a:lnTo>
                  <a:lnTo>
                    <a:pt x="68" y="12"/>
                  </a:lnTo>
                  <a:lnTo>
                    <a:pt x="62" y="6"/>
                  </a:lnTo>
                  <a:lnTo>
                    <a:pt x="56" y="2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8" y="16"/>
                  </a:lnTo>
                  <a:lnTo>
                    <a:pt x="4" y="22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6"/>
                  </a:lnTo>
                  <a:lnTo>
                    <a:pt x="4" y="54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0"/>
                  </a:lnTo>
                  <a:lnTo>
                    <a:pt x="24" y="74"/>
                  </a:lnTo>
                  <a:lnTo>
                    <a:pt x="32" y="76"/>
                  </a:lnTo>
                  <a:lnTo>
                    <a:pt x="40" y="78"/>
                  </a:lnTo>
                  <a:lnTo>
                    <a:pt x="40" y="7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53" name="Group 452">
              <a:extLst>
                <a:ext uri="{FF2B5EF4-FFF2-40B4-BE49-F238E27FC236}">
                  <a16:creationId xmlns:a16="http://schemas.microsoft.com/office/drawing/2014/main" id="{A3C2BFB1-9925-B524-B4CA-C7A7A38679BA}"/>
                </a:ext>
              </a:extLst>
            </p:cNvPr>
            <p:cNvGrpSpPr/>
            <p:nvPr/>
          </p:nvGrpSpPr>
          <p:grpSpPr>
            <a:xfrm rot="2620282">
              <a:off x="9988218" y="4205013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72" name="Freeform 23">
                <a:extLst>
                  <a:ext uri="{FF2B5EF4-FFF2-40B4-BE49-F238E27FC236}">
                    <a16:creationId xmlns:a16="http://schemas.microsoft.com/office/drawing/2014/main" id="{AA4E3836-C5F2-70B2-A6D5-AA50615390C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3" name="Freeform 30">
                <a:extLst>
                  <a:ext uri="{FF2B5EF4-FFF2-40B4-BE49-F238E27FC236}">
                    <a16:creationId xmlns:a16="http://schemas.microsoft.com/office/drawing/2014/main" id="{C54DE61B-75E5-906C-9743-C376618611E7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4" name="Group 453">
              <a:extLst>
                <a:ext uri="{FF2B5EF4-FFF2-40B4-BE49-F238E27FC236}">
                  <a16:creationId xmlns:a16="http://schemas.microsoft.com/office/drawing/2014/main" id="{E931122B-D2A6-F7A2-37AB-6E462EF347A6}"/>
                </a:ext>
              </a:extLst>
            </p:cNvPr>
            <p:cNvGrpSpPr/>
            <p:nvPr/>
          </p:nvGrpSpPr>
          <p:grpSpPr>
            <a:xfrm rot="5400000">
              <a:off x="9839220" y="4357439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70" name="Freeform 23">
                <a:extLst>
                  <a:ext uri="{FF2B5EF4-FFF2-40B4-BE49-F238E27FC236}">
                    <a16:creationId xmlns:a16="http://schemas.microsoft.com/office/drawing/2014/main" id="{231B57AD-A86C-5543-D5BC-10CFE05D1745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1" name="Freeform 30">
                <a:extLst>
                  <a:ext uri="{FF2B5EF4-FFF2-40B4-BE49-F238E27FC236}">
                    <a16:creationId xmlns:a16="http://schemas.microsoft.com/office/drawing/2014/main" id="{9DC07C89-330C-B398-362D-657E8C7E8E0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5" name="Group 454">
              <a:extLst>
                <a:ext uri="{FF2B5EF4-FFF2-40B4-BE49-F238E27FC236}">
                  <a16:creationId xmlns:a16="http://schemas.microsoft.com/office/drawing/2014/main" id="{8B6C00C9-4A68-D079-26EC-15469A353201}"/>
                </a:ext>
              </a:extLst>
            </p:cNvPr>
            <p:cNvGrpSpPr/>
            <p:nvPr/>
          </p:nvGrpSpPr>
          <p:grpSpPr>
            <a:xfrm rot="19639563">
              <a:off x="9626341" y="4351724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8" name="Freeform 23">
                <a:extLst>
                  <a:ext uri="{FF2B5EF4-FFF2-40B4-BE49-F238E27FC236}">
                    <a16:creationId xmlns:a16="http://schemas.microsoft.com/office/drawing/2014/main" id="{A54CCA86-2E1E-F7F8-7A56-E5F2BB93617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9" name="Freeform 30">
                <a:extLst>
                  <a:ext uri="{FF2B5EF4-FFF2-40B4-BE49-F238E27FC236}">
                    <a16:creationId xmlns:a16="http://schemas.microsoft.com/office/drawing/2014/main" id="{37B7273B-2484-E603-97B7-84901E5823D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6" name="Group 455">
              <a:extLst>
                <a:ext uri="{FF2B5EF4-FFF2-40B4-BE49-F238E27FC236}">
                  <a16:creationId xmlns:a16="http://schemas.microsoft.com/office/drawing/2014/main" id="{1CCF72E4-28A0-35CF-5F8B-312CF800E78A}"/>
                </a:ext>
              </a:extLst>
            </p:cNvPr>
            <p:cNvGrpSpPr/>
            <p:nvPr/>
          </p:nvGrpSpPr>
          <p:grpSpPr>
            <a:xfrm rot="21406974">
              <a:off x="9492428" y="4207263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6" name="Freeform 23">
                <a:extLst>
                  <a:ext uri="{FF2B5EF4-FFF2-40B4-BE49-F238E27FC236}">
                    <a16:creationId xmlns:a16="http://schemas.microsoft.com/office/drawing/2014/main" id="{590388CB-03E2-6831-4A84-F85EAB7DF141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7" name="Freeform 30">
                <a:extLst>
                  <a:ext uri="{FF2B5EF4-FFF2-40B4-BE49-F238E27FC236}">
                    <a16:creationId xmlns:a16="http://schemas.microsoft.com/office/drawing/2014/main" id="{336569FF-85DD-878B-60DD-A68040FE713A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7" name="Group 456">
              <a:extLst>
                <a:ext uri="{FF2B5EF4-FFF2-40B4-BE49-F238E27FC236}">
                  <a16:creationId xmlns:a16="http://schemas.microsoft.com/office/drawing/2014/main" id="{344D4272-C835-04D6-1749-ADBB81C7B7C5}"/>
                </a:ext>
              </a:extLst>
            </p:cNvPr>
            <p:cNvGrpSpPr/>
            <p:nvPr/>
          </p:nvGrpSpPr>
          <p:grpSpPr>
            <a:xfrm rot="2340524">
              <a:off x="9487569" y="4009928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4" name="Freeform 23">
                <a:extLst>
                  <a:ext uri="{FF2B5EF4-FFF2-40B4-BE49-F238E27FC236}">
                    <a16:creationId xmlns:a16="http://schemas.microsoft.com/office/drawing/2014/main" id="{EE20BC2E-5244-3C5A-2FE8-54A9750112A6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5" name="Freeform 30">
                <a:extLst>
                  <a:ext uri="{FF2B5EF4-FFF2-40B4-BE49-F238E27FC236}">
                    <a16:creationId xmlns:a16="http://schemas.microsoft.com/office/drawing/2014/main" id="{80435A91-87DD-18FF-43FA-8FF4EF43AD6E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8" name="Group 457">
              <a:extLst>
                <a:ext uri="{FF2B5EF4-FFF2-40B4-BE49-F238E27FC236}">
                  <a16:creationId xmlns:a16="http://schemas.microsoft.com/office/drawing/2014/main" id="{4DEB8C7A-61BF-89B3-BE6B-41B9436867DA}"/>
                </a:ext>
              </a:extLst>
            </p:cNvPr>
            <p:cNvGrpSpPr/>
            <p:nvPr/>
          </p:nvGrpSpPr>
          <p:grpSpPr>
            <a:xfrm rot="4988443">
              <a:off x="9636084" y="3854657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2" name="Freeform 23">
                <a:extLst>
                  <a:ext uri="{FF2B5EF4-FFF2-40B4-BE49-F238E27FC236}">
                    <a16:creationId xmlns:a16="http://schemas.microsoft.com/office/drawing/2014/main" id="{A59788B7-CBB7-913F-85F6-242B58AAD000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3" name="Freeform 30">
                <a:extLst>
                  <a:ext uri="{FF2B5EF4-FFF2-40B4-BE49-F238E27FC236}">
                    <a16:creationId xmlns:a16="http://schemas.microsoft.com/office/drawing/2014/main" id="{9E3F73E8-6A09-2CD3-5C89-0627AACBE4C8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459" name="Group 458">
              <a:extLst>
                <a:ext uri="{FF2B5EF4-FFF2-40B4-BE49-F238E27FC236}">
                  <a16:creationId xmlns:a16="http://schemas.microsoft.com/office/drawing/2014/main" id="{42557A1A-197E-AA65-967A-660BD7113B01}"/>
                </a:ext>
              </a:extLst>
            </p:cNvPr>
            <p:cNvGrpSpPr/>
            <p:nvPr/>
          </p:nvGrpSpPr>
          <p:grpSpPr>
            <a:xfrm rot="19492102">
              <a:off x="9843874" y="3855586"/>
              <a:ext cx="53681" cy="35229"/>
              <a:chOff x="10597768" y="3001483"/>
              <a:chExt cx="91666" cy="60159"/>
            </a:xfrm>
            <a:solidFill>
              <a:sysClr val="window" lastClr="FFFFFF"/>
            </a:solidFill>
          </p:grpSpPr>
          <p:sp>
            <p:nvSpPr>
              <p:cNvPr id="460" name="Freeform 23">
                <a:extLst>
                  <a:ext uri="{FF2B5EF4-FFF2-40B4-BE49-F238E27FC236}">
                    <a16:creationId xmlns:a16="http://schemas.microsoft.com/office/drawing/2014/main" id="{B1AF9B5C-8760-5011-D3DA-A4A00DC6EFB4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651226" y="3001483"/>
                <a:ext cx="38208" cy="38209"/>
              </a:xfrm>
              <a:custGeom>
                <a:avLst/>
                <a:gdLst>
                  <a:gd name="T0" fmla="*/ 40 w 80"/>
                  <a:gd name="T1" fmla="*/ 0 h 80"/>
                  <a:gd name="T2" fmla="*/ 40 w 80"/>
                  <a:gd name="T3" fmla="*/ 0 h 80"/>
                  <a:gd name="T4" fmla="*/ 32 w 80"/>
                  <a:gd name="T5" fmla="*/ 2 h 80"/>
                  <a:gd name="T6" fmla="*/ 24 w 80"/>
                  <a:gd name="T7" fmla="*/ 4 h 80"/>
                  <a:gd name="T8" fmla="*/ 18 w 80"/>
                  <a:gd name="T9" fmla="*/ 8 h 80"/>
                  <a:gd name="T10" fmla="*/ 12 w 80"/>
                  <a:gd name="T11" fmla="*/ 12 h 80"/>
                  <a:gd name="T12" fmla="*/ 6 w 80"/>
                  <a:gd name="T13" fmla="*/ 18 h 80"/>
                  <a:gd name="T14" fmla="*/ 2 w 80"/>
                  <a:gd name="T15" fmla="*/ 26 h 80"/>
                  <a:gd name="T16" fmla="*/ 0 w 80"/>
                  <a:gd name="T17" fmla="*/ 32 h 80"/>
                  <a:gd name="T18" fmla="*/ 0 w 80"/>
                  <a:gd name="T19" fmla="*/ 40 h 80"/>
                  <a:gd name="T20" fmla="*/ 0 w 80"/>
                  <a:gd name="T21" fmla="*/ 40 h 80"/>
                  <a:gd name="T22" fmla="*/ 0 w 80"/>
                  <a:gd name="T23" fmla="*/ 48 h 80"/>
                  <a:gd name="T24" fmla="*/ 4 w 80"/>
                  <a:gd name="T25" fmla="*/ 56 h 80"/>
                  <a:gd name="T26" fmla="*/ 8 w 80"/>
                  <a:gd name="T27" fmla="*/ 62 h 80"/>
                  <a:gd name="T28" fmla="*/ 12 w 80"/>
                  <a:gd name="T29" fmla="*/ 68 h 80"/>
                  <a:gd name="T30" fmla="*/ 18 w 80"/>
                  <a:gd name="T31" fmla="*/ 74 h 80"/>
                  <a:gd name="T32" fmla="*/ 26 w 80"/>
                  <a:gd name="T33" fmla="*/ 76 h 80"/>
                  <a:gd name="T34" fmla="*/ 34 w 80"/>
                  <a:gd name="T35" fmla="*/ 78 h 80"/>
                  <a:gd name="T36" fmla="*/ 42 w 80"/>
                  <a:gd name="T37" fmla="*/ 80 h 80"/>
                  <a:gd name="T38" fmla="*/ 42 w 80"/>
                  <a:gd name="T39" fmla="*/ 80 h 80"/>
                  <a:gd name="T40" fmla="*/ 50 w 80"/>
                  <a:gd name="T41" fmla="*/ 78 h 80"/>
                  <a:gd name="T42" fmla="*/ 56 w 80"/>
                  <a:gd name="T43" fmla="*/ 76 h 80"/>
                  <a:gd name="T44" fmla="*/ 62 w 80"/>
                  <a:gd name="T45" fmla="*/ 72 h 80"/>
                  <a:gd name="T46" fmla="*/ 68 w 80"/>
                  <a:gd name="T47" fmla="*/ 68 h 80"/>
                  <a:gd name="T48" fmla="*/ 74 w 80"/>
                  <a:gd name="T49" fmla="*/ 62 h 80"/>
                  <a:gd name="T50" fmla="*/ 76 w 80"/>
                  <a:gd name="T51" fmla="*/ 54 h 80"/>
                  <a:gd name="T52" fmla="*/ 78 w 80"/>
                  <a:gd name="T53" fmla="*/ 48 h 80"/>
                  <a:gd name="T54" fmla="*/ 80 w 80"/>
                  <a:gd name="T55" fmla="*/ 40 h 80"/>
                  <a:gd name="T56" fmla="*/ 80 w 80"/>
                  <a:gd name="T57" fmla="*/ 40 h 80"/>
                  <a:gd name="T58" fmla="*/ 78 w 80"/>
                  <a:gd name="T59" fmla="*/ 32 h 80"/>
                  <a:gd name="T60" fmla="*/ 76 w 80"/>
                  <a:gd name="T61" fmla="*/ 24 h 80"/>
                  <a:gd name="T62" fmla="*/ 72 w 80"/>
                  <a:gd name="T63" fmla="*/ 18 h 80"/>
                  <a:gd name="T64" fmla="*/ 68 w 80"/>
                  <a:gd name="T65" fmla="*/ 12 h 80"/>
                  <a:gd name="T66" fmla="*/ 62 w 80"/>
                  <a:gd name="T67" fmla="*/ 8 h 80"/>
                  <a:gd name="T68" fmla="*/ 56 w 80"/>
                  <a:gd name="T69" fmla="*/ 4 h 80"/>
                  <a:gd name="T70" fmla="*/ 48 w 80"/>
                  <a:gd name="T71" fmla="*/ 2 h 80"/>
                  <a:gd name="T72" fmla="*/ 40 w 80"/>
                  <a:gd name="T73" fmla="*/ 0 h 80"/>
                  <a:gd name="T74" fmla="*/ 40 w 80"/>
                  <a:gd name="T75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0">
                    <a:moveTo>
                      <a:pt x="40" y="0"/>
                    </a:moveTo>
                    <a:lnTo>
                      <a:pt x="40" y="0"/>
                    </a:lnTo>
                    <a:lnTo>
                      <a:pt x="32" y="2"/>
                    </a:lnTo>
                    <a:lnTo>
                      <a:pt x="24" y="4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2" y="26"/>
                    </a:lnTo>
                    <a:lnTo>
                      <a:pt x="0" y="3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4" y="56"/>
                    </a:lnTo>
                    <a:lnTo>
                      <a:pt x="8" y="62"/>
                    </a:lnTo>
                    <a:lnTo>
                      <a:pt x="12" y="68"/>
                    </a:lnTo>
                    <a:lnTo>
                      <a:pt x="18" y="74"/>
                    </a:lnTo>
                    <a:lnTo>
                      <a:pt x="26" y="76"/>
                    </a:lnTo>
                    <a:lnTo>
                      <a:pt x="34" y="78"/>
                    </a:lnTo>
                    <a:lnTo>
                      <a:pt x="42" y="80"/>
                    </a:lnTo>
                    <a:lnTo>
                      <a:pt x="42" y="80"/>
                    </a:lnTo>
                    <a:lnTo>
                      <a:pt x="50" y="78"/>
                    </a:lnTo>
                    <a:lnTo>
                      <a:pt x="56" y="76"/>
                    </a:lnTo>
                    <a:lnTo>
                      <a:pt x="62" y="72"/>
                    </a:lnTo>
                    <a:lnTo>
                      <a:pt x="68" y="68"/>
                    </a:lnTo>
                    <a:lnTo>
                      <a:pt x="74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2"/>
                    </a:lnTo>
                    <a:lnTo>
                      <a:pt x="76" y="24"/>
                    </a:lnTo>
                    <a:lnTo>
                      <a:pt x="72" y="18"/>
                    </a:lnTo>
                    <a:lnTo>
                      <a:pt x="68" y="12"/>
                    </a:lnTo>
                    <a:lnTo>
                      <a:pt x="62" y="8"/>
                    </a:lnTo>
                    <a:lnTo>
                      <a:pt x="56" y="4"/>
                    </a:lnTo>
                    <a:lnTo>
                      <a:pt x="48" y="2"/>
                    </a:lnTo>
                    <a:lnTo>
                      <a:pt x="40" y="0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1" name="Freeform 30">
                <a:extLst>
                  <a:ext uri="{FF2B5EF4-FFF2-40B4-BE49-F238E27FC236}">
                    <a16:creationId xmlns:a16="http://schemas.microsoft.com/office/drawing/2014/main" id="{282536CD-E70E-DA30-93A0-935BCF1469E2}"/>
                  </a:ext>
                </a:extLst>
              </p:cNvPr>
              <p:cNvSpPr>
                <a:spLocks/>
              </p:cNvSpPr>
              <p:nvPr/>
            </p:nvSpPr>
            <p:spPr bwMode="auto">
              <a:xfrm rot="1635232">
                <a:off x="10597768" y="3024388"/>
                <a:ext cx="38208" cy="37254"/>
              </a:xfrm>
              <a:custGeom>
                <a:avLst/>
                <a:gdLst>
                  <a:gd name="T0" fmla="*/ 40 w 80"/>
                  <a:gd name="T1" fmla="*/ 78 h 78"/>
                  <a:gd name="T2" fmla="*/ 40 w 80"/>
                  <a:gd name="T3" fmla="*/ 78 h 78"/>
                  <a:gd name="T4" fmla="*/ 48 w 80"/>
                  <a:gd name="T5" fmla="*/ 76 h 78"/>
                  <a:gd name="T6" fmla="*/ 56 w 80"/>
                  <a:gd name="T7" fmla="*/ 74 h 78"/>
                  <a:gd name="T8" fmla="*/ 62 w 80"/>
                  <a:gd name="T9" fmla="*/ 72 h 78"/>
                  <a:gd name="T10" fmla="*/ 68 w 80"/>
                  <a:gd name="T11" fmla="*/ 66 h 78"/>
                  <a:gd name="T12" fmla="*/ 72 w 80"/>
                  <a:gd name="T13" fmla="*/ 62 h 78"/>
                  <a:gd name="T14" fmla="*/ 76 w 80"/>
                  <a:gd name="T15" fmla="*/ 54 h 78"/>
                  <a:gd name="T16" fmla="*/ 78 w 80"/>
                  <a:gd name="T17" fmla="*/ 48 h 78"/>
                  <a:gd name="T18" fmla="*/ 80 w 80"/>
                  <a:gd name="T19" fmla="*/ 40 h 78"/>
                  <a:gd name="T20" fmla="*/ 80 w 80"/>
                  <a:gd name="T21" fmla="*/ 40 h 78"/>
                  <a:gd name="T22" fmla="*/ 80 w 80"/>
                  <a:gd name="T23" fmla="*/ 32 h 78"/>
                  <a:gd name="T24" fmla="*/ 78 w 80"/>
                  <a:gd name="T25" fmla="*/ 24 h 78"/>
                  <a:gd name="T26" fmla="*/ 74 w 80"/>
                  <a:gd name="T27" fmla="*/ 18 h 78"/>
                  <a:gd name="T28" fmla="*/ 68 w 80"/>
                  <a:gd name="T29" fmla="*/ 12 h 78"/>
                  <a:gd name="T30" fmla="*/ 62 w 80"/>
                  <a:gd name="T31" fmla="*/ 6 h 78"/>
                  <a:gd name="T32" fmla="*/ 56 w 80"/>
                  <a:gd name="T33" fmla="*/ 2 h 78"/>
                  <a:gd name="T34" fmla="*/ 48 w 80"/>
                  <a:gd name="T35" fmla="*/ 0 h 78"/>
                  <a:gd name="T36" fmla="*/ 40 w 80"/>
                  <a:gd name="T37" fmla="*/ 0 h 78"/>
                  <a:gd name="T38" fmla="*/ 40 w 80"/>
                  <a:gd name="T39" fmla="*/ 0 h 78"/>
                  <a:gd name="T40" fmla="*/ 32 w 80"/>
                  <a:gd name="T41" fmla="*/ 0 h 78"/>
                  <a:gd name="T42" fmla="*/ 26 w 80"/>
                  <a:gd name="T43" fmla="*/ 2 h 78"/>
                  <a:gd name="T44" fmla="*/ 18 w 80"/>
                  <a:gd name="T45" fmla="*/ 6 h 78"/>
                  <a:gd name="T46" fmla="*/ 12 w 80"/>
                  <a:gd name="T47" fmla="*/ 10 h 78"/>
                  <a:gd name="T48" fmla="*/ 8 w 80"/>
                  <a:gd name="T49" fmla="*/ 16 h 78"/>
                  <a:gd name="T50" fmla="*/ 4 w 80"/>
                  <a:gd name="T51" fmla="*/ 22 h 78"/>
                  <a:gd name="T52" fmla="*/ 2 w 80"/>
                  <a:gd name="T53" fmla="*/ 30 h 78"/>
                  <a:gd name="T54" fmla="*/ 0 w 80"/>
                  <a:gd name="T55" fmla="*/ 38 h 78"/>
                  <a:gd name="T56" fmla="*/ 0 w 80"/>
                  <a:gd name="T57" fmla="*/ 38 h 78"/>
                  <a:gd name="T58" fmla="*/ 0 w 80"/>
                  <a:gd name="T59" fmla="*/ 46 h 78"/>
                  <a:gd name="T60" fmla="*/ 4 w 80"/>
                  <a:gd name="T61" fmla="*/ 54 h 78"/>
                  <a:gd name="T62" fmla="*/ 6 w 80"/>
                  <a:gd name="T63" fmla="*/ 60 h 78"/>
                  <a:gd name="T64" fmla="*/ 12 w 80"/>
                  <a:gd name="T65" fmla="*/ 66 h 78"/>
                  <a:gd name="T66" fmla="*/ 18 w 80"/>
                  <a:gd name="T67" fmla="*/ 70 h 78"/>
                  <a:gd name="T68" fmla="*/ 24 w 80"/>
                  <a:gd name="T69" fmla="*/ 74 h 78"/>
                  <a:gd name="T70" fmla="*/ 32 w 80"/>
                  <a:gd name="T71" fmla="*/ 76 h 78"/>
                  <a:gd name="T72" fmla="*/ 40 w 80"/>
                  <a:gd name="T73" fmla="*/ 78 h 78"/>
                  <a:gd name="T74" fmla="*/ 40 w 80"/>
                  <a:gd name="T75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78">
                    <a:moveTo>
                      <a:pt x="40" y="78"/>
                    </a:moveTo>
                    <a:lnTo>
                      <a:pt x="40" y="78"/>
                    </a:lnTo>
                    <a:lnTo>
                      <a:pt x="48" y="76"/>
                    </a:lnTo>
                    <a:lnTo>
                      <a:pt x="56" y="74"/>
                    </a:lnTo>
                    <a:lnTo>
                      <a:pt x="62" y="72"/>
                    </a:lnTo>
                    <a:lnTo>
                      <a:pt x="68" y="66"/>
                    </a:lnTo>
                    <a:lnTo>
                      <a:pt x="72" y="62"/>
                    </a:lnTo>
                    <a:lnTo>
                      <a:pt x="76" y="54"/>
                    </a:lnTo>
                    <a:lnTo>
                      <a:pt x="78" y="4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32"/>
                    </a:lnTo>
                    <a:lnTo>
                      <a:pt x="78" y="24"/>
                    </a:lnTo>
                    <a:lnTo>
                      <a:pt x="74" y="18"/>
                    </a:lnTo>
                    <a:lnTo>
                      <a:pt x="68" y="12"/>
                    </a:lnTo>
                    <a:lnTo>
                      <a:pt x="62" y="6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6"/>
                    </a:lnTo>
                    <a:lnTo>
                      <a:pt x="12" y="10"/>
                    </a:lnTo>
                    <a:lnTo>
                      <a:pt x="8" y="16"/>
                    </a:lnTo>
                    <a:lnTo>
                      <a:pt x="4" y="22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8" y="70"/>
                    </a:lnTo>
                    <a:lnTo>
                      <a:pt x="24" y="74"/>
                    </a:lnTo>
                    <a:lnTo>
                      <a:pt x="32" y="76"/>
                    </a:lnTo>
                    <a:lnTo>
                      <a:pt x="40" y="78"/>
                    </a:lnTo>
                    <a:lnTo>
                      <a:pt x="40" y="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5828A23-156F-DB13-91BE-B35DAE69852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0" y="1134336"/>
            <a:ext cx="4040013" cy="5723663"/>
          </a:xfrm>
          <a:custGeom>
            <a:avLst/>
            <a:gdLst>
              <a:gd name="connsiteX0" fmla="*/ 0 w 4040013"/>
              <a:gd name="connsiteY0" fmla="*/ 0 h 4992776"/>
              <a:gd name="connsiteX1" fmla="*/ 4040013 w 4040013"/>
              <a:gd name="connsiteY1" fmla="*/ 0 h 4992776"/>
              <a:gd name="connsiteX2" fmla="*/ 4040013 w 4040013"/>
              <a:gd name="connsiteY2" fmla="*/ 4992776 h 4992776"/>
              <a:gd name="connsiteX3" fmla="*/ 0 w 4040013"/>
              <a:gd name="connsiteY3" fmla="*/ 4992776 h 4992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40013" h="4992776">
                <a:moveTo>
                  <a:pt x="0" y="0"/>
                </a:moveTo>
                <a:lnTo>
                  <a:pt x="4040013" y="0"/>
                </a:lnTo>
                <a:lnTo>
                  <a:pt x="4040013" y="4992776"/>
                </a:lnTo>
                <a:lnTo>
                  <a:pt x="0" y="4992776"/>
                </a:lnTo>
                <a:close/>
              </a:path>
            </a:pathLst>
          </a:custGeom>
          <a:gradFill flip="none" rotWithShape="1">
            <a:gsLst>
              <a:gs pos="0">
                <a:srgbClr val="0D5CAB">
                  <a:shade val="30000"/>
                  <a:satMod val="115000"/>
                </a:srgbClr>
              </a:gs>
              <a:gs pos="50000">
                <a:srgbClr val="0D5CAB">
                  <a:shade val="67500"/>
                  <a:satMod val="115000"/>
                </a:srgbClr>
              </a:gs>
              <a:gs pos="100000">
                <a:srgbClr val="0D5CAB">
                  <a:shade val="100000"/>
                  <a:satMod val="115000"/>
                </a:srgbClr>
              </a:gs>
            </a:gsLst>
            <a:lin ang="10800000" scaled="1"/>
            <a:tileRect/>
          </a:gradFill>
          <a:ln w="15554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9" name="Rectangle 428">
            <a:extLst>
              <a:ext uri="{FF2B5EF4-FFF2-40B4-BE49-F238E27FC236}">
                <a16:creationId xmlns:a16="http://schemas.microsoft.com/office/drawing/2014/main" id="{A7853CF6-AC71-B51C-0670-7B367578835A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3731752"/>
            <a:ext cx="4040013" cy="1991510"/>
          </a:xfrm>
          <a:prstGeom prst="rect">
            <a:avLst/>
          </a:prstGeom>
          <a:gradFill flip="none" rotWithShape="1">
            <a:gsLst>
              <a:gs pos="0">
                <a:srgbClr val="0D5CAB">
                  <a:shade val="30000"/>
                  <a:satMod val="115000"/>
                </a:srgbClr>
              </a:gs>
              <a:gs pos="50000">
                <a:srgbClr val="0D5CAB">
                  <a:shade val="67500"/>
                  <a:satMod val="115000"/>
                </a:srgbClr>
              </a:gs>
              <a:gs pos="100000">
                <a:srgbClr val="0D5CAB">
                  <a:shade val="100000"/>
                  <a:satMod val="115000"/>
                </a:srgbClr>
              </a:gs>
            </a:gsLst>
            <a:lin ang="16200000" scaled="1"/>
            <a:tileRect/>
          </a:gra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0" name="Rectangle: Rounded Corners 429">
            <a:extLst>
              <a:ext uri="{FF2B5EF4-FFF2-40B4-BE49-F238E27FC236}">
                <a16:creationId xmlns:a16="http://schemas.microsoft.com/office/drawing/2014/main" id="{F5A426B5-93C7-88C0-1FFB-FA3D74B2500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21479" y="5988375"/>
            <a:ext cx="2997055" cy="487630"/>
          </a:xfrm>
          <a:prstGeom prst="roundRect">
            <a:avLst>
              <a:gd name="adj" fmla="val 50000"/>
            </a:avLst>
          </a:prstGeom>
          <a:solidFill>
            <a:srgbClr val="FFFFFF"/>
          </a:soli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PRESENT</a:t>
            </a:r>
          </a:p>
        </p:txBody>
      </p:sp>
      <p:sp>
        <p:nvSpPr>
          <p:cNvPr id="431" name="Rectangle 430">
            <a:extLst>
              <a:ext uri="{FF2B5EF4-FFF2-40B4-BE49-F238E27FC236}">
                <a16:creationId xmlns:a16="http://schemas.microsoft.com/office/drawing/2014/main" id="{1F868FB6-65B7-0100-ACCD-4952BEFE13E8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>
          <a:xfrm>
            <a:off x="0" y="1134337"/>
            <a:ext cx="4040013" cy="263539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274320" tIns="91440" rIns="365760" bIns="0" numCol="1" spcCol="1270" anchor="t" anchorCtr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4592546-EB18-D40D-1E63-F8017DCDBA5F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>
          <a:xfrm>
            <a:off x="106326" y="1134738"/>
            <a:ext cx="3598899" cy="2437343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</p:spPr>
        <p:txBody>
          <a:bodyPr spcFirstLastPara="0" vert="horz" wrap="square" lIns="91440" tIns="91440" rIns="91440" bIns="0" numCol="1" spcCol="1270" anchor="t" anchorCtr="0">
            <a:no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cial success from acute care volum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tients directed to system asset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th via provider integration and asset acquisitio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ially integrated medical record, controlled by health system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B272DE35-0090-0B12-0C20-6840A1ADD61C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 rot="16200000">
            <a:off x="3597235" y="2156273"/>
            <a:ext cx="602788" cy="296032"/>
          </a:xfrm>
          <a:prstGeom prst="triangle">
            <a:avLst/>
          </a:prstGeom>
          <a:solidFill>
            <a:schemeClr val="bg1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BF8DAC54-32E0-EB69-AE7A-7849AF1907FD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 rot="5400000">
            <a:off x="7987695" y="4522269"/>
            <a:ext cx="602788" cy="296032"/>
          </a:xfrm>
          <a:prstGeom prst="triangle">
            <a:avLst/>
          </a:prstGeom>
          <a:solidFill>
            <a:schemeClr val="bg1"/>
          </a:solidFill>
          <a:ln>
            <a:noFill/>
          </a:ln>
          <a:effectLst>
            <a:outerShdw blurRad="2032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E0B678D-DB14-5020-C738-9A5E78FCD741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546331" y="3913216"/>
            <a:ext cx="2947350" cy="1526662"/>
            <a:chOff x="5177093" y="3735397"/>
            <a:chExt cx="1899571" cy="983936"/>
          </a:xfrm>
        </p:grpSpPr>
        <p:sp>
          <p:nvSpPr>
            <p:cNvPr id="22" name="Rectangle: Top Corners Rounded 21">
              <a:extLst>
                <a:ext uri="{FF2B5EF4-FFF2-40B4-BE49-F238E27FC236}">
                  <a16:creationId xmlns:a16="http://schemas.microsoft.com/office/drawing/2014/main" id="{2DD99A83-B758-900F-D106-346B3B8C1A62}"/>
                </a:ext>
              </a:extLst>
            </p:cNvPr>
            <p:cNvSpPr/>
            <p:nvPr/>
          </p:nvSpPr>
          <p:spPr>
            <a:xfrm>
              <a:off x="5177093" y="3735397"/>
              <a:ext cx="632881" cy="450912"/>
            </a:xfrm>
            <a:prstGeom prst="round2SameRect">
              <a:avLst/>
            </a:prstGeom>
            <a:solidFill>
              <a:srgbClr val="0D5CA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Rectangle: Top Corners Rounded 22">
              <a:extLst>
                <a:ext uri="{FF2B5EF4-FFF2-40B4-BE49-F238E27FC236}">
                  <a16:creationId xmlns:a16="http://schemas.microsoft.com/office/drawing/2014/main" id="{77037317-68FF-52D3-12C4-A1F2CA73CA81}"/>
                </a:ext>
              </a:extLst>
            </p:cNvPr>
            <p:cNvSpPr/>
            <p:nvPr/>
          </p:nvSpPr>
          <p:spPr>
            <a:xfrm rot="10800000">
              <a:off x="5177093" y="4258896"/>
              <a:ext cx="632881" cy="450912"/>
            </a:xfrm>
            <a:prstGeom prst="round2SameRect">
              <a:avLst/>
            </a:prstGeom>
            <a:solidFill>
              <a:srgbClr val="0D5CA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18E8AEFF-F125-0259-C0BF-9D36E669CAEA}"/>
                </a:ext>
              </a:extLst>
            </p:cNvPr>
            <p:cNvSpPr/>
            <p:nvPr/>
          </p:nvSpPr>
          <p:spPr>
            <a:xfrm>
              <a:off x="6443783" y="3744922"/>
              <a:ext cx="632881" cy="450912"/>
            </a:xfrm>
            <a:prstGeom prst="round2SameRect">
              <a:avLst/>
            </a:prstGeom>
            <a:solidFill>
              <a:srgbClr val="0D5CA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: Top Corners Rounded 24">
              <a:extLst>
                <a:ext uri="{FF2B5EF4-FFF2-40B4-BE49-F238E27FC236}">
                  <a16:creationId xmlns:a16="http://schemas.microsoft.com/office/drawing/2014/main" id="{B18440AA-B44B-6506-1CE5-5E5FFF28AD15}"/>
                </a:ext>
              </a:extLst>
            </p:cNvPr>
            <p:cNvSpPr/>
            <p:nvPr/>
          </p:nvSpPr>
          <p:spPr>
            <a:xfrm rot="10800000">
              <a:off x="6443783" y="4268421"/>
              <a:ext cx="632881" cy="450912"/>
            </a:xfrm>
            <a:prstGeom prst="round2SameRect">
              <a:avLst/>
            </a:prstGeom>
            <a:solidFill>
              <a:srgbClr val="0D5CAB">
                <a:lumMod val="60000"/>
                <a:lumOff val="4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8677E38-6149-9212-8ED9-53539D33E852}"/>
                </a:ext>
              </a:extLst>
            </p:cNvPr>
            <p:cNvSpPr/>
            <p:nvPr/>
          </p:nvSpPr>
          <p:spPr bwMode="auto">
            <a:xfrm>
              <a:off x="5720598" y="3872347"/>
              <a:ext cx="767180" cy="767176"/>
            </a:xfrm>
            <a:prstGeom prst="ellipse">
              <a:avLst/>
            </a:prstGeom>
            <a:solidFill>
              <a:sysClr val="window" lastClr="FFFFFF"/>
            </a:solidFill>
            <a:ln w="76200" cap="flat" cmpd="sng" algn="ctr">
              <a:solidFill>
                <a:sysClr val="window" lastClr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ヒラギノ明朝 ProN W3" pitchFamily="1" charset="-128"/>
                <a:cs typeface="+mn-cs"/>
                <a:sym typeface="Times New Roman" pitchFamily="18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05EB4F9-56E0-E460-02F3-6C40D71BD38E}"/>
                </a:ext>
              </a:extLst>
            </p:cNvPr>
            <p:cNvGrpSpPr/>
            <p:nvPr/>
          </p:nvGrpSpPr>
          <p:grpSpPr>
            <a:xfrm>
              <a:off x="5288447" y="3837071"/>
              <a:ext cx="372868" cy="278002"/>
              <a:chOff x="-1630535" y="2571816"/>
              <a:chExt cx="804755" cy="600009"/>
            </a:xfrm>
          </p:grpSpPr>
          <p:sp>
            <p:nvSpPr>
              <p:cNvPr id="529" name="Rectangle 528">
                <a:extLst>
                  <a:ext uri="{FF2B5EF4-FFF2-40B4-BE49-F238E27FC236}">
                    <a16:creationId xmlns:a16="http://schemas.microsoft.com/office/drawing/2014/main" id="{3749CA9B-E29F-4E0F-6616-FB1876A2105F}"/>
                  </a:ext>
                </a:extLst>
              </p:cNvPr>
              <p:cNvSpPr/>
              <p:nvPr/>
            </p:nvSpPr>
            <p:spPr>
              <a:xfrm>
                <a:off x="-1438275" y="2571816"/>
                <a:ext cx="399678" cy="600009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83CDBA91-C262-C8A1-9CB4-8B0A2549DA58}"/>
                  </a:ext>
                </a:extLst>
              </p:cNvPr>
              <p:cNvSpPr/>
              <p:nvPr/>
            </p:nvSpPr>
            <p:spPr>
              <a:xfrm>
                <a:off x="-995599" y="2714625"/>
                <a:ext cx="169819" cy="457200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5870B213-FA9F-7DF3-1AE8-26C283A5F44D}"/>
                  </a:ext>
                </a:extLst>
              </p:cNvPr>
              <p:cNvSpPr/>
              <p:nvPr/>
            </p:nvSpPr>
            <p:spPr>
              <a:xfrm flipH="1">
                <a:off x="-1630535" y="2714626"/>
                <a:ext cx="169818" cy="457199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2" name="Rectangle 531">
                <a:extLst>
                  <a:ext uri="{FF2B5EF4-FFF2-40B4-BE49-F238E27FC236}">
                    <a16:creationId xmlns:a16="http://schemas.microsoft.com/office/drawing/2014/main" id="{A5D5C327-88C8-951E-9C9A-EBC4448D691D}"/>
                  </a:ext>
                </a:extLst>
              </p:cNvPr>
              <p:cNvSpPr/>
              <p:nvPr/>
            </p:nvSpPr>
            <p:spPr>
              <a:xfrm>
                <a:off x="-1378576" y="2647950"/>
                <a:ext cx="280281" cy="128016"/>
              </a:xfrm>
              <a:prstGeom prst="rect">
                <a:avLst/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3" name="Cross 532">
                <a:extLst>
                  <a:ext uri="{FF2B5EF4-FFF2-40B4-BE49-F238E27FC236}">
                    <a16:creationId xmlns:a16="http://schemas.microsoft.com/office/drawing/2014/main" id="{341F4278-B49A-33EC-4112-F7C72CB47544}"/>
                  </a:ext>
                </a:extLst>
              </p:cNvPr>
              <p:cNvSpPr/>
              <p:nvPr/>
            </p:nvSpPr>
            <p:spPr>
              <a:xfrm>
                <a:off x="-1354611" y="2829873"/>
                <a:ext cx="232351" cy="232351"/>
              </a:xfrm>
              <a:prstGeom prst="plus">
                <a:avLst>
                  <a:gd name="adj" fmla="val 29100"/>
                </a:avLst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6020718E-25D4-4F76-D340-C40F5D997EB8}"/>
                </a:ext>
              </a:extLst>
            </p:cNvPr>
            <p:cNvGrpSpPr/>
            <p:nvPr/>
          </p:nvGrpSpPr>
          <p:grpSpPr>
            <a:xfrm>
              <a:off x="5288447" y="4352425"/>
              <a:ext cx="372868" cy="278002"/>
              <a:chOff x="-1630535" y="2571816"/>
              <a:chExt cx="804755" cy="600009"/>
            </a:xfrm>
          </p:grpSpPr>
          <p:sp>
            <p:nvSpPr>
              <p:cNvPr id="524" name="Rectangle 523">
                <a:extLst>
                  <a:ext uri="{FF2B5EF4-FFF2-40B4-BE49-F238E27FC236}">
                    <a16:creationId xmlns:a16="http://schemas.microsoft.com/office/drawing/2014/main" id="{989652D7-A86C-49D3-E443-4E01B0AF703D}"/>
                  </a:ext>
                </a:extLst>
              </p:cNvPr>
              <p:cNvSpPr/>
              <p:nvPr/>
            </p:nvSpPr>
            <p:spPr>
              <a:xfrm>
                <a:off x="-1438275" y="2571816"/>
                <a:ext cx="399678" cy="600009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41623EF8-AA32-F130-9678-643664D0D3D9}"/>
                  </a:ext>
                </a:extLst>
              </p:cNvPr>
              <p:cNvSpPr/>
              <p:nvPr/>
            </p:nvSpPr>
            <p:spPr>
              <a:xfrm>
                <a:off x="-995599" y="2714625"/>
                <a:ext cx="169819" cy="457200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5C2742F7-3AC7-F837-1F2D-844C0E3C5DD5}"/>
                  </a:ext>
                </a:extLst>
              </p:cNvPr>
              <p:cNvSpPr/>
              <p:nvPr/>
            </p:nvSpPr>
            <p:spPr>
              <a:xfrm flipH="1">
                <a:off x="-1630535" y="2714626"/>
                <a:ext cx="169818" cy="457199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7" name="Rectangle 526">
                <a:extLst>
                  <a:ext uri="{FF2B5EF4-FFF2-40B4-BE49-F238E27FC236}">
                    <a16:creationId xmlns:a16="http://schemas.microsoft.com/office/drawing/2014/main" id="{62B1BE04-27F7-DBDC-1FA5-882ED4CD1FD0}"/>
                  </a:ext>
                </a:extLst>
              </p:cNvPr>
              <p:cNvSpPr/>
              <p:nvPr/>
            </p:nvSpPr>
            <p:spPr>
              <a:xfrm>
                <a:off x="-1378576" y="2647950"/>
                <a:ext cx="280281" cy="128016"/>
              </a:xfrm>
              <a:prstGeom prst="rect">
                <a:avLst/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8" name="Cross 527">
                <a:extLst>
                  <a:ext uri="{FF2B5EF4-FFF2-40B4-BE49-F238E27FC236}">
                    <a16:creationId xmlns:a16="http://schemas.microsoft.com/office/drawing/2014/main" id="{60D762C2-194D-9BC5-7152-842BC6EEA2A2}"/>
                  </a:ext>
                </a:extLst>
              </p:cNvPr>
              <p:cNvSpPr/>
              <p:nvPr/>
            </p:nvSpPr>
            <p:spPr>
              <a:xfrm>
                <a:off x="-1354611" y="2829873"/>
                <a:ext cx="232351" cy="232351"/>
              </a:xfrm>
              <a:prstGeom prst="plus">
                <a:avLst>
                  <a:gd name="adj" fmla="val 29100"/>
                </a:avLst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641A624-1A50-1446-507C-BA5C9A2D1FA1}"/>
                </a:ext>
              </a:extLst>
            </p:cNvPr>
            <p:cNvGrpSpPr/>
            <p:nvPr/>
          </p:nvGrpSpPr>
          <p:grpSpPr>
            <a:xfrm>
              <a:off x="6593381" y="3837071"/>
              <a:ext cx="372868" cy="278002"/>
              <a:chOff x="-1630535" y="2571816"/>
              <a:chExt cx="804755" cy="600009"/>
            </a:xfrm>
          </p:grpSpPr>
          <p:sp>
            <p:nvSpPr>
              <p:cNvPr id="519" name="Rectangle 518">
                <a:extLst>
                  <a:ext uri="{FF2B5EF4-FFF2-40B4-BE49-F238E27FC236}">
                    <a16:creationId xmlns:a16="http://schemas.microsoft.com/office/drawing/2014/main" id="{1B1A804A-26E0-BAB0-DC2D-E8C9C247B6AE}"/>
                  </a:ext>
                </a:extLst>
              </p:cNvPr>
              <p:cNvSpPr/>
              <p:nvPr/>
            </p:nvSpPr>
            <p:spPr>
              <a:xfrm>
                <a:off x="-1438275" y="2571816"/>
                <a:ext cx="399678" cy="600009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0" name="Freeform: Shape 519">
                <a:extLst>
                  <a:ext uri="{FF2B5EF4-FFF2-40B4-BE49-F238E27FC236}">
                    <a16:creationId xmlns:a16="http://schemas.microsoft.com/office/drawing/2014/main" id="{3C51BD38-0A19-B1C4-986B-52828121DC43}"/>
                  </a:ext>
                </a:extLst>
              </p:cNvPr>
              <p:cNvSpPr/>
              <p:nvPr/>
            </p:nvSpPr>
            <p:spPr>
              <a:xfrm>
                <a:off x="-995599" y="2714625"/>
                <a:ext cx="169819" cy="457200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1" name="Freeform: Shape 520">
                <a:extLst>
                  <a:ext uri="{FF2B5EF4-FFF2-40B4-BE49-F238E27FC236}">
                    <a16:creationId xmlns:a16="http://schemas.microsoft.com/office/drawing/2014/main" id="{EEC35BB4-3377-980E-3E26-066984A7EB99}"/>
                  </a:ext>
                </a:extLst>
              </p:cNvPr>
              <p:cNvSpPr/>
              <p:nvPr/>
            </p:nvSpPr>
            <p:spPr>
              <a:xfrm flipH="1">
                <a:off x="-1630535" y="2714626"/>
                <a:ext cx="169818" cy="457199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2" name="Rectangle 521">
                <a:extLst>
                  <a:ext uri="{FF2B5EF4-FFF2-40B4-BE49-F238E27FC236}">
                    <a16:creationId xmlns:a16="http://schemas.microsoft.com/office/drawing/2014/main" id="{3B6C1CEB-8F9B-4645-15A3-BD7FB03F8B50}"/>
                  </a:ext>
                </a:extLst>
              </p:cNvPr>
              <p:cNvSpPr/>
              <p:nvPr/>
            </p:nvSpPr>
            <p:spPr>
              <a:xfrm>
                <a:off x="-1378576" y="2647950"/>
                <a:ext cx="280281" cy="128016"/>
              </a:xfrm>
              <a:prstGeom prst="rect">
                <a:avLst/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3" name="Cross 522">
                <a:extLst>
                  <a:ext uri="{FF2B5EF4-FFF2-40B4-BE49-F238E27FC236}">
                    <a16:creationId xmlns:a16="http://schemas.microsoft.com/office/drawing/2014/main" id="{5E522C7E-0754-5FC6-23A9-2ADCF2E1A9DD}"/>
                  </a:ext>
                </a:extLst>
              </p:cNvPr>
              <p:cNvSpPr/>
              <p:nvPr/>
            </p:nvSpPr>
            <p:spPr>
              <a:xfrm>
                <a:off x="-1354611" y="2829873"/>
                <a:ext cx="232351" cy="232351"/>
              </a:xfrm>
              <a:prstGeom prst="plus">
                <a:avLst>
                  <a:gd name="adj" fmla="val 29100"/>
                </a:avLst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7A810EE-0590-81D7-F2BC-AED7EAAF01C4}"/>
                </a:ext>
              </a:extLst>
            </p:cNvPr>
            <p:cNvGrpSpPr/>
            <p:nvPr/>
          </p:nvGrpSpPr>
          <p:grpSpPr>
            <a:xfrm>
              <a:off x="6593381" y="4352425"/>
              <a:ext cx="372868" cy="278002"/>
              <a:chOff x="-1630535" y="2571816"/>
              <a:chExt cx="804755" cy="600009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3C63C9EE-98B5-C829-1003-5E1A6B264BAB}"/>
                  </a:ext>
                </a:extLst>
              </p:cNvPr>
              <p:cNvSpPr/>
              <p:nvPr/>
            </p:nvSpPr>
            <p:spPr>
              <a:xfrm>
                <a:off x="-1438275" y="2571816"/>
                <a:ext cx="399678" cy="600009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474C9550-53C8-0845-41A6-5193F0F6216B}"/>
                  </a:ext>
                </a:extLst>
              </p:cNvPr>
              <p:cNvSpPr/>
              <p:nvPr/>
            </p:nvSpPr>
            <p:spPr>
              <a:xfrm>
                <a:off x="-995599" y="2714625"/>
                <a:ext cx="169819" cy="457200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A6F9B67-40A7-3688-316A-A82616559756}"/>
                  </a:ext>
                </a:extLst>
              </p:cNvPr>
              <p:cNvSpPr/>
              <p:nvPr/>
            </p:nvSpPr>
            <p:spPr>
              <a:xfrm flipH="1">
                <a:off x="-1630535" y="2714626"/>
                <a:ext cx="169818" cy="457199"/>
              </a:xfrm>
              <a:custGeom>
                <a:avLst/>
                <a:gdLst>
                  <a:gd name="connsiteX0" fmla="*/ 0 w 169819"/>
                  <a:gd name="connsiteY0" fmla="*/ 0 h 457200"/>
                  <a:gd name="connsiteX1" fmla="*/ 92047 w 169819"/>
                  <a:gd name="connsiteY1" fmla="*/ 0 h 457200"/>
                  <a:gd name="connsiteX2" fmla="*/ 92047 w 169819"/>
                  <a:gd name="connsiteY2" fmla="*/ 109728 h 457200"/>
                  <a:gd name="connsiteX3" fmla="*/ 169819 w 169819"/>
                  <a:gd name="connsiteY3" fmla="*/ 109728 h 457200"/>
                  <a:gd name="connsiteX4" fmla="*/ 169819 w 169819"/>
                  <a:gd name="connsiteY4" fmla="*/ 457200 h 457200"/>
                  <a:gd name="connsiteX5" fmla="*/ 92047 w 169819"/>
                  <a:gd name="connsiteY5" fmla="*/ 457200 h 457200"/>
                  <a:gd name="connsiteX6" fmla="*/ 77772 w 169819"/>
                  <a:gd name="connsiteY6" fmla="*/ 457200 h 457200"/>
                  <a:gd name="connsiteX7" fmla="*/ 0 w 169819"/>
                  <a:gd name="connsiteY7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9819" h="457200">
                    <a:moveTo>
                      <a:pt x="0" y="0"/>
                    </a:moveTo>
                    <a:lnTo>
                      <a:pt x="92047" y="0"/>
                    </a:lnTo>
                    <a:lnTo>
                      <a:pt x="92047" y="109728"/>
                    </a:lnTo>
                    <a:lnTo>
                      <a:pt x="169819" y="109728"/>
                    </a:lnTo>
                    <a:lnTo>
                      <a:pt x="169819" y="457200"/>
                    </a:lnTo>
                    <a:lnTo>
                      <a:pt x="92047" y="457200"/>
                    </a:lnTo>
                    <a:lnTo>
                      <a:pt x="77772" y="457200"/>
                    </a:lnTo>
                    <a:lnTo>
                      <a:pt x="0" y="457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8CF35E02-07CF-E0D5-B965-EC1B81BB1CCF}"/>
                  </a:ext>
                </a:extLst>
              </p:cNvPr>
              <p:cNvSpPr/>
              <p:nvPr/>
            </p:nvSpPr>
            <p:spPr>
              <a:xfrm>
                <a:off x="-1378576" y="2647950"/>
                <a:ext cx="280281" cy="128016"/>
              </a:xfrm>
              <a:prstGeom prst="rect">
                <a:avLst/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Cross 62">
                <a:extLst>
                  <a:ext uri="{FF2B5EF4-FFF2-40B4-BE49-F238E27FC236}">
                    <a16:creationId xmlns:a16="http://schemas.microsoft.com/office/drawing/2014/main" id="{353B4241-1ECC-1F63-FBC9-F2DC471CFEF4}"/>
                  </a:ext>
                </a:extLst>
              </p:cNvPr>
              <p:cNvSpPr/>
              <p:nvPr/>
            </p:nvSpPr>
            <p:spPr>
              <a:xfrm>
                <a:off x="-1354611" y="2829873"/>
                <a:ext cx="232351" cy="232351"/>
              </a:xfrm>
              <a:prstGeom prst="plus">
                <a:avLst>
                  <a:gd name="adj" fmla="val 29100"/>
                </a:avLst>
              </a:prstGeom>
              <a:solidFill>
                <a:srgbClr val="0D5CA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22D997A0-B1EB-7247-0924-A00B510E63B5}"/>
                </a:ext>
              </a:extLst>
            </p:cNvPr>
            <p:cNvSpPr/>
            <p:nvPr/>
          </p:nvSpPr>
          <p:spPr>
            <a:xfrm>
              <a:off x="6371536" y="3928331"/>
              <a:ext cx="114300" cy="114300"/>
            </a:xfrm>
            <a:prstGeom prst="ellipse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C2EFDA34-9D6C-092F-9527-284B0B4C8364}"/>
                </a:ext>
              </a:extLst>
            </p:cNvPr>
            <p:cNvSpPr/>
            <p:nvPr/>
          </p:nvSpPr>
          <p:spPr>
            <a:xfrm>
              <a:off x="5705305" y="3928331"/>
              <a:ext cx="114300" cy="114300"/>
            </a:xfrm>
            <a:prstGeom prst="ellipse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084A7AD-6089-E4F5-1EFD-41B8E8FCB01D}"/>
                </a:ext>
              </a:extLst>
            </p:cNvPr>
            <p:cNvSpPr/>
            <p:nvPr/>
          </p:nvSpPr>
          <p:spPr>
            <a:xfrm>
              <a:off x="6371536" y="4454311"/>
              <a:ext cx="114300" cy="114300"/>
            </a:xfrm>
            <a:prstGeom prst="ellipse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8B3AE2C-0C38-3F46-DD5C-D3BB63276E9D}"/>
                </a:ext>
              </a:extLst>
            </p:cNvPr>
            <p:cNvSpPr/>
            <p:nvPr/>
          </p:nvSpPr>
          <p:spPr>
            <a:xfrm>
              <a:off x="5705305" y="4454311"/>
              <a:ext cx="114300" cy="114300"/>
            </a:xfrm>
            <a:prstGeom prst="ellipse">
              <a:avLst/>
            </a:prstGeom>
            <a:solidFill>
              <a:srgbClr val="0D5CA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5" name="Graphic 2062">
              <a:extLst>
                <a:ext uri="{FF2B5EF4-FFF2-40B4-BE49-F238E27FC236}">
                  <a16:creationId xmlns:a16="http://schemas.microsoft.com/office/drawing/2014/main" id="{8E377A65-F7BD-F05F-A508-B5D63CB2A0DE}"/>
                </a:ext>
              </a:extLst>
            </p:cNvPr>
            <p:cNvGrpSpPr/>
            <p:nvPr/>
          </p:nvGrpSpPr>
          <p:grpSpPr>
            <a:xfrm>
              <a:off x="5839852" y="3937849"/>
              <a:ext cx="522987" cy="522975"/>
              <a:chOff x="-2989957" y="1800965"/>
              <a:chExt cx="1931528" cy="1931528"/>
            </a:xfrm>
            <a:solidFill>
              <a:srgbClr val="0D5CAB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165B1DA-5C55-55F8-849D-0CB4E2D0A1FD}"/>
                  </a:ext>
                </a:extLst>
              </p:cNvPr>
              <p:cNvSpPr/>
              <p:nvPr/>
            </p:nvSpPr>
            <p:spPr>
              <a:xfrm>
                <a:off x="-2194084" y="2027536"/>
                <a:ext cx="339781" cy="339781"/>
              </a:xfrm>
              <a:custGeom>
                <a:avLst/>
                <a:gdLst>
                  <a:gd name="connsiteX0" fmla="*/ 226496 w 339781"/>
                  <a:gd name="connsiteY0" fmla="*/ 0 h 339781"/>
                  <a:gd name="connsiteX1" fmla="*/ 113286 w 339781"/>
                  <a:gd name="connsiteY1" fmla="*/ 0 h 339781"/>
                  <a:gd name="connsiteX2" fmla="*/ 113286 w 339781"/>
                  <a:gd name="connsiteY2" fmla="*/ 113286 h 339781"/>
                  <a:gd name="connsiteX3" fmla="*/ 0 w 339781"/>
                  <a:gd name="connsiteY3" fmla="*/ 113286 h 339781"/>
                  <a:gd name="connsiteX4" fmla="*/ 0 w 339781"/>
                  <a:gd name="connsiteY4" fmla="*/ 226496 h 339781"/>
                  <a:gd name="connsiteX5" fmla="*/ 113286 w 339781"/>
                  <a:gd name="connsiteY5" fmla="*/ 226496 h 339781"/>
                  <a:gd name="connsiteX6" fmla="*/ 113286 w 339781"/>
                  <a:gd name="connsiteY6" fmla="*/ 339781 h 339781"/>
                  <a:gd name="connsiteX7" fmla="*/ 226496 w 339781"/>
                  <a:gd name="connsiteY7" fmla="*/ 339781 h 339781"/>
                  <a:gd name="connsiteX8" fmla="*/ 226496 w 339781"/>
                  <a:gd name="connsiteY8" fmla="*/ 226496 h 339781"/>
                  <a:gd name="connsiteX9" fmla="*/ 339781 w 339781"/>
                  <a:gd name="connsiteY9" fmla="*/ 226496 h 339781"/>
                  <a:gd name="connsiteX10" fmla="*/ 339781 w 339781"/>
                  <a:gd name="connsiteY10" fmla="*/ 113286 h 339781"/>
                  <a:gd name="connsiteX11" fmla="*/ 226496 w 339781"/>
                  <a:gd name="connsiteY11" fmla="*/ 113286 h 339781"/>
                  <a:gd name="connsiteX12" fmla="*/ 226496 w 339781"/>
                  <a:gd name="connsiteY12" fmla="*/ 0 h 339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9781" h="339781">
                    <a:moveTo>
                      <a:pt x="226496" y="0"/>
                    </a:moveTo>
                    <a:lnTo>
                      <a:pt x="113286" y="0"/>
                    </a:lnTo>
                    <a:lnTo>
                      <a:pt x="113286" y="113286"/>
                    </a:lnTo>
                    <a:lnTo>
                      <a:pt x="0" y="113286"/>
                    </a:lnTo>
                    <a:lnTo>
                      <a:pt x="0" y="226496"/>
                    </a:lnTo>
                    <a:lnTo>
                      <a:pt x="113286" y="226496"/>
                    </a:lnTo>
                    <a:lnTo>
                      <a:pt x="113286" y="339781"/>
                    </a:lnTo>
                    <a:lnTo>
                      <a:pt x="226496" y="339781"/>
                    </a:lnTo>
                    <a:lnTo>
                      <a:pt x="226496" y="226496"/>
                    </a:lnTo>
                    <a:lnTo>
                      <a:pt x="339781" y="226496"/>
                    </a:lnTo>
                    <a:lnTo>
                      <a:pt x="339781" y="113286"/>
                    </a:lnTo>
                    <a:lnTo>
                      <a:pt x="226496" y="113286"/>
                    </a:lnTo>
                    <a:lnTo>
                      <a:pt x="226496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118BE57-869E-F107-D382-282DC0183732}"/>
                  </a:ext>
                </a:extLst>
              </p:cNvPr>
              <p:cNvSpPr/>
              <p:nvPr/>
            </p:nvSpPr>
            <p:spPr>
              <a:xfrm>
                <a:off x="-2307294" y="2480603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6AFE3C59-21EA-A2A5-F789-AD41282D9FD7}"/>
                  </a:ext>
                </a:extLst>
              </p:cNvPr>
              <p:cNvSpPr/>
              <p:nvPr/>
            </p:nvSpPr>
            <p:spPr>
              <a:xfrm>
                <a:off x="-2080722" y="2480603"/>
                <a:ext cx="113209" cy="113285"/>
              </a:xfrm>
              <a:custGeom>
                <a:avLst/>
                <a:gdLst>
                  <a:gd name="connsiteX0" fmla="*/ 0 w 113209"/>
                  <a:gd name="connsiteY0" fmla="*/ 0 h 113285"/>
                  <a:gd name="connsiteX1" fmla="*/ 113210 w 113209"/>
                  <a:gd name="connsiteY1" fmla="*/ 0 h 113285"/>
                  <a:gd name="connsiteX2" fmla="*/ 113210 w 113209"/>
                  <a:gd name="connsiteY2" fmla="*/ 113286 h 113285"/>
                  <a:gd name="connsiteX3" fmla="*/ 0 w 113209"/>
                  <a:gd name="connsiteY3" fmla="*/ 113286 h 113285"/>
                  <a:gd name="connsiteX4" fmla="*/ 0 w 113209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09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0E8D370-BDC5-F8AE-5B47-6FA0A9E8618D}"/>
                  </a:ext>
                </a:extLst>
              </p:cNvPr>
              <p:cNvSpPr/>
              <p:nvPr/>
            </p:nvSpPr>
            <p:spPr>
              <a:xfrm>
                <a:off x="-1854226" y="2480603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063B3826-3BFF-BA15-93F9-1B14D88BF98A}"/>
                  </a:ext>
                </a:extLst>
              </p:cNvPr>
              <p:cNvSpPr/>
              <p:nvPr/>
            </p:nvSpPr>
            <p:spPr>
              <a:xfrm>
                <a:off x="-2307294" y="2707175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1884944-8509-FD94-C202-91997CB325F7}"/>
                  </a:ext>
                </a:extLst>
              </p:cNvPr>
              <p:cNvSpPr/>
              <p:nvPr/>
            </p:nvSpPr>
            <p:spPr>
              <a:xfrm>
                <a:off x="-2080722" y="2707175"/>
                <a:ext cx="113209" cy="113285"/>
              </a:xfrm>
              <a:custGeom>
                <a:avLst/>
                <a:gdLst>
                  <a:gd name="connsiteX0" fmla="*/ 0 w 113209"/>
                  <a:gd name="connsiteY0" fmla="*/ 0 h 113285"/>
                  <a:gd name="connsiteX1" fmla="*/ 113210 w 113209"/>
                  <a:gd name="connsiteY1" fmla="*/ 0 h 113285"/>
                  <a:gd name="connsiteX2" fmla="*/ 113210 w 113209"/>
                  <a:gd name="connsiteY2" fmla="*/ 113286 h 113285"/>
                  <a:gd name="connsiteX3" fmla="*/ 0 w 113209"/>
                  <a:gd name="connsiteY3" fmla="*/ 113286 h 113285"/>
                  <a:gd name="connsiteX4" fmla="*/ 0 w 113209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09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58197A91-D0C3-6021-F021-FB2E6E2ABCCF}"/>
                  </a:ext>
                </a:extLst>
              </p:cNvPr>
              <p:cNvSpPr/>
              <p:nvPr/>
            </p:nvSpPr>
            <p:spPr>
              <a:xfrm>
                <a:off x="-1854226" y="2707175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D689B54-D3F0-8F96-6FF1-31F67F0615F3}"/>
                  </a:ext>
                </a:extLst>
              </p:cNvPr>
              <p:cNvSpPr/>
              <p:nvPr/>
            </p:nvSpPr>
            <p:spPr>
              <a:xfrm>
                <a:off x="-2307294" y="2933670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5335736C-9978-7813-07A1-7514CD9A260C}"/>
                  </a:ext>
                </a:extLst>
              </p:cNvPr>
              <p:cNvSpPr/>
              <p:nvPr/>
            </p:nvSpPr>
            <p:spPr>
              <a:xfrm>
                <a:off x="-2080722" y="2933670"/>
                <a:ext cx="113209" cy="113285"/>
              </a:xfrm>
              <a:custGeom>
                <a:avLst/>
                <a:gdLst>
                  <a:gd name="connsiteX0" fmla="*/ 0 w 113209"/>
                  <a:gd name="connsiteY0" fmla="*/ 0 h 113285"/>
                  <a:gd name="connsiteX1" fmla="*/ 113210 w 113209"/>
                  <a:gd name="connsiteY1" fmla="*/ 0 h 113285"/>
                  <a:gd name="connsiteX2" fmla="*/ 113210 w 113209"/>
                  <a:gd name="connsiteY2" fmla="*/ 113286 h 113285"/>
                  <a:gd name="connsiteX3" fmla="*/ 0 w 113209"/>
                  <a:gd name="connsiteY3" fmla="*/ 113286 h 113285"/>
                  <a:gd name="connsiteX4" fmla="*/ 0 w 113209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09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443F474B-82C4-32C9-3548-FCEF1186720C}"/>
                  </a:ext>
                </a:extLst>
              </p:cNvPr>
              <p:cNvSpPr/>
              <p:nvPr/>
            </p:nvSpPr>
            <p:spPr>
              <a:xfrm>
                <a:off x="-1854226" y="2933670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EFD20AC2-EBEB-F43A-FD7D-C3EC7488215C}"/>
                  </a:ext>
                </a:extLst>
              </p:cNvPr>
              <p:cNvSpPr/>
              <p:nvPr/>
            </p:nvSpPr>
            <p:spPr>
              <a:xfrm>
                <a:off x="-2307294" y="3160242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E90EA21-9551-4E74-85FC-F230557E8C4B}"/>
                  </a:ext>
                </a:extLst>
              </p:cNvPr>
              <p:cNvSpPr/>
              <p:nvPr/>
            </p:nvSpPr>
            <p:spPr>
              <a:xfrm>
                <a:off x="-2080722" y="3160242"/>
                <a:ext cx="113209" cy="113285"/>
              </a:xfrm>
              <a:custGeom>
                <a:avLst/>
                <a:gdLst>
                  <a:gd name="connsiteX0" fmla="*/ 0 w 113209"/>
                  <a:gd name="connsiteY0" fmla="*/ 0 h 113285"/>
                  <a:gd name="connsiteX1" fmla="*/ 113210 w 113209"/>
                  <a:gd name="connsiteY1" fmla="*/ 0 h 113285"/>
                  <a:gd name="connsiteX2" fmla="*/ 113210 w 113209"/>
                  <a:gd name="connsiteY2" fmla="*/ 113286 h 113285"/>
                  <a:gd name="connsiteX3" fmla="*/ 0 w 113209"/>
                  <a:gd name="connsiteY3" fmla="*/ 113286 h 113285"/>
                  <a:gd name="connsiteX4" fmla="*/ 0 w 113209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09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5CF979CD-0CB3-F310-38AE-CFA2D453B5D0}"/>
                  </a:ext>
                </a:extLst>
              </p:cNvPr>
              <p:cNvSpPr/>
              <p:nvPr/>
            </p:nvSpPr>
            <p:spPr>
              <a:xfrm>
                <a:off x="-1854226" y="3160242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6C21CDCE-A804-8021-B2D3-8F63EE55F087}"/>
                  </a:ext>
                </a:extLst>
              </p:cNvPr>
              <p:cNvSpPr/>
              <p:nvPr/>
            </p:nvSpPr>
            <p:spPr>
              <a:xfrm>
                <a:off x="-2307294" y="3386737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F5995E7-79FC-6CE5-2BEC-CF56999C8102}"/>
                  </a:ext>
                </a:extLst>
              </p:cNvPr>
              <p:cNvSpPr/>
              <p:nvPr/>
            </p:nvSpPr>
            <p:spPr>
              <a:xfrm>
                <a:off x="-2760361" y="2933670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2DE80D1E-B85E-0C8E-4979-2D855B9177C1}"/>
                  </a:ext>
                </a:extLst>
              </p:cNvPr>
              <p:cNvSpPr/>
              <p:nvPr/>
            </p:nvSpPr>
            <p:spPr>
              <a:xfrm>
                <a:off x="-2760361" y="3160242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E8F01FE3-D387-9D3A-A603-88A7EEF35B72}"/>
                  </a:ext>
                </a:extLst>
              </p:cNvPr>
              <p:cNvSpPr/>
              <p:nvPr/>
            </p:nvSpPr>
            <p:spPr>
              <a:xfrm>
                <a:off x="-2760361" y="3386737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1E63B17B-984E-655D-7063-E6C01F38B087}"/>
                  </a:ext>
                </a:extLst>
              </p:cNvPr>
              <p:cNvSpPr/>
              <p:nvPr/>
            </p:nvSpPr>
            <p:spPr>
              <a:xfrm>
                <a:off x="-2080722" y="3386737"/>
                <a:ext cx="113209" cy="113285"/>
              </a:xfrm>
              <a:custGeom>
                <a:avLst/>
                <a:gdLst>
                  <a:gd name="connsiteX0" fmla="*/ 0 w 113209"/>
                  <a:gd name="connsiteY0" fmla="*/ 0 h 113285"/>
                  <a:gd name="connsiteX1" fmla="*/ 113210 w 113209"/>
                  <a:gd name="connsiteY1" fmla="*/ 0 h 113285"/>
                  <a:gd name="connsiteX2" fmla="*/ 113210 w 113209"/>
                  <a:gd name="connsiteY2" fmla="*/ 113286 h 113285"/>
                  <a:gd name="connsiteX3" fmla="*/ 0 w 113209"/>
                  <a:gd name="connsiteY3" fmla="*/ 113286 h 113285"/>
                  <a:gd name="connsiteX4" fmla="*/ 0 w 113209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09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A6E93FE9-A692-8A57-346B-C4F9A64F8B36}"/>
                  </a:ext>
                </a:extLst>
              </p:cNvPr>
              <p:cNvSpPr/>
              <p:nvPr/>
            </p:nvSpPr>
            <p:spPr>
              <a:xfrm>
                <a:off x="-1854226" y="3386737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4F644A7B-1C07-0306-A146-E6CD973A1868}"/>
                  </a:ext>
                </a:extLst>
              </p:cNvPr>
              <p:cNvSpPr/>
              <p:nvPr/>
            </p:nvSpPr>
            <p:spPr>
              <a:xfrm>
                <a:off x="-1401159" y="2933670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492B91F3-FB7D-577A-5C30-FA528C3E7225}"/>
                  </a:ext>
                </a:extLst>
              </p:cNvPr>
              <p:cNvSpPr/>
              <p:nvPr/>
            </p:nvSpPr>
            <p:spPr>
              <a:xfrm>
                <a:off x="-1401159" y="3160242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8FBDF43-A7AD-414D-DD53-6DDA9A43B0FB}"/>
                  </a:ext>
                </a:extLst>
              </p:cNvPr>
              <p:cNvSpPr/>
              <p:nvPr/>
            </p:nvSpPr>
            <p:spPr>
              <a:xfrm>
                <a:off x="-1401159" y="3386737"/>
                <a:ext cx="113210" cy="113285"/>
              </a:xfrm>
              <a:custGeom>
                <a:avLst/>
                <a:gdLst>
                  <a:gd name="connsiteX0" fmla="*/ 0 w 113210"/>
                  <a:gd name="connsiteY0" fmla="*/ 0 h 113285"/>
                  <a:gd name="connsiteX1" fmla="*/ 113210 w 113210"/>
                  <a:gd name="connsiteY1" fmla="*/ 0 h 113285"/>
                  <a:gd name="connsiteX2" fmla="*/ 113210 w 113210"/>
                  <a:gd name="connsiteY2" fmla="*/ 113286 h 113285"/>
                  <a:gd name="connsiteX3" fmla="*/ 0 w 113210"/>
                  <a:gd name="connsiteY3" fmla="*/ 113286 h 113285"/>
                  <a:gd name="connsiteX4" fmla="*/ 0 w 113210"/>
                  <a:gd name="connsiteY4" fmla="*/ 0 h 113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3210" h="113285">
                    <a:moveTo>
                      <a:pt x="0" y="0"/>
                    </a:moveTo>
                    <a:lnTo>
                      <a:pt x="113210" y="0"/>
                    </a:lnTo>
                    <a:lnTo>
                      <a:pt x="113210" y="113286"/>
                    </a:lnTo>
                    <a:lnTo>
                      <a:pt x="0" y="11328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3B542463-95B4-BB38-79FB-74B8DEACB289}"/>
                  </a:ext>
                </a:extLst>
              </p:cNvPr>
              <p:cNvSpPr/>
              <p:nvPr/>
            </p:nvSpPr>
            <p:spPr>
              <a:xfrm>
                <a:off x="-2989957" y="1800965"/>
                <a:ext cx="1931528" cy="1931528"/>
              </a:xfrm>
              <a:custGeom>
                <a:avLst/>
                <a:gdLst>
                  <a:gd name="connsiteX0" fmla="*/ 1475512 w 1931528"/>
                  <a:gd name="connsiteY0" fmla="*/ 906210 h 1931528"/>
                  <a:gd name="connsiteX1" fmla="*/ 1475512 w 1931528"/>
                  <a:gd name="connsiteY1" fmla="*/ 339857 h 1931528"/>
                  <a:gd name="connsiteX2" fmla="*/ 1362226 w 1931528"/>
                  <a:gd name="connsiteY2" fmla="*/ 339857 h 1931528"/>
                  <a:gd name="connsiteX3" fmla="*/ 1362226 w 1931528"/>
                  <a:gd name="connsiteY3" fmla="*/ 0 h 1931528"/>
                  <a:gd name="connsiteX4" fmla="*/ 569378 w 1931528"/>
                  <a:gd name="connsiteY4" fmla="*/ 0 h 1931528"/>
                  <a:gd name="connsiteX5" fmla="*/ 569378 w 1931528"/>
                  <a:gd name="connsiteY5" fmla="*/ 339857 h 1931528"/>
                  <a:gd name="connsiteX6" fmla="*/ 456092 w 1931528"/>
                  <a:gd name="connsiteY6" fmla="*/ 339857 h 1931528"/>
                  <a:gd name="connsiteX7" fmla="*/ 456092 w 1931528"/>
                  <a:gd name="connsiteY7" fmla="*/ 906210 h 1931528"/>
                  <a:gd name="connsiteX8" fmla="*/ 0 w 1931528"/>
                  <a:gd name="connsiteY8" fmla="*/ 906210 h 1931528"/>
                  <a:gd name="connsiteX9" fmla="*/ 0 w 1931528"/>
                  <a:gd name="connsiteY9" fmla="*/ 1931528 h 1931528"/>
                  <a:gd name="connsiteX10" fmla="*/ 1931529 w 1931528"/>
                  <a:gd name="connsiteY10" fmla="*/ 1931528 h 1931528"/>
                  <a:gd name="connsiteX11" fmla="*/ 1931529 w 1931528"/>
                  <a:gd name="connsiteY11" fmla="*/ 906210 h 1931528"/>
                  <a:gd name="connsiteX12" fmla="*/ 1475437 w 1931528"/>
                  <a:gd name="connsiteY12" fmla="*/ 906210 h 1931528"/>
                  <a:gd name="connsiteX13" fmla="*/ 113210 w 1931528"/>
                  <a:gd name="connsiteY13" fmla="*/ 1818318 h 1931528"/>
                  <a:gd name="connsiteX14" fmla="*/ 113210 w 1931528"/>
                  <a:gd name="connsiteY14" fmla="*/ 1019344 h 1931528"/>
                  <a:gd name="connsiteX15" fmla="*/ 456092 w 1931528"/>
                  <a:gd name="connsiteY15" fmla="*/ 1019344 h 1931528"/>
                  <a:gd name="connsiteX16" fmla="*/ 456092 w 1931528"/>
                  <a:gd name="connsiteY16" fmla="*/ 1818318 h 1931528"/>
                  <a:gd name="connsiteX17" fmla="*/ 113210 w 1931528"/>
                  <a:gd name="connsiteY17" fmla="*/ 1818318 h 1931528"/>
                  <a:gd name="connsiteX18" fmla="*/ 1362302 w 1931528"/>
                  <a:gd name="connsiteY18" fmla="*/ 1818318 h 1931528"/>
                  <a:gd name="connsiteX19" fmla="*/ 569227 w 1931528"/>
                  <a:gd name="connsiteY19" fmla="*/ 1818318 h 1931528"/>
                  <a:gd name="connsiteX20" fmla="*/ 569227 w 1931528"/>
                  <a:gd name="connsiteY20" fmla="*/ 452991 h 1931528"/>
                  <a:gd name="connsiteX21" fmla="*/ 682512 w 1931528"/>
                  <a:gd name="connsiteY21" fmla="*/ 452991 h 1931528"/>
                  <a:gd name="connsiteX22" fmla="*/ 682512 w 1931528"/>
                  <a:gd name="connsiteY22" fmla="*/ 113134 h 1931528"/>
                  <a:gd name="connsiteX23" fmla="*/ 1249016 w 1931528"/>
                  <a:gd name="connsiteY23" fmla="*/ 113134 h 1931528"/>
                  <a:gd name="connsiteX24" fmla="*/ 1249016 w 1931528"/>
                  <a:gd name="connsiteY24" fmla="*/ 452991 h 1931528"/>
                  <a:gd name="connsiteX25" fmla="*/ 1362302 w 1931528"/>
                  <a:gd name="connsiteY25" fmla="*/ 452991 h 1931528"/>
                  <a:gd name="connsiteX26" fmla="*/ 1362302 w 1931528"/>
                  <a:gd name="connsiteY26" fmla="*/ 1818318 h 1931528"/>
                  <a:gd name="connsiteX27" fmla="*/ 1818394 w 1931528"/>
                  <a:gd name="connsiteY27" fmla="*/ 1818318 h 1931528"/>
                  <a:gd name="connsiteX28" fmla="*/ 1475512 w 1931528"/>
                  <a:gd name="connsiteY28" fmla="*/ 1818318 h 1931528"/>
                  <a:gd name="connsiteX29" fmla="*/ 1475512 w 1931528"/>
                  <a:gd name="connsiteY29" fmla="*/ 1019344 h 1931528"/>
                  <a:gd name="connsiteX30" fmla="*/ 1818394 w 1931528"/>
                  <a:gd name="connsiteY30" fmla="*/ 1019344 h 1931528"/>
                  <a:gd name="connsiteX31" fmla="*/ 1818394 w 1931528"/>
                  <a:gd name="connsiteY31" fmla="*/ 1818318 h 1931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931528" h="1931528">
                    <a:moveTo>
                      <a:pt x="1475512" y="906210"/>
                    </a:moveTo>
                    <a:lnTo>
                      <a:pt x="1475512" y="339857"/>
                    </a:lnTo>
                    <a:lnTo>
                      <a:pt x="1362226" y="339857"/>
                    </a:lnTo>
                    <a:lnTo>
                      <a:pt x="1362226" y="0"/>
                    </a:lnTo>
                    <a:lnTo>
                      <a:pt x="569378" y="0"/>
                    </a:lnTo>
                    <a:lnTo>
                      <a:pt x="569378" y="339857"/>
                    </a:lnTo>
                    <a:lnTo>
                      <a:pt x="456092" y="339857"/>
                    </a:lnTo>
                    <a:lnTo>
                      <a:pt x="456092" y="906210"/>
                    </a:lnTo>
                    <a:lnTo>
                      <a:pt x="0" y="906210"/>
                    </a:lnTo>
                    <a:lnTo>
                      <a:pt x="0" y="1931528"/>
                    </a:lnTo>
                    <a:lnTo>
                      <a:pt x="1931529" y="1931528"/>
                    </a:lnTo>
                    <a:lnTo>
                      <a:pt x="1931529" y="906210"/>
                    </a:lnTo>
                    <a:lnTo>
                      <a:pt x="1475437" y="906210"/>
                    </a:lnTo>
                    <a:close/>
                    <a:moveTo>
                      <a:pt x="113210" y="1818318"/>
                    </a:moveTo>
                    <a:lnTo>
                      <a:pt x="113210" y="1019344"/>
                    </a:lnTo>
                    <a:lnTo>
                      <a:pt x="456092" y="1019344"/>
                    </a:lnTo>
                    <a:lnTo>
                      <a:pt x="456092" y="1818318"/>
                    </a:lnTo>
                    <a:lnTo>
                      <a:pt x="113210" y="1818318"/>
                    </a:lnTo>
                    <a:close/>
                    <a:moveTo>
                      <a:pt x="1362302" y="1818318"/>
                    </a:moveTo>
                    <a:lnTo>
                      <a:pt x="569227" y="1818318"/>
                    </a:lnTo>
                    <a:lnTo>
                      <a:pt x="569227" y="452991"/>
                    </a:lnTo>
                    <a:lnTo>
                      <a:pt x="682512" y="452991"/>
                    </a:lnTo>
                    <a:lnTo>
                      <a:pt x="682512" y="113134"/>
                    </a:lnTo>
                    <a:lnTo>
                      <a:pt x="1249016" y="113134"/>
                    </a:lnTo>
                    <a:lnTo>
                      <a:pt x="1249016" y="452991"/>
                    </a:lnTo>
                    <a:lnTo>
                      <a:pt x="1362302" y="452991"/>
                    </a:lnTo>
                    <a:lnTo>
                      <a:pt x="1362302" y="1818318"/>
                    </a:lnTo>
                    <a:close/>
                    <a:moveTo>
                      <a:pt x="1818394" y="1818318"/>
                    </a:moveTo>
                    <a:lnTo>
                      <a:pt x="1475512" y="1818318"/>
                    </a:lnTo>
                    <a:lnTo>
                      <a:pt x="1475512" y="1019344"/>
                    </a:lnTo>
                    <a:lnTo>
                      <a:pt x="1818394" y="1019344"/>
                    </a:lnTo>
                    <a:lnTo>
                      <a:pt x="1818394" y="1818318"/>
                    </a:lnTo>
                    <a:close/>
                  </a:path>
                </a:pathLst>
              </a:custGeom>
              <a:grpFill/>
              <a:ln w="75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3FAFD741-DC31-00A7-E75C-72077F261502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040013" y="1134335"/>
            <a:ext cx="4122775" cy="5723663"/>
          </a:xfrm>
          <a:prstGeom prst="rect">
            <a:avLst/>
          </a:prstGeom>
          <a:solidFill>
            <a:schemeClr val="bg1"/>
          </a:solidFill>
          <a:ln w="1555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477209-DC69-CCE0-6583-4CFBE45BDA16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057217" y="1183858"/>
            <a:ext cx="4002253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D5CA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fending Status Quo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responsive to high cost, poor access, and variable qual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ale for our bene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differentiated commod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s rapidly approaching oligopol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860971C-61E9-8BD3-B978-EBE69593CC5B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4057217" y="3752781"/>
            <a:ext cx="4002253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ving Transformation?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dressing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ost, access, and quality simultaneous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cale for the benefit of patients and consum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ifferentiated competitors with unique strateg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Markets that are thriving mechanisms for value crea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A3A97FA-A29E-EE0E-55FA-9E7A10B31D97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4195740" y="3619706"/>
            <a:ext cx="3811320" cy="0"/>
          </a:xfrm>
          <a:prstGeom prst="line">
            <a:avLst/>
          </a:prstGeom>
          <a:ln w="12700">
            <a:solidFill>
              <a:schemeClr val="accent6"/>
            </a:solidFill>
          </a:ln>
          <a:effec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3173710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E7FAF1-D99F-4056-A910-B8F9F63D3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351078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6" imgH="416" progId="TCLayout.ActiveDocument.1">
                  <p:embed/>
                </p:oleObj>
              </mc:Choice>
              <mc:Fallback>
                <p:oleObj name="think-cell Slide" r:id="rId25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E7FAF1-D99F-4056-A910-B8F9F63D3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A2CAC6-2C29-199D-BEB7-7DD4DBA94E3A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288000" y="6928874"/>
            <a:ext cx="4144041" cy="125069"/>
          </a:xfrm>
        </p:spPr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113" name="Slide Number Placeholder 112">
            <a:extLst>
              <a:ext uri="{FF2B5EF4-FFF2-40B4-BE49-F238E27FC236}">
                <a16:creationId xmlns:a16="http://schemas.microsoft.com/office/drawing/2014/main" id="{686101E2-D237-A3FE-B348-B830BBA95C42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28</a:t>
            </a:fld>
            <a:endParaRPr lang="en-US" noProof="0"/>
          </a:p>
        </p:txBody>
      </p:sp>
      <p:sp>
        <p:nvSpPr>
          <p:cNvPr id="29" name="Title 28">
            <a:extLst>
              <a:ext uri="{FF2B5EF4-FFF2-40B4-BE49-F238E27FC236}">
                <a16:creationId xmlns:a16="http://schemas.microsoft.com/office/drawing/2014/main" id="{9B65825A-2C7C-B797-0C9E-769F08DBCC29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24CFB248-8AF1-4266-8376-09A98554B5D7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1"/>
            <a:ext cx="5495631" cy="60579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DD44B09-0288-5E79-6AB6-A9436828DE3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495827" y="1"/>
            <a:ext cx="6696173" cy="6057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357359B-9765-4E3A-B995-CB536F040C8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 pitchFamily="18" charset="0"/>
              <a:ea typeface="+mn-ea"/>
              <a:cs typeface="+mn-cs"/>
              <a:sym typeface="Rockwell" panose="02060603020205020403" pitchFamily="18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CE838CC-DA74-5A5A-A8EB-A8810E33F4B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137117" y="905933"/>
            <a:ext cx="6794166" cy="109927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>
                <a:solidFill>
                  <a:prstClr val="white"/>
                </a:solidFill>
                <a:latin typeface="Calibri"/>
                <a:cs typeface="Times New Roman" panose="02020603050405020304" pitchFamily="18" charset="0"/>
              </a:rPr>
              <a:t>Create a Uniquely Compelling Vision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Open Sans" panose="020B0606030504020204" pitchFamily="34" charset="0"/>
              </a:rPr>
              <a:t>Most mission and vision statements are the same except for trivial details and word choices.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8105CF4-62E5-727B-0368-7FEDECB07F2B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142019" y="1989947"/>
            <a:ext cx="6825554" cy="1324698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Institutionalize Innovation and Chan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Open Sans" panose="020B0606030504020204" pitchFamily="34" charset="0"/>
              </a:rPr>
              <a:t>Culture is everything, and “resilience” is reactive, not strategic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B22B35A-E1D7-34C2-C8E9-B3365E2631A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160722" y="4517743"/>
            <a:ext cx="6611828" cy="1367245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en-US" sz="2800" b="1">
                <a:solidFill>
                  <a:schemeClr val="bg1"/>
                </a:solidFill>
                <a:latin typeface="Calibri"/>
                <a:cs typeface="Times New Roman"/>
              </a:rPr>
              <a:t>Strategy Is </a:t>
            </a:r>
            <a:r>
              <a:rPr lang="en-US" sz="2800" b="1">
                <a:solidFill>
                  <a:prstClr val="white"/>
                </a:solidFill>
                <a:latin typeface="Calibri"/>
                <a:cs typeface="Times New Roman"/>
              </a:rPr>
              <a:t>Not Static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Times New Roman"/>
            </a:endParaRPr>
          </a:p>
          <a:p>
            <a:pPr>
              <a:defRPr/>
            </a:pPr>
            <a:r>
              <a:rPr lang="en-US" altLang="ru-RU" sz="2000">
                <a:solidFill>
                  <a:prstClr val="white"/>
                </a:solidFill>
                <a:latin typeface="Calibri"/>
                <a:cs typeface="Open Sans"/>
              </a:rPr>
              <a:t>Embrace scenario planning and game theory, not as biannual exercises but as fundamental management disciplines.</a:t>
            </a:r>
            <a:endParaRPr kumimoji="0" lang="en-US" alt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Open San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85936F25-5BE3-F9A7-092A-4A03A5D2670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7564" y="2185768"/>
            <a:ext cx="396950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1BC0D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mbrace the Return of Strategy</a:t>
            </a: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EFF7FE">
                  <a:lumMod val="75000"/>
                </a:srgb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034B34A0-76CD-D813-D5DB-A44A39514024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102708" y="1026947"/>
            <a:ext cx="914400" cy="914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D92C6AE-EF52-C654-AAA7-14D1F2207C81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4328657" y="1116692"/>
            <a:ext cx="440986" cy="676707"/>
            <a:chOff x="7532688" y="4260851"/>
            <a:chExt cx="620712" cy="952500"/>
          </a:xfrm>
          <a:solidFill>
            <a:schemeClr val="bg1"/>
          </a:solidFill>
        </p:grpSpPr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id="{22D50485-2217-0C51-B7FA-960CE9F88B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2213" y="4362451"/>
              <a:ext cx="550863" cy="649288"/>
            </a:xfrm>
            <a:custGeom>
              <a:avLst/>
              <a:gdLst>
                <a:gd name="T0" fmla="*/ 280 w 506"/>
                <a:gd name="T1" fmla="*/ 596 h 597"/>
                <a:gd name="T2" fmla="*/ 208 w 506"/>
                <a:gd name="T3" fmla="*/ 596 h 597"/>
                <a:gd name="T4" fmla="*/ 186 w 506"/>
                <a:gd name="T5" fmla="*/ 580 h 597"/>
                <a:gd name="T6" fmla="*/ 104 w 506"/>
                <a:gd name="T7" fmla="*/ 410 h 597"/>
                <a:gd name="T8" fmla="*/ 224 w 506"/>
                <a:gd name="T9" fmla="*/ 37 h 597"/>
                <a:gd name="T10" fmla="*/ 506 w 506"/>
                <a:gd name="T11" fmla="*/ 264 h 597"/>
                <a:gd name="T12" fmla="*/ 450 w 506"/>
                <a:gd name="T13" fmla="*/ 418 h 597"/>
                <a:gd name="T14" fmla="*/ 374 w 506"/>
                <a:gd name="T15" fmla="*/ 580 h 597"/>
                <a:gd name="T16" fmla="*/ 353 w 506"/>
                <a:gd name="T17" fmla="*/ 596 h 597"/>
                <a:gd name="T18" fmla="*/ 280 w 506"/>
                <a:gd name="T19" fmla="*/ 596 h 597"/>
                <a:gd name="T20" fmla="*/ 280 w 506"/>
                <a:gd name="T21" fmla="*/ 596 h 597"/>
                <a:gd name="T22" fmla="*/ 279 w 506"/>
                <a:gd name="T23" fmla="*/ 562 h 597"/>
                <a:gd name="T24" fmla="*/ 279 w 506"/>
                <a:gd name="T25" fmla="*/ 563 h 597"/>
                <a:gd name="T26" fmla="*/ 323 w 506"/>
                <a:gd name="T27" fmla="*/ 563 h 597"/>
                <a:gd name="T28" fmla="*/ 349 w 506"/>
                <a:gd name="T29" fmla="*/ 543 h 597"/>
                <a:gd name="T30" fmla="*/ 424 w 506"/>
                <a:gd name="T31" fmla="*/ 398 h 597"/>
                <a:gd name="T32" fmla="*/ 473 w 506"/>
                <a:gd name="T33" fmla="*/ 284 h 597"/>
                <a:gd name="T34" fmla="*/ 375 w 506"/>
                <a:gd name="T35" fmla="*/ 90 h 597"/>
                <a:gd name="T36" fmla="*/ 166 w 506"/>
                <a:gd name="T37" fmla="*/ 102 h 597"/>
                <a:gd name="T38" fmla="*/ 128 w 506"/>
                <a:gd name="T39" fmla="*/ 390 h 597"/>
                <a:gd name="T40" fmla="*/ 200 w 506"/>
                <a:gd name="T41" fmla="*/ 509 h 597"/>
                <a:gd name="T42" fmla="*/ 222 w 506"/>
                <a:gd name="T43" fmla="*/ 560 h 597"/>
                <a:gd name="T44" fmla="*/ 279 w 506"/>
                <a:gd name="T45" fmla="*/ 562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06" h="597">
                  <a:moveTo>
                    <a:pt x="280" y="596"/>
                  </a:moveTo>
                  <a:cubicBezTo>
                    <a:pt x="256" y="596"/>
                    <a:pt x="232" y="595"/>
                    <a:pt x="208" y="596"/>
                  </a:cubicBezTo>
                  <a:cubicBezTo>
                    <a:pt x="195" y="597"/>
                    <a:pt x="188" y="594"/>
                    <a:pt x="186" y="580"/>
                  </a:cubicBezTo>
                  <a:cubicBezTo>
                    <a:pt x="176" y="515"/>
                    <a:pt x="145" y="461"/>
                    <a:pt x="104" y="410"/>
                  </a:cubicBezTo>
                  <a:cubicBezTo>
                    <a:pt x="0" y="280"/>
                    <a:pt x="64" y="80"/>
                    <a:pt x="224" y="37"/>
                  </a:cubicBezTo>
                  <a:cubicBezTo>
                    <a:pt x="362" y="0"/>
                    <a:pt x="506" y="116"/>
                    <a:pt x="506" y="264"/>
                  </a:cubicBezTo>
                  <a:cubicBezTo>
                    <a:pt x="506" y="322"/>
                    <a:pt x="488" y="374"/>
                    <a:pt x="450" y="418"/>
                  </a:cubicBezTo>
                  <a:cubicBezTo>
                    <a:pt x="410" y="465"/>
                    <a:pt x="384" y="518"/>
                    <a:pt x="374" y="580"/>
                  </a:cubicBezTo>
                  <a:cubicBezTo>
                    <a:pt x="372" y="593"/>
                    <a:pt x="366" y="597"/>
                    <a:pt x="353" y="596"/>
                  </a:cubicBezTo>
                  <a:cubicBezTo>
                    <a:pt x="329" y="595"/>
                    <a:pt x="304" y="596"/>
                    <a:pt x="280" y="596"/>
                  </a:cubicBezTo>
                  <a:cubicBezTo>
                    <a:pt x="280" y="596"/>
                    <a:pt x="280" y="596"/>
                    <a:pt x="280" y="596"/>
                  </a:cubicBezTo>
                  <a:close/>
                  <a:moveTo>
                    <a:pt x="279" y="562"/>
                  </a:moveTo>
                  <a:cubicBezTo>
                    <a:pt x="279" y="562"/>
                    <a:pt x="279" y="562"/>
                    <a:pt x="279" y="563"/>
                  </a:cubicBezTo>
                  <a:cubicBezTo>
                    <a:pt x="294" y="563"/>
                    <a:pt x="308" y="562"/>
                    <a:pt x="323" y="563"/>
                  </a:cubicBezTo>
                  <a:cubicBezTo>
                    <a:pt x="339" y="565"/>
                    <a:pt x="345" y="558"/>
                    <a:pt x="349" y="543"/>
                  </a:cubicBezTo>
                  <a:cubicBezTo>
                    <a:pt x="362" y="489"/>
                    <a:pt x="388" y="440"/>
                    <a:pt x="424" y="398"/>
                  </a:cubicBezTo>
                  <a:cubicBezTo>
                    <a:pt x="453" y="365"/>
                    <a:pt x="470" y="327"/>
                    <a:pt x="473" y="284"/>
                  </a:cubicBezTo>
                  <a:cubicBezTo>
                    <a:pt x="479" y="200"/>
                    <a:pt x="447" y="134"/>
                    <a:pt x="375" y="90"/>
                  </a:cubicBezTo>
                  <a:cubicBezTo>
                    <a:pt x="310" y="49"/>
                    <a:pt x="229" y="55"/>
                    <a:pt x="166" y="102"/>
                  </a:cubicBezTo>
                  <a:cubicBezTo>
                    <a:pt x="77" y="168"/>
                    <a:pt x="61" y="299"/>
                    <a:pt x="128" y="390"/>
                  </a:cubicBezTo>
                  <a:cubicBezTo>
                    <a:pt x="156" y="427"/>
                    <a:pt x="178" y="468"/>
                    <a:pt x="200" y="509"/>
                  </a:cubicBezTo>
                  <a:cubicBezTo>
                    <a:pt x="210" y="525"/>
                    <a:pt x="210" y="551"/>
                    <a:pt x="222" y="560"/>
                  </a:cubicBezTo>
                  <a:cubicBezTo>
                    <a:pt x="236" y="568"/>
                    <a:pt x="260" y="562"/>
                    <a:pt x="279" y="5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C676090C-7A1D-7620-36CB-B488E119A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4300" y="5048251"/>
              <a:ext cx="220663" cy="165100"/>
            </a:xfrm>
            <a:custGeom>
              <a:avLst/>
              <a:gdLst>
                <a:gd name="T0" fmla="*/ 201 w 202"/>
                <a:gd name="T1" fmla="*/ 0 h 151"/>
                <a:gd name="T2" fmla="*/ 201 w 202"/>
                <a:gd name="T3" fmla="*/ 107 h 151"/>
                <a:gd name="T4" fmla="*/ 179 w 202"/>
                <a:gd name="T5" fmla="*/ 125 h 151"/>
                <a:gd name="T6" fmla="*/ 120 w 202"/>
                <a:gd name="T7" fmla="*/ 145 h 151"/>
                <a:gd name="T8" fmla="*/ 85 w 202"/>
                <a:gd name="T9" fmla="*/ 143 h 151"/>
                <a:gd name="T10" fmla="*/ 33 w 202"/>
                <a:gd name="T11" fmla="*/ 125 h 151"/>
                <a:gd name="T12" fmla="*/ 1 w 202"/>
                <a:gd name="T13" fmla="*/ 94 h 151"/>
                <a:gd name="T14" fmla="*/ 2 w 202"/>
                <a:gd name="T15" fmla="*/ 16 h 151"/>
                <a:gd name="T16" fmla="*/ 16 w 202"/>
                <a:gd name="T17" fmla="*/ 1 h 151"/>
                <a:gd name="T18" fmla="*/ 201 w 202"/>
                <a:gd name="T1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2" h="151">
                  <a:moveTo>
                    <a:pt x="201" y="0"/>
                  </a:moveTo>
                  <a:cubicBezTo>
                    <a:pt x="201" y="38"/>
                    <a:pt x="202" y="72"/>
                    <a:pt x="201" y="107"/>
                  </a:cubicBezTo>
                  <a:cubicBezTo>
                    <a:pt x="201" y="122"/>
                    <a:pt x="191" y="126"/>
                    <a:pt x="179" y="125"/>
                  </a:cubicBezTo>
                  <a:cubicBezTo>
                    <a:pt x="157" y="124"/>
                    <a:pt x="137" y="126"/>
                    <a:pt x="120" y="145"/>
                  </a:cubicBezTo>
                  <a:cubicBezTo>
                    <a:pt x="115" y="151"/>
                    <a:pt x="91" y="150"/>
                    <a:pt x="85" y="143"/>
                  </a:cubicBezTo>
                  <a:cubicBezTo>
                    <a:pt x="69" y="127"/>
                    <a:pt x="53" y="125"/>
                    <a:pt x="33" y="125"/>
                  </a:cubicBezTo>
                  <a:cubicBezTo>
                    <a:pt x="3" y="126"/>
                    <a:pt x="2" y="124"/>
                    <a:pt x="1" y="94"/>
                  </a:cubicBezTo>
                  <a:cubicBezTo>
                    <a:pt x="1" y="68"/>
                    <a:pt x="0" y="42"/>
                    <a:pt x="2" y="16"/>
                  </a:cubicBezTo>
                  <a:cubicBezTo>
                    <a:pt x="2" y="11"/>
                    <a:pt x="11" y="1"/>
                    <a:pt x="16" y="1"/>
                  </a:cubicBezTo>
                  <a:cubicBezTo>
                    <a:pt x="77" y="0"/>
                    <a:pt x="137" y="0"/>
                    <a:pt x="20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6B00FDA4-DD24-2A65-1115-E00FCC2D6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1788" y="4289426"/>
              <a:ext cx="69850" cy="100013"/>
            </a:xfrm>
            <a:custGeom>
              <a:avLst/>
              <a:gdLst>
                <a:gd name="T0" fmla="*/ 24 w 64"/>
                <a:gd name="T1" fmla="*/ 92 h 92"/>
                <a:gd name="T2" fmla="*/ 0 w 64"/>
                <a:gd name="T3" fmla="*/ 81 h 92"/>
                <a:gd name="T4" fmla="*/ 41 w 64"/>
                <a:gd name="T5" fmla="*/ 0 h 92"/>
                <a:gd name="T6" fmla="*/ 64 w 64"/>
                <a:gd name="T7" fmla="*/ 14 h 92"/>
                <a:gd name="T8" fmla="*/ 24 w 64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92">
                  <a:moveTo>
                    <a:pt x="24" y="92"/>
                  </a:moveTo>
                  <a:cubicBezTo>
                    <a:pt x="15" y="88"/>
                    <a:pt x="9" y="85"/>
                    <a:pt x="0" y="81"/>
                  </a:cubicBezTo>
                  <a:cubicBezTo>
                    <a:pt x="14" y="54"/>
                    <a:pt x="27" y="28"/>
                    <a:pt x="41" y="0"/>
                  </a:cubicBezTo>
                  <a:cubicBezTo>
                    <a:pt x="50" y="5"/>
                    <a:pt x="56" y="9"/>
                    <a:pt x="64" y="14"/>
                  </a:cubicBezTo>
                  <a:cubicBezTo>
                    <a:pt x="51" y="40"/>
                    <a:pt x="38" y="65"/>
                    <a:pt x="24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id="{CC6CECCE-5CF9-843D-2752-34566E608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58150" y="4398963"/>
              <a:ext cx="95250" cy="79375"/>
            </a:xfrm>
            <a:custGeom>
              <a:avLst/>
              <a:gdLst>
                <a:gd name="T0" fmla="*/ 87 w 87"/>
                <a:gd name="T1" fmla="*/ 23 h 72"/>
                <a:gd name="T2" fmla="*/ 17 w 87"/>
                <a:gd name="T3" fmla="*/ 72 h 72"/>
                <a:gd name="T4" fmla="*/ 0 w 87"/>
                <a:gd name="T5" fmla="*/ 50 h 72"/>
                <a:gd name="T6" fmla="*/ 72 w 87"/>
                <a:gd name="T7" fmla="*/ 0 h 72"/>
                <a:gd name="T8" fmla="*/ 87 w 87"/>
                <a:gd name="T9" fmla="*/ 2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72">
                  <a:moveTo>
                    <a:pt x="87" y="23"/>
                  </a:moveTo>
                  <a:cubicBezTo>
                    <a:pt x="64" y="39"/>
                    <a:pt x="42" y="55"/>
                    <a:pt x="17" y="72"/>
                  </a:cubicBezTo>
                  <a:cubicBezTo>
                    <a:pt x="12" y="65"/>
                    <a:pt x="7" y="58"/>
                    <a:pt x="0" y="50"/>
                  </a:cubicBezTo>
                  <a:cubicBezTo>
                    <a:pt x="25" y="33"/>
                    <a:pt x="48" y="17"/>
                    <a:pt x="72" y="0"/>
                  </a:cubicBezTo>
                  <a:cubicBezTo>
                    <a:pt x="77" y="8"/>
                    <a:pt x="82" y="14"/>
                    <a:pt x="87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82753E02-61B2-276F-738E-5129170B1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3338" y="4303713"/>
              <a:ext cx="69850" cy="96838"/>
            </a:xfrm>
            <a:custGeom>
              <a:avLst/>
              <a:gdLst>
                <a:gd name="T0" fmla="*/ 63 w 63"/>
                <a:gd name="T1" fmla="*/ 76 h 89"/>
                <a:gd name="T2" fmla="*/ 39 w 63"/>
                <a:gd name="T3" fmla="*/ 89 h 89"/>
                <a:gd name="T4" fmla="*/ 0 w 63"/>
                <a:gd name="T5" fmla="*/ 15 h 89"/>
                <a:gd name="T6" fmla="*/ 23 w 63"/>
                <a:gd name="T7" fmla="*/ 0 h 89"/>
                <a:gd name="T8" fmla="*/ 63 w 63"/>
                <a:gd name="T9" fmla="*/ 7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89">
                  <a:moveTo>
                    <a:pt x="63" y="76"/>
                  </a:moveTo>
                  <a:cubicBezTo>
                    <a:pt x="54" y="81"/>
                    <a:pt x="48" y="84"/>
                    <a:pt x="39" y="89"/>
                  </a:cubicBezTo>
                  <a:cubicBezTo>
                    <a:pt x="26" y="64"/>
                    <a:pt x="13" y="40"/>
                    <a:pt x="0" y="15"/>
                  </a:cubicBezTo>
                  <a:cubicBezTo>
                    <a:pt x="8" y="10"/>
                    <a:pt x="14" y="6"/>
                    <a:pt x="23" y="0"/>
                  </a:cubicBezTo>
                  <a:cubicBezTo>
                    <a:pt x="36" y="26"/>
                    <a:pt x="49" y="50"/>
                    <a:pt x="63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FE949659-4E02-6EEC-2924-4FBFBCDF5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3200" y="4260851"/>
              <a:ext cx="28575" cy="96838"/>
            </a:xfrm>
            <a:custGeom>
              <a:avLst/>
              <a:gdLst>
                <a:gd name="T0" fmla="*/ 25 w 26"/>
                <a:gd name="T1" fmla="*/ 0 h 90"/>
                <a:gd name="T2" fmla="*/ 25 w 26"/>
                <a:gd name="T3" fmla="*/ 71 h 90"/>
                <a:gd name="T4" fmla="*/ 0 w 26"/>
                <a:gd name="T5" fmla="*/ 86 h 90"/>
                <a:gd name="T6" fmla="*/ 0 w 26"/>
                <a:gd name="T7" fmla="*/ 1 h 90"/>
                <a:gd name="T8" fmla="*/ 25 w 26"/>
                <a:gd name="T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90">
                  <a:moveTo>
                    <a:pt x="25" y="0"/>
                  </a:moveTo>
                  <a:cubicBezTo>
                    <a:pt x="25" y="26"/>
                    <a:pt x="26" y="48"/>
                    <a:pt x="25" y="71"/>
                  </a:cubicBezTo>
                  <a:cubicBezTo>
                    <a:pt x="25" y="90"/>
                    <a:pt x="24" y="90"/>
                    <a:pt x="0" y="86"/>
                  </a:cubicBezTo>
                  <a:cubicBezTo>
                    <a:pt x="0" y="59"/>
                    <a:pt x="0" y="31"/>
                    <a:pt x="0" y="1"/>
                  </a:cubicBezTo>
                  <a:cubicBezTo>
                    <a:pt x="8" y="1"/>
                    <a:pt x="14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22CE40E9-5281-DC54-6750-78B90DBEE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2688" y="4427538"/>
              <a:ext cx="85725" cy="73025"/>
            </a:xfrm>
            <a:custGeom>
              <a:avLst/>
              <a:gdLst>
                <a:gd name="T0" fmla="*/ 64 w 78"/>
                <a:gd name="T1" fmla="*/ 67 h 67"/>
                <a:gd name="T2" fmla="*/ 0 w 78"/>
                <a:gd name="T3" fmla="*/ 23 h 67"/>
                <a:gd name="T4" fmla="*/ 15 w 78"/>
                <a:gd name="T5" fmla="*/ 0 h 67"/>
                <a:gd name="T6" fmla="*/ 78 w 78"/>
                <a:gd name="T7" fmla="*/ 44 h 67"/>
                <a:gd name="T8" fmla="*/ 64 w 78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67">
                  <a:moveTo>
                    <a:pt x="64" y="67"/>
                  </a:moveTo>
                  <a:cubicBezTo>
                    <a:pt x="41" y="51"/>
                    <a:pt x="21" y="37"/>
                    <a:pt x="0" y="23"/>
                  </a:cubicBezTo>
                  <a:cubicBezTo>
                    <a:pt x="5" y="14"/>
                    <a:pt x="9" y="8"/>
                    <a:pt x="15" y="0"/>
                  </a:cubicBezTo>
                  <a:cubicBezTo>
                    <a:pt x="36" y="15"/>
                    <a:pt x="56" y="29"/>
                    <a:pt x="78" y="44"/>
                  </a:cubicBezTo>
                  <a:cubicBezTo>
                    <a:pt x="73" y="52"/>
                    <a:pt x="69" y="58"/>
                    <a:pt x="64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AD38CCBE-C2AA-50D9-B993-448D6BD459C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2388" y="4468813"/>
              <a:ext cx="185738" cy="203200"/>
            </a:xfrm>
            <a:custGeom>
              <a:avLst/>
              <a:gdLst>
                <a:gd name="T0" fmla="*/ 1 w 170"/>
                <a:gd name="T1" fmla="*/ 149 h 186"/>
                <a:gd name="T2" fmla="*/ 132 w 170"/>
                <a:gd name="T3" fmla="*/ 2 h 186"/>
                <a:gd name="T4" fmla="*/ 166 w 170"/>
                <a:gd name="T5" fmla="*/ 23 h 186"/>
                <a:gd name="T6" fmla="*/ 146 w 170"/>
                <a:gd name="T7" fmla="*/ 59 h 186"/>
                <a:gd name="T8" fmla="*/ 56 w 170"/>
                <a:gd name="T9" fmla="*/ 159 h 186"/>
                <a:gd name="T10" fmla="*/ 25 w 170"/>
                <a:gd name="T11" fmla="*/ 184 h 186"/>
                <a:gd name="T12" fmla="*/ 1 w 170"/>
                <a:gd name="T13" fmla="*/ 149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86">
                  <a:moveTo>
                    <a:pt x="1" y="149"/>
                  </a:moveTo>
                  <a:cubicBezTo>
                    <a:pt x="2" y="83"/>
                    <a:pt x="66" y="11"/>
                    <a:pt x="132" y="2"/>
                  </a:cubicBezTo>
                  <a:cubicBezTo>
                    <a:pt x="148" y="0"/>
                    <a:pt x="161" y="7"/>
                    <a:pt x="166" y="23"/>
                  </a:cubicBezTo>
                  <a:cubicBezTo>
                    <a:pt x="170" y="40"/>
                    <a:pt x="163" y="54"/>
                    <a:pt x="146" y="59"/>
                  </a:cubicBezTo>
                  <a:cubicBezTo>
                    <a:pt x="92" y="72"/>
                    <a:pt x="63" y="106"/>
                    <a:pt x="56" y="159"/>
                  </a:cubicBezTo>
                  <a:cubicBezTo>
                    <a:pt x="53" y="176"/>
                    <a:pt x="42" y="186"/>
                    <a:pt x="25" y="184"/>
                  </a:cubicBezTo>
                  <a:cubicBezTo>
                    <a:pt x="8" y="181"/>
                    <a:pt x="0" y="169"/>
                    <a:pt x="1" y="1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1" name="Oval 110">
            <a:extLst>
              <a:ext uri="{FF2B5EF4-FFF2-40B4-BE49-F238E27FC236}">
                <a16:creationId xmlns:a16="http://schemas.microsoft.com/office/drawing/2014/main" id="{711059FC-D0EA-D9AF-2981-814AF10A811B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4102708" y="2278644"/>
            <a:ext cx="914400" cy="914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ED89BE48-E7D3-1B5D-D0A3-C1DA80561B32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4102708" y="4730553"/>
            <a:ext cx="914400" cy="914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803FC3F7-3CC7-417A-474F-A9D29DBD1CEB}"/>
              </a:ext>
            </a:extLst>
          </p:cNvPr>
          <p:cNvGrpSpPr>
            <a:grpSpLocks noChangeAspect="1"/>
          </p:cNvGrpSpPr>
          <p:nvPr>
            <p:custDataLst>
              <p:tags r:id="rId17"/>
            </p:custDataLst>
          </p:nvPr>
        </p:nvGrpSpPr>
        <p:grpSpPr>
          <a:xfrm>
            <a:off x="4306119" y="4934089"/>
            <a:ext cx="507591" cy="507329"/>
            <a:chOff x="6292223" y="3327927"/>
            <a:chExt cx="768662" cy="768270"/>
          </a:xfrm>
          <a:solidFill>
            <a:schemeClr val="bg1"/>
          </a:solidFill>
        </p:grpSpPr>
        <p:sp>
          <p:nvSpPr>
            <p:cNvPr id="100" name="Freeform 22">
              <a:extLst>
                <a:ext uri="{FF2B5EF4-FFF2-40B4-BE49-F238E27FC236}">
                  <a16:creationId xmlns:a16="http://schemas.microsoft.com/office/drawing/2014/main" id="{83B4E6EF-41E6-7B32-EC17-683698F6C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2223" y="3327927"/>
              <a:ext cx="481964" cy="768270"/>
            </a:xfrm>
            <a:custGeom>
              <a:avLst/>
              <a:gdLst>
                <a:gd name="T0" fmla="*/ 5 w 1175"/>
                <a:gd name="T1" fmla="*/ 1835 h 1873"/>
                <a:gd name="T2" fmla="*/ 78 w 1175"/>
                <a:gd name="T3" fmla="*/ 1794 h 1873"/>
                <a:gd name="T4" fmla="*/ 160 w 1175"/>
                <a:gd name="T5" fmla="*/ 1752 h 1873"/>
                <a:gd name="T6" fmla="*/ 136 w 1175"/>
                <a:gd name="T7" fmla="*/ 1652 h 1873"/>
                <a:gd name="T8" fmla="*/ 193 w 1175"/>
                <a:gd name="T9" fmla="*/ 1472 h 1873"/>
                <a:gd name="T10" fmla="*/ 324 w 1175"/>
                <a:gd name="T11" fmla="*/ 1227 h 1873"/>
                <a:gd name="T12" fmla="*/ 312 w 1175"/>
                <a:gd name="T13" fmla="*/ 1016 h 1873"/>
                <a:gd name="T14" fmla="*/ 250 w 1175"/>
                <a:gd name="T15" fmla="*/ 971 h 1873"/>
                <a:gd name="T16" fmla="*/ 291 w 1175"/>
                <a:gd name="T17" fmla="*/ 937 h 1873"/>
                <a:gd name="T18" fmla="*/ 365 w 1175"/>
                <a:gd name="T19" fmla="*/ 874 h 1873"/>
                <a:gd name="T20" fmla="*/ 471 w 1175"/>
                <a:gd name="T21" fmla="*/ 681 h 1873"/>
                <a:gd name="T22" fmla="*/ 525 w 1175"/>
                <a:gd name="T23" fmla="*/ 484 h 1873"/>
                <a:gd name="T24" fmla="*/ 496 w 1175"/>
                <a:gd name="T25" fmla="*/ 422 h 1873"/>
                <a:gd name="T26" fmla="*/ 475 w 1175"/>
                <a:gd name="T27" fmla="*/ 384 h 1873"/>
                <a:gd name="T28" fmla="*/ 418 w 1175"/>
                <a:gd name="T29" fmla="*/ 353 h 1873"/>
                <a:gd name="T30" fmla="*/ 308 w 1175"/>
                <a:gd name="T31" fmla="*/ 276 h 1873"/>
                <a:gd name="T32" fmla="*/ 295 w 1175"/>
                <a:gd name="T33" fmla="*/ 135 h 1873"/>
                <a:gd name="T34" fmla="*/ 320 w 1175"/>
                <a:gd name="T35" fmla="*/ 3 h 1873"/>
                <a:gd name="T36" fmla="*/ 398 w 1175"/>
                <a:gd name="T37" fmla="*/ 0 h 1873"/>
                <a:gd name="T38" fmla="*/ 410 w 1175"/>
                <a:gd name="T39" fmla="*/ 80 h 1873"/>
                <a:gd name="T40" fmla="*/ 479 w 1175"/>
                <a:gd name="T41" fmla="*/ 93 h 1873"/>
                <a:gd name="T42" fmla="*/ 565 w 1175"/>
                <a:gd name="T43" fmla="*/ 59 h 1873"/>
                <a:gd name="T44" fmla="*/ 570 w 1175"/>
                <a:gd name="T45" fmla="*/ 7 h 1873"/>
                <a:gd name="T46" fmla="*/ 582 w 1175"/>
                <a:gd name="T47" fmla="*/ 0 h 1873"/>
                <a:gd name="T48" fmla="*/ 594 w 1175"/>
                <a:gd name="T49" fmla="*/ 3 h 1873"/>
                <a:gd name="T50" fmla="*/ 610 w 1175"/>
                <a:gd name="T51" fmla="*/ 0 h 1873"/>
                <a:gd name="T52" fmla="*/ 615 w 1175"/>
                <a:gd name="T53" fmla="*/ 42 h 1873"/>
                <a:gd name="T54" fmla="*/ 664 w 1175"/>
                <a:gd name="T55" fmla="*/ 86 h 1873"/>
                <a:gd name="T56" fmla="*/ 750 w 1175"/>
                <a:gd name="T57" fmla="*/ 90 h 1873"/>
                <a:gd name="T58" fmla="*/ 778 w 1175"/>
                <a:gd name="T59" fmla="*/ 38 h 1873"/>
                <a:gd name="T60" fmla="*/ 832 w 1175"/>
                <a:gd name="T61" fmla="*/ 0 h 1873"/>
                <a:gd name="T62" fmla="*/ 881 w 1175"/>
                <a:gd name="T63" fmla="*/ 69 h 1873"/>
                <a:gd name="T64" fmla="*/ 877 w 1175"/>
                <a:gd name="T65" fmla="*/ 266 h 1873"/>
                <a:gd name="T66" fmla="*/ 819 w 1175"/>
                <a:gd name="T67" fmla="*/ 311 h 1873"/>
                <a:gd name="T68" fmla="*/ 713 w 1175"/>
                <a:gd name="T69" fmla="*/ 363 h 1873"/>
                <a:gd name="T70" fmla="*/ 696 w 1175"/>
                <a:gd name="T71" fmla="*/ 422 h 1873"/>
                <a:gd name="T72" fmla="*/ 664 w 1175"/>
                <a:gd name="T73" fmla="*/ 425 h 1873"/>
                <a:gd name="T74" fmla="*/ 680 w 1175"/>
                <a:gd name="T75" fmla="*/ 615 h 1873"/>
                <a:gd name="T76" fmla="*/ 774 w 1175"/>
                <a:gd name="T77" fmla="*/ 812 h 1873"/>
                <a:gd name="T78" fmla="*/ 864 w 1175"/>
                <a:gd name="T79" fmla="*/ 933 h 1873"/>
                <a:gd name="T80" fmla="*/ 930 w 1175"/>
                <a:gd name="T81" fmla="*/ 943 h 1873"/>
                <a:gd name="T82" fmla="*/ 901 w 1175"/>
                <a:gd name="T83" fmla="*/ 999 h 1873"/>
                <a:gd name="T84" fmla="*/ 832 w 1175"/>
                <a:gd name="T85" fmla="*/ 1147 h 1873"/>
                <a:gd name="T86" fmla="*/ 934 w 1175"/>
                <a:gd name="T87" fmla="*/ 1393 h 1873"/>
                <a:gd name="T88" fmla="*/ 1044 w 1175"/>
                <a:gd name="T89" fmla="*/ 1600 h 1873"/>
                <a:gd name="T90" fmla="*/ 1020 w 1175"/>
                <a:gd name="T91" fmla="*/ 1728 h 1873"/>
                <a:gd name="T92" fmla="*/ 1048 w 1175"/>
                <a:gd name="T93" fmla="*/ 1783 h 1873"/>
                <a:gd name="T94" fmla="*/ 1171 w 1175"/>
                <a:gd name="T95" fmla="*/ 1818 h 1873"/>
                <a:gd name="T96" fmla="*/ 1167 w 1175"/>
                <a:gd name="T97" fmla="*/ 1873 h 1873"/>
                <a:gd name="T98" fmla="*/ 9 w 1175"/>
                <a:gd name="T99" fmla="*/ 1873 h 1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75" h="1873">
                  <a:moveTo>
                    <a:pt x="9" y="1873"/>
                  </a:moveTo>
                  <a:lnTo>
                    <a:pt x="9" y="1856"/>
                  </a:lnTo>
                  <a:lnTo>
                    <a:pt x="5" y="1835"/>
                  </a:lnTo>
                  <a:lnTo>
                    <a:pt x="5" y="1818"/>
                  </a:lnTo>
                  <a:lnTo>
                    <a:pt x="0" y="1801"/>
                  </a:lnTo>
                  <a:lnTo>
                    <a:pt x="78" y="1794"/>
                  </a:lnTo>
                  <a:lnTo>
                    <a:pt x="127" y="1783"/>
                  </a:lnTo>
                  <a:lnTo>
                    <a:pt x="152" y="1773"/>
                  </a:lnTo>
                  <a:lnTo>
                    <a:pt x="160" y="1752"/>
                  </a:lnTo>
                  <a:lnTo>
                    <a:pt x="156" y="1728"/>
                  </a:lnTo>
                  <a:lnTo>
                    <a:pt x="148" y="1697"/>
                  </a:lnTo>
                  <a:lnTo>
                    <a:pt x="136" y="1652"/>
                  </a:lnTo>
                  <a:lnTo>
                    <a:pt x="131" y="1600"/>
                  </a:lnTo>
                  <a:lnTo>
                    <a:pt x="156" y="1541"/>
                  </a:lnTo>
                  <a:lnTo>
                    <a:pt x="193" y="1472"/>
                  </a:lnTo>
                  <a:lnTo>
                    <a:pt x="242" y="1393"/>
                  </a:lnTo>
                  <a:lnTo>
                    <a:pt x="287" y="1310"/>
                  </a:lnTo>
                  <a:lnTo>
                    <a:pt x="324" y="1227"/>
                  </a:lnTo>
                  <a:lnTo>
                    <a:pt x="348" y="1147"/>
                  </a:lnTo>
                  <a:lnTo>
                    <a:pt x="344" y="1078"/>
                  </a:lnTo>
                  <a:lnTo>
                    <a:pt x="312" y="1016"/>
                  </a:lnTo>
                  <a:lnTo>
                    <a:pt x="275" y="999"/>
                  </a:lnTo>
                  <a:lnTo>
                    <a:pt x="254" y="988"/>
                  </a:lnTo>
                  <a:lnTo>
                    <a:pt x="250" y="971"/>
                  </a:lnTo>
                  <a:lnTo>
                    <a:pt x="246" y="943"/>
                  </a:lnTo>
                  <a:lnTo>
                    <a:pt x="267" y="940"/>
                  </a:lnTo>
                  <a:lnTo>
                    <a:pt x="291" y="937"/>
                  </a:lnTo>
                  <a:lnTo>
                    <a:pt x="312" y="933"/>
                  </a:lnTo>
                  <a:lnTo>
                    <a:pt x="332" y="930"/>
                  </a:lnTo>
                  <a:lnTo>
                    <a:pt x="365" y="874"/>
                  </a:lnTo>
                  <a:lnTo>
                    <a:pt x="402" y="812"/>
                  </a:lnTo>
                  <a:lnTo>
                    <a:pt x="439" y="750"/>
                  </a:lnTo>
                  <a:lnTo>
                    <a:pt x="471" y="681"/>
                  </a:lnTo>
                  <a:lnTo>
                    <a:pt x="500" y="615"/>
                  </a:lnTo>
                  <a:lnTo>
                    <a:pt x="516" y="550"/>
                  </a:lnTo>
                  <a:lnTo>
                    <a:pt x="525" y="484"/>
                  </a:lnTo>
                  <a:lnTo>
                    <a:pt x="516" y="425"/>
                  </a:lnTo>
                  <a:lnTo>
                    <a:pt x="508" y="422"/>
                  </a:lnTo>
                  <a:lnTo>
                    <a:pt x="496" y="422"/>
                  </a:lnTo>
                  <a:lnTo>
                    <a:pt x="484" y="422"/>
                  </a:lnTo>
                  <a:lnTo>
                    <a:pt x="475" y="418"/>
                  </a:lnTo>
                  <a:lnTo>
                    <a:pt x="475" y="384"/>
                  </a:lnTo>
                  <a:lnTo>
                    <a:pt x="467" y="363"/>
                  </a:lnTo>
                  <a:lnTo>
                    <a:pt x="451" y="356"/>
                  </a:lnTo>
                  <a:lnTo>
                    <a:pt x="418" y="353"/>
                  </a:lnTo>
                  <a:lnTo>
                    <a:pt x="357" y="311"/>
                  </a:lnTo>
                  <a:lnTo>
                    <a:pt x="324" y="290"/>
                  </a:lnTo>
                  <a:lnTo>
                    <a:pt x="308" y="276"/>
                  </a:lnTo>
                  <a:lnTo>
                    <a:pt x="299" y="266"/>
                  </a:lnTo>
                  <a:lnTo>
                    <a:pt x="295" y="200"/>
                  </a:lnTo>
                  <a:lnTo>
                    <a:pt x="295" y="135"/>
                  </a:lnTo>
                  <a:lnTo>
                    <a:pt x="295" y="69"/>
                  </a:lnTo>
                  <a:lnTo>
                    <a:pt x="291" y="3"/>
                  </a:lnTo>
                  <a:lnTo>
                    <a:pt x="320" y="3"/>
                  </a:lnTo>
                  <a:lnTo>
                    <a:pt x="344" y="0"/>
                  </a:lnTo>
                  <a:lnTo>
                    <a:pt x="369" y="0"/>
                  </a:lnTo>
                  <a:lnTo>
                    <a:pt x="398" y="0"/>
                  </a:lnTo>
                  <a:lnTo>
                    <a:pt x="398" y="38"/>
                  </a:lnTo>
                  <a:lnTo>
                    <a:pt x="402" y="62"/>
                  </a:lnTo>
                  <a:lnTo>
                    <a:pt x="410" y="80"/>
                  </a:lnTo>
                  <a:lnTo>
                    <a:pt x="426" y="90"/>
                  </a:lnTo>
                  <a:lnTo>
                    <a:pt x="447" y="93"/>
                  </a:lnTo>
                  <a:lnTo>
                    <a:pt x="479" y="93"/>
                  </a:lnTo>
                  <a:lnTo>
                    <a:pt x="516" y="86"/>
                  </a:lnTo>
                  <a:lnTo>
                    <a:pt x="565" y="76"/>
                  </a:lnTo>
                  <a:lnTo>
                    <a:pt x="565" y="59"/>
                  </a:lnTo>
                  <a:lnTo>
                    <a:pt x="570" y="42"/>
                  </a:lnTo>
                  <a:lnTo>
                    <a:pt x="570" y="24"/>
                  </a:lnTo>
                  <a:lnTo>
                    <a:pt x="570" y="7"/>
                  </a:lnTo>
                  <a:lnTo>
                    <a:pt x="570" y="0"/>
                  </a:lnTo>
                  <a:lnTo>
                    <a:pt x="574" y="0"/>
                  </a:lnTo>
                  <a:lnTo>
                    <a:pt x="582" y="0"/>
                  </a:lnTo>
                  <a:lnTo>
                    <a:pt x="586" y="3"/>
                  </a:lnTo>
                  <a:lnTo>
                    <a:pt x="590" y="3"/>
                  </a:lnTo>
                  <a:lnTo>
                    <a:pt x="594" y="3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0" y="7"/>
                  </a:lnTo>
                  <a:lnTo>
                    <a:pt x="610" y="24"/>
                  </a:lnTo>
                  <a:lnTo>
                    <a:pt x="615" y="42"/>
                  </a:lnTo>
                  <a:lnTo>
                    <a:pt x="615" y="59"/>
                  </a:lnTo>
                  <a:lnTo>
                    <a:pt x="615" y="76"/>
                  </a:lnTo>
                  <a:lnTo>
                    <a:pt x="664" y="86"/>
                  </a:lnTo>
                  <a:lnTo>
                    <a:pt x="701" y="93"/>
                  </a:lnTo>
                  <a:lnTo>
                    <a:pt x="729" y="93"/>
                  </a:lnTo>
                  <a:lnTo>
                    <a:pt x="750" y="90"/>
                  </a:lnTo>
                  <a:lnTo>
                    <a:pt x="766" y="80"/>
                  </a:lnTo>
                  <a:lnTo>
                    <a:pt x="774" y="62"/>
                  </a:lnTo>
                  <a:lnTo>
                    <a:pt x="778" y="38"/>
                  </a:lnTo>
                  <a:lnTo>
                    <a:pt x="778" y="0"/>
                  </a:lnTo>
                  <a:lnTo>
                    <a:pt x="807" y="0"/>
                  </a:lnTo>
                  <a:lnTo>
                    <a:pt x="832" y="0"/>
                  </a:lnTo>
                  <a:lnTo>
                    <a:pt x="856" y="3"/>
                  </a:lnTo>
                  <a:lnTo>
                    <a:pt x="885" y="3"/>
                  </a:lnTo>
                  <a:lnTo>
                    <a:pt x="881" y="69"/>
                  </a:lnTo>
                  <a:lnTo>
                    <a:pt x="881" y="135"/>
                  </a:lnTo>
                  <a:lnTo>
                    <a:pt x="881" y="200"/>
                  </a:lnTo>
                  <a:lnTo>
                    <a:pt x="877" y="266"/>
                  </a:lnTo>
                  <a:lnTo>
                    <a:pt x="868" y="276"/>
                  </a:lnTo>
                  <a:lnTo>
                    <a:pt x="852" y="290"/>
                  </a:lnTo>
                  <a:lnTo>
                    <a:pt x="819" y="311"/>
                  </a:lnTo>
                  <a:lnTo>
                    <a:pt x="758" y="353"/>
                  </a:lnTo>
                  <a:lnTo>
                    <a:pt x="729" y="356"/>
                  </a:lnTo>
                  <a:lnTo>
                    <a:pt x="713" y="363"/>
                  </a:lnTo>
                  <a:lnTo>
                    <a:pt x="709" y="384"/>
                  </a:lnTo>
                  <a:lnTo>
                    <a:pt x="705" y="418"/>
                  </a:lnTo>
                  <a:lnTo>
                    <a:pt x="696" y="422"/>
                  </a:lnTo>
                  <a:lnTo>
                    <a:pt x="684" y="422"/>
                  </a:lnTo>
                  <a:lnTo>
                    <a:pt x="672" y="422"/>
                  </a:lnTo>
                  <a:lnTo>
                    <a:pt x="664" y="425"/>
                  </a:lnTo>
                  <a:lnTo>
                    <a:pt x="656" y="484"/>
                  </a:lnTo>
                  <a:lnTo>
                    <a:pt x="664" y="550"/>
                  </a:lnTo>
                  <a:lnTo>
                    <a:pt x="680" y="615"/>
                  </a:lnTo>
                  <a:lnTo>
                    <a:pt x="709" y="681"/>
                  </a:lnTo>
                  <a:lnTo>
                    <a:pt x="737" y="750"/>
                  </a:lnTo>
                  <a:lnTo>
                    <a:pt x="774" y="812"/>
                  </a:lnTo>
                  <a:lnTo>
                    <a:pt x="811" y="874"/>
                  </a:lnTo>
                  <a:lnTo>
                    <a:pt x="844" y="930"/>
                  </a:lnTo>
                  <a:lnTo>
                    <a:pt x="864" y="933"/>
                  </a:lnTo>
                  <a:lnTo>
                    <a:pt x="889" y="937"/>
                  </a:lnTo>
                  <a:lnTo>
                    <a:pt x="909" y="940"/>
                  </a:lnTo>
                  <a:lnTo>
                    <a:pt x="930" y="943"/>
                  </a:lnTo>
                  <a:lnTo>
                    <a:pt x="926" y="971"/>
                  </a:lnTo>
                  <a:lnTo>
                    <a:pt x="922" y="988"/>
                  </a:lnTo>
                  <a:lnTo>
                    <a:pt x="901" y="999"/>
                  </a:lnTo>
                  <a:lnTo>
                    <a:pt x="864" y="1016"/>
                  </a:lnTo>
                  <a:lnTo>
                    <a:pt x="832" y="1078"/>
                  </a:lnTo>
                  <a:lnTo>
                    <a:pt x="832" y="1147"/>
                  </a:lnTo>
                  <a:lnTo>
                    <a:pt x="852" y="1227"/>
                  </a:lnTo>
                  <a:lnTo>
                    <a:pt x="889" y="1310"/>
                  </a:lnTo>
                  <a:lnTo>
                    <a:pt x="934" y="1393"/>
                  </a:lnTo>
                  <a:lnTo>
                    <a:pt x="983" y="1472"/>
                  </a:lnTo>
                  <a:lnTo>
                    <a:pt x="1020" y="1541"/>
                  </a:lnTo>
                  <a:lnTo>
                    <a:pt x="1044" y="1600"/>
                  </a:lnTo>
                  <a:lnTo>
                    <a:pt x="1040" y="1652"/>
                  </a:lnTo>
                  <a:lnTo>
                    <a:pt x="1028" y="1697"/>
                  </a:lnTo>
                  <a:lnTo>
                    <a:pt x="1020" y="1728"/>
                  </a:lnTo>
                  <a:lnTo>
                    <a:pt x="1016" y="1752"/>
                  </a:lnTo>
                  <a:lnTo>
                    <a:pt x="1024" y="1773"/>
                  </a:lnTo>
                  <a:lnTo>
                    <a:pt x="1048" y="1783"/>
                  </a:lnTo>
                  <a:lnTo>
                    <a:pt x="1098" y="1794"/>
                  </a:lnTo>
                  <a:lnTo>
                    <a:pt x="1175" y="1801"/>
                  </a:lnTo>
                  <a:lnTo>
                    <a:pt x="1171" y="1818"/>
                  </a:lnTo>
                  <a:lnTo>
                    <a:pt x="1171" y="1835"/>
                  </a:lnTo>
                  <a:lnTo>
                    <a:pt x="1167" y="1856"/>
                  </a:lnTo>
                  <a:lnTo>
                    <a:pt x="1167" y="1873"/>
                  </a:lnTo>
                  <a:lnTo>
                    <a:pt x="610" y="1873"/>
                  </a:lnTo>
                  <a:lnTo>
                    <a:pt x="570" y="1873"/>
                  </a:lnTo>
                  <a:lnTo>
                    <a:pt x="9" y="18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67">
              <a:extLst>
                <a:ext uri="{FF2B5EF4-FFF2-40B4-BE49-F238E27FC236}">
                  <a16:creationId xmlns:a16="http://schemas.microsoft.com/office/drawing/2014/main" id="{93F61DB3-0560-8FE3-2164-CFCEDCF79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7249" y="3336135"/>
              <a:ext cx="323636" cy="649407"/>
            </a:xfrm>
            <a:custGeom>
              <a:avLst/>
              <a:gdLst>
                <a:gd name="T0" fmla="*/ 0 w 305"/>
                <a:gd name="T1" fmla="*/ 605 h 611"/>
                <a:gd name="T2" fmla="*/ 1 w 305"/>
                <a:gd name="T3" fmla="*/ 594 h 611"/>
                <a:gd name="T4" fmla="*/ 15 w 305"/>
                <a:gd name="T5" fmla="*/ 589 h 611"/>
                <a:gd name="T6" fmla="*/ 35 w 305"/>
                <a:gd name="T7" fmla="*/ 586 h 611"/>
                <a:gd name="T8" fmla="*/ 42 w 305"/>
                <a:gd name="T9" fmla="*/ 581 h 611"/>
                <a:gd name="T10" fmla="*/ 37 w 305"/>
                <a:gd name="T11" fmla="*/ 564 h 611"/>
                <a:gd name="T12" fmla="*/ 34 w 305"/>
                <a:gd name="T13" fmla="*/ 523 h 611"/>
                <a:gd name="T14" fmla="*/ 60 w 305"/>
                <a:gd name="T15" fmla="*/ 462 h 611"/>
                <a:gd name="T16" fmla="*/ 90 w 305"/>
                <a:gd name="T17" fmla="*/ 402 h 611"/>
                <a:gd name="T18" fmla="*/ 92 w 305"/>
                <a:gd name="T19" fmla="*/ 348 h 611"/>
                <a:gd name="T20" fmla="*/ 73 w 305"/>
                <a:gd name="T21" fmla="*/ 324 h 611"/>
                <a:gd name="T22" fmla="*/ 73 w 305"/>
                <a:gd name="T23" fmla="*/ 319 h 611"/>
                <a:gd name="T24" fmla="*/ 78 w 305"/>
                <a:gd name="T25" fmla="*/ 316 h 611"/>
                <a:gd name="T26" fmla="*/ 92 w 305"/>
                <a:gd name="T27" fmla="*/ 315 h 611"/>
                <a:gd name="T28" fmla="*/ 108 w 305"/>
                <a:gd name="T29" fmla="*/ 275 h 611"/>
                <a:gd name="T30" fmla="*/ 123 w 305"/>
                <a:gd name="T31" fmla="*/ 172 h 611"/>
                <a:gd name="T32" fmla="*/ 118 w 305"/>
                <a:gd name="T33" fmla="*/ 143 h 611"/>
                <a:gd name="T34" fmla="*/ 107 w 305"/>
                <a:gd name="T35" fmla="*/ 141 h 611"/>
                <a:gd name="T36" fmla="*/ 98 w 305"/>
                <a:gd name="T37" fmla="*/ 141 h 611"/>
                <a:gd name="T38" fmla="*/ 89 w 305"/>
                <a:gd name="T39" fmla="*/ 141 h 611"/>
                <a:gd name="T40" fmla="*/ 88 w 305"/>
                <a:gd name="T41" fmla="*/ 131 h 611"/>
                <a:gd name="T42" fmla="*/ 105 w 305"/>
                <a:gd name="T43" fmla="*/ 115 h 611"/>
                <a:gd name="T44" fmla="*/ 122 w 305"/>
                <a:gd name="T45" fmla="*/ 99 h 611"/>
                <a:gd name="T46" fmla="*/ 125 w 305"/>
                <a:gd name="T47" fmla="*/ 85 h 611"/>
                <a:gd name="T48" fmla="*/ 110 w 305"/>
                <a:gd name="T49" fmla="*/ 65 h 611"/>
                <a:gd name="T50" fmla="*/ 107 w 305"/>
                <a:gd name="T51" fmla="*/ 38 h 611"/>
                <a:gd name="T52" fmla="*/ 115 w 305"/>
                <a:gd name="T53" fmla="*/ 17 h 611"/>
                <a:gd name="T54" fmla="*/ 136 w 305"/>
                <a:gd name="T55" fmla="*/ 3 h 611"/>
                <a:gd name="T56" fmla="*/ 150 w 305"/>
                <a:gd name="T57" fmla="*/ 0 h 611"/>
                <a:gd name="T58" fmla="*/ 151 w 305"/>
                <a:gd name="T59" fmla="*/ 0 h 611"/>
                <a:gd name="T60" fmla="*/ 152 w 305"/>
                <a:gd name="T61" fmla="*/ 0 h 611"/>
                <a:gd name="T62" fmla="*/ 154 w 305"/>
                <a:gd name="T63" fmla="*/ 0 h 611"/>
                <a:gd name="T64" fmla="*/ 156 w 305"/>
                <a:gd name="T65" fmla="*/ 0 h 611"/>
                <a:gd name="T66" fmla="*/ 169 w 305"/>
                <a:gd name="T67" fmla="*/ 3 h 611"/>
                <a:gd name="T68" fmla="*/ 189 w 305"/>
                <a:gd name="T69" fmla="*/ 17 h 611"/>
                <a:gd name="T70" fmla="*/ 197 w 305"/>
                <a:gd name="T71" fmla="*/ 38 h 611"/>
                <a:gd name="T72" fmla="*/ 195 w 305"/>
                <a:gd name="T73" fmla="*/ 65 h 611"/>
                <a:gd name="T74" fmla="*/ 181 w 305"/>
                <a:gd name="T75" fmla="*/ 85 h 611"/>
                <a:gd name="T76" fmla="*/ 182 w 305"/>
                <a:gd name="T77" fmla="*/ 99 h 611"/>
                <a:gd name="T78" fmla="*/ 199 w 305"/>
                <a:gd name="T79" fmla="*/ 115 h 611"/>
                <a:gd name="T80" fmla="*/ 217 w 305"/>
                <a:gd name="T81" fmla="*/ 131 h 611"/>
                <a:gd name="T82" fmla="*/ 216 w 305"/>
                <a:gd name="T83" fmla="*/ 141 h 611"/>
                <a:gd name="T84" fmla="*/ 206 w 305"/>
                <a:gd name="T85" fmla="*/ 141 h 611"/>
                <a:gd name="T86" fmla="*/ 197 w 305"/>
                <a:gd name="T87" fmla="*/ 141 h 611"/>
                <a:gd name="T88" fmla="*/ 188 w 305"/>
                <a:gd name="T89" fmla="*/ 143 h 611"/>
                <a:gd name="T90" fmla="*/ 182 w 305"/>
                <a:gd name="T91" fmla="*/ 172 h 611"/>
                <a:gd name="T92" fmla="*/ 196 w 305"/>
                <a:gd name="T93" fmla="*/ 275 h 611"/>
                <a:gd name="T94" fmla="*/ 213 w 305"/>
                <a:gd name="T95" fmla="*/ 315 h 611"/>
                <a:gd name="T96" fmla="*/ 226 w 305"/>
                <a:gd name="T97" fmla="*/ 316 h 611"/>
                <a:gd name="T98" fmla="*/ 232 w 305"/>
                <a:gd name="T99" fmla="*/ 319 h 611"/>
                <a:gd name="T100" fmla="*/ 232 w 305"/>
                <a:gd name="T101" fmla="*/ 324 h 611"/>
                <a:gd name="T102" fmla="*/ 213 w 305"/>
                <a:gd name="T103" fmla="*/ 348 h 611"/>
                <a:gd name="T104" fmla="*/ 216 w 305"/>
                <a:gd name="T105" fmla="*/ 402 h 611"/>
                <a:gd name="T106" fmla="*/ 244 w 305"/>
                <a:gd name="T107" fmla="*/ 462 h 611"/>
                <a:gd name="T108" fmla="*/ 271 w 305"/>
                <a:gd name="T109" fmla="*/ 523 h 611"/>
                <a:gd name="T110" fmla="*/ 267 w 305"/>
                <a:gd name="T111" fmla="*/ 564 h 611"/>
                <a:gd name="T112" fmla="*/ 264 w 305"/>
                <a:gd name="T113" fmla="*/ 581 h 611"/>
                <a:gd name="T114" fmla="*/ 271 w 305"/>
                <a:gd name="T115" fmla="*/ 586 h 611"/>
                <a:gd name="T116" fmla="*/ 289 w 305"/>
                <a:gd name="T117" fmla="*/ 589 h 611"/>
                <a:gd name="T118" fmla="*/ 304 w 305"/>
                <a:gd name="T119" fmla="*/ 594 h 611"/>
                <a:gd name="T120" fmla="*/ 304 w 305"/>
                <a:gd name="T121" fmla="*/ 605 h 611"/>
                <a:gd name="T122" fmla="*/ 156 w 305"/>
                <a:gd name="T123" fmla="*/ 611 h 611"/>
                <a:gd name="T124" fmla="*/ 0 w 305"/>
                <a:gd name="T125" fmla="*/ 611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5" h="611">
                  <a:moveTo>
                    <a:pt x="0" y="611"/>
                  </a:moveTo>
                  <a:lnTo>
                    <a:pt x="0" y="605"/>
                  </a:lnTo>
                  <a:lnTo>
                    <a:pt x="1" y="600"/>
                  </a:lnTo>
                  <a:lnTo>
                    <a:pt x="1" y="594"/>
                  </a:lnTo>
                  <a:lnTo>
                    <a:pt x="1" y="590"/>
                  </a:lnTo>
                  <a:lnTo>
                    <a:pt x="15" y="589"/>
                  </a:lnTo>
                  <a:lnTo>
                    <a:pt x="27" y="588"/>
                  </a:lnTo>
                  <a:lnTo>
                    <a:pt x="35" y="586"/>
                  </a:lnTo>
                  <a:lnTo>
                    <a:pt x="39" y="584"/>
                  </a:lnTo>
                  <a:lnTo>
                    <a:pt x="42" y="581"/>
                  </a:lnTo>
                  <a:lnTo>
                    <a:pt x="40" y="574"/>
                  </a:lnTo>
                  <a:lnTo>
                    <a:pt x="37" y="564"/>
                  </a:lnTo>
                  <a:lnTo>
                    <a:pt x="30" y="552"/>
                  </a:lnTo>
                  <a:lnTo>
                    <a:pt x="34" y="523"/>
                  </a:lnTo>
                  <a:lnTo>
                    <a:pt x="45" y="493"/>
                  </a:lnTo>
                  <a:lnTo>
                    <a:pt x="60" y="462"/>
                  </a:lnTo>
                  <a:lnTo>
                    <a:pt x="76" y="432"/>
                  </a:lnTo>
                  <a:lnTo>
                    <a:pt x="90" y="402"/>
                  </a:lnTo>
                  <a:lnTo>
                    <a:pt x="96" y="373"/>
                  </a:lnTo>
                  <a:lnTo>
                    <a:pt x="92" y="348"/>
                  </a:lnTo>
                  <a:lnTo>
                    <a:pt x="74" y="326"/>
                  </a:lnTo>
                  <a:lnTo>
                    <a:pt x="73" y="324"/>
                  </a:lnTo>
                  <a:lnTo>
                    <a:pt x="73" y="321"/>
                  </a:lnTo>
                  <a:lnTo>
                    <a:pt x="73" y="319"/>
                  </a:lnTo>
                  <a:lnTo>
                    <a:pt x="73" y="317"/>
                  </a:lnTo>
                  <a:lnTo>
                    <a:pt x="78" y="316"/>
                  </a:lnTo>
                  <a:lnTo>
                    <a:pt x="85" y="315"/>
                  </a:lnTo>
                  <a:lnTo>
                    <a:pt x="92" y="315"/>
                  </a:lnTo>
                  <a:lnTo>
                    <a:pt x="98" y="313"/>
                  </a:lnTo>
                  <a:lnTo>
                    <a:pt x="108" y="275"/>
                  </a:lnTo>
                  <a:lnTo>
                    <a:pt x="118" y="221"/>
                  </a:lnTo>
                  <a:lnTo>
                    <a:pt x="123" y="172"/>
                  </a:lnTo>
                  <a:lnTo>
                    <a:pt x="122" y="144"/>
                  </a:lnTo>
                  <a:lnTo>
                    <a:pt x="118" y="143"/>
                  </a:lnTo>
                  <a:lnTo>
                    <a:pt x="112" y="142"/>
                  </a:lnTo>
                  <a:lnTo>
                    <a:pt x="107" y="141"/>
                  </a:lnTo>
                  <a:lnTo>
                    <a:pt x="103" y="141"/>
                  </a:lnTo>
                  <a:lnTo>
                    <a:pt x="98" y="141"/>
                  </a:lnTo>
                  <a:lnTo>
                    <a:pt x="93" y="141"/>
                  </a:lnTo>
                  <a:lnTo>
                    <a:pt x="89" y="141"/>
                  </a:lnTo>
                  <a:lnTo>
                    <a:pt x="84" y="141"/>
                  </a:lnTo>
                  <a:lnTo>
                    <a:pt x="88" y="131"/>
                  </a:lnTo>
                  <a:lnTo>
                    <a:pt x="96" y="123"/>
                  </a:lnTo>
                  <a:lnTo>
                    <a:pt x="105" y="115"/>
                  </a:lnTo>
                  <a:lnTo>
                    <a:pt x="115" y="107"/>
                  </a:lnTo>
                  <a:lnTo>
                    <a:pt x="122" y="99"/>
                  </a:lnTo>
                  <a:lnTo>
                    <a:pt x="127" y="92"/>
                  </a:lnTo>
                  <a:lnTo>
                    <a:pt x="125" y="85"/>
                  </a:lnTo>
                  <a:lnTo>
                    <a:pt x="115" y="80"/>
                  </a:lnTo>
                  <a:lnTo>
                    <a:pt x="110" y="65"/>
                  </a:lnTo>
                  <a:lnTo>
                    <a:pt x="107" y="51"/>
                  </a:lnTo>
                  <a:lnTo>
                    <a:pt x="107" y="38"/>
                  </a:lnTo>
                  <a:lnTo>
                    <a:pt x="111" y="28"/>
                  </a:lnTo>
                  <a:lnTo>
                    <a:pt x="115" y="17"/>
                  </a:lnTo>
                  <a:lnTo>
                    <a:pt x="125" y="9"/>
                  </a:lnTo>
                  <a:lnTo>
                    <a:pt x="136" y="3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1" y="0"/>
                  </a:lnTo>
                  <a:lnTo>
                    <a:pt x="151" y="0"/>
                  </a:lnTo>
                  <a:lnTo>
                    <a:pt x="152" y="0"/>
                  </a:lnTo>
                  <a:lnTo>
                    <a:pt x="152" y="0"/>
                  </a:lnTo>
                  <a:lnTo>
                    <a:pt x="153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69" y="3"/>
                  </a:lnTo>
                  <a:lnTo>
                    <a:pt x="181" y="9"/>
                  </a:lnTo>
                  <a:lnTo>
                    <a:pt x="189" y="17"/>
                  </a:lnTo>
                  <a:lnTo>
                    <a:pt x="195" y="28"/>
                  </a:lnTo>
                  <a:lnTo>
                    <a:pt x="197" y="38"/>
                  </a:lnTo>
                  <a:lnTo>
                    <a:pt x="198" y="51"/>
                  </a:lnTo>
                  <a:lnTo>
                    <a:pt x="195" y="65"/>
                  </a:lnTo>
                  <a:lnTo>
                    <a:pt x="190" y="80"/>
                  </a:lnTo>
                  <a:lnTo>
                    <a:pt x="181" y="85"/>
                  </a:lnTo>
                  <a:lnTo>
                    <a:pt x="179" y="92"/>
                  </a:lnTo>
                  <a:lnTo>
                    <a:pt x="182" y="99"/>
                  </a:lnTo>
                  <a:lnTo>
                    <a:pt x="190" y="107"/>
                  </a:lnTo>
                  <a:lnTo>
                    <a:pt x="199" y="115"/>
                  </a:lnTo>
                  <a:lnTo>
                    <a:pt x="209" y="123"/>
                  </a:lnTo>
                  <a:lnTo>
                    <a:pt x="217" y="131"/>
                  </a:lnTo>
                  <a:lnTo>
                    <a:pt x="220" y="141"/>
                  </a:lnTo>
                  <a:lnTo>
                    <a:pt x="216" y="141"/>
                  </a:lnTo>
                  <a:lnTo>
                    <a:pt x="211" y="141"/>
                  </a:lnTo>
                  <a:lnTo>
                    <a:pt x="206" y="141"/>
                  </a:lnTo>
                  <a:lnTo>
                    <a:pt x="202" y="141"/>
                  </a:lnTo>
                  <a:lnTo>
                    <a:pt x="197" y="141"/>
                  </a:lnTo>
                  <a:lnTo>
                    <a:pt x="192" y="142"/>
                  </a:lnTo>
                  <a:lnTo>
                    <a:pt x="188" y="143"/>
                  </a:lnTo>
                  <a:lnTo>
                    <a:pt x="183" y="144"/>
                  </a:lnTo>
                  <a:lnTo>
                    <a:pt x="182" y="172"/>
                  </a:lnTo>
                  <a:lnTo>
                    <a:pt x="187" y="221"/>
                  </a:lnTo>
                  <a:lnTo>
                    <a:pt x="196" y="275"/>
                  </a:lnTo>
                  <a:lnTo>
                    <a:pt x="207" y="313"/>
                  </a:lnTo>
                  <a:lnTo>
                    <a:pt x="213" y="315"/>
                  </a:lnTo>
                  <a:lnTo>
                    <a:pt x="220" y="315"/>
                  </a:lnTo>
                  <a:lnTo>
                    <a:pt x="226" y="316"/>
                  </a:lnTo>
                  <a:lnTo>
                    <a:pt x="232" y="317"/>
                  </a:lnTo>
                  <a:lnTo>
                    <a:pt x="232" y="319"/>
                  </a:lnTo>
                  <a:lnTo>
                    <a:pt x="232" y="321"/>
                  </a:lnTo>
                  <a:lnTo>
                    <a:pt x="232" y="324"/>
                  </a:lnTo>
                  <a:lnTo>
                    <a:pt x="232" y="326"/>
                  </a:lnTo>
                  <a:lnTo>
                    <a:pt x="213" y="348"/>
                  </a:lnTo>
                  <a:lnTo>
                    <a:pt x="210" y="373"/>
                  </a:lnTo>
                  <a:lnTo>
                    <a:pt x="216" y="402"/>
                  </a:lnTo>
                  <a:lnTo>
                    <a:pt x="228" y="432"/>
                  </a:lnTo>
                  <a:lnTo>
                    <a:pt x="244" y="462"/>
                  </a:lnTo>
                  <a:lnTo>
                    <a:pt x="259" y="493"/>
                  </a:lnTo>
                  <a:lnTo>
                    <a:pt x="271" y="523"/>
                  </a:lnTo>
                  <a:lnTo>
                    <a:pt x="274" y="552"/>
                  </a:lnTo>
                  <a:lnTo>
                    <a:pt x="267" y="564"/>
                  </a:lnTo>
                  <a:lnTo>
                    <a:pt x="264" y="574"/>
                  </a:lnTo>
                  <a:lnTo>
                    <a:pt x="264" y="581"/>
                  </a:lnTo>
                  <a:lnTo>
                    <a:pt x="266" y="584"/>
                  </a:lnTo>
                  <a:lnTo>
                    <a:pt x="271" y="586"/>
                  </a:lnTo>
                  <a:lnTo>
                    <a:pt x="279" y="588"/>
                  </a:lnTo>
                  <a:lnTo>
                    <a:pt x="289" y="589"/>
                  </a:lnTo>
                  <a:lnTo>
                    <a:pt x="303" y="590"/>
                  </a:lnTo>
                  <a:lnTo>
                    <a:pt x="304" y="594"/>
                  </a:lnTo>
                  <a:lnTo>
                    <a:pt x="304" y="600"/>
                  </a:lnTo>
                  <a:lnTo>
                    <a:pt x="304" y="605"/>
                  </a:lnTo>
                  <a:lnTo>
                    <a:pt x="305" y="611"/>
                  </a:lnTo>
                  <a:lnTo>
                    <a:pt x="156" y="611"/>
                  </a:lnTo>
                  <a:lnTo>
                    <a:pt x="150" y="611"/>
                  </a:lnTo>
                  <a:lnTo>
                    <a:pt x="0" y="6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7" name="Freeform 6">
            <a:extLst>
              <a:ext uri="{FF2B5EF4-FFF2-40B4-BE49-F238E27FC236}">
                <a16:creationId xmlns:a16="http://schemas.microsoft.com/office/drawing/2014/main" id="{F8C162FF-1CC5-B547-D59C-03EBF31C7221}"/>
              </a:ext>
            </a:extLst>
          </p:cNvPr>
          <p:cNvSpPr>
            <a:spLocks noChangeAspect="1" noEditPoints="1"/>
          </p:cNvSpPr>
          <p:nvPr>
            <p:custDataLst>
              <p:tags r:id="rId18"/>
            </p:custDataLst>
          </p:nvPr>
        </p:nvSpPr>
        <p:spPr bwMode="auto">
          <a:xfrm>
            <a:off x="4256466" y="2448509"/>
            <a:ext cx="606885" cy="574671"/>
          </a:xfrm>
          <a:custGeom>
            <a:avLst/>
            <a:gdLst>
              <a:gd name="T0" fmla="*/ 1108 w 1352"/>
              <a:gd name="T1" fmla="*/ 177 h 1278"/>
              <a:gd name="T2" fmla="*/ 398 w 1352"/>
              <a:gd name="T3" fmla="*/ 292 h 1278"/>
              <a:gd name="T4" fmla="*/ 307 w 1352"/>
              <a:gd name="T5" fmla="*/ 221 h 1278"/>
              <a:gd name="T6" fmla="*/ 313 w 1352"/>
              <a:gd name="T7" fmla="*/ 553 h 1278"/>
              <a:gd name="T8" fmla="*/ 636 w 1352"/>
              <a:gd name="T9" fmla="*/ 478 h 1278"/>
              <a:gd name="T10" fmla="*/ 547 w 1352"/>
              <a:gd name="T11" fmla="*/ 409 h 1278"/>
              <a:gd name="T12" fmla="*/ 1045 w 1352"/>
              <a:gd name="T13" fmla="*/ 319 h 1278"/>
              <a:gd name="T14" fmla="*/ 1164 w 1352"/>
              <a:gd name="T15" fmla="*/ 938 h 1278"/>
              <a:gd name="T16" fmla="*/ 1176 w 1352"/>
              <a:gd name="T17" fmla="*/ 947 h 1278"/>
              <a:gd name="T18" fmla="*/ 1108 w 1352"/>
              <a:gd name="T19" fmla="*/ 177 h 1278"/>
              <a:gd name="T20" fmla="*/ 716 w 1352"/>
              <a:gd name="T21" fmla="*/ 800 h 1278"/>
              <a:gd name="T22" fmla="*/ 805 w 1352"/>
              <a:gd name="T23" fmla="*/ 869 h 1278"/>
              <a:gd name="T24" fmla="*/ 307 w 1352"/>
              <a:gd name="T25" fmla="*/ 959 h 1278"/>
              <a:gd name="T26" fmla="*/ 188 w 1352"/>
              <a:gd name="T27" fmla="*/ 340 h 1278"/>
              <a:gd name="T28" fmla="*/ 176 w 1352"/>
              <a:gd name="T29" fmla="*/ 331 h 1278"/>
              <a:gd name="T30" fmla="*/ 244 w 1352"/>
              <a:gd name="T31" fmla="*/ 1101 h 1278"/>
              <a:gd name="T32" fmla="*/ 954 w 1352"/>
              <a:gd name="T33" fmla="*/ 986 h 1278"/>
              <a:gd name="T34" fmla="*/ 1045 w 1352"/>
              <a:gd name="T35" fmla="*/ 1057 h 1278"/>
              <a:gd name="T36" fmla="*/ 1039 w 1352"/>
              <a:gd name="T37" fmla="*/ 725 h 1278"/>
              <a:gd name="T38" fmla="*/ 716 w 1352"/>
              <a:gd name="T39" fmla="*/ 800 h 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52" h="1278">
                <a:moveTo>
                  <a:pt x="1108" y="177"/>
                </a:moveTo>
                <a:cubicBezTo>
                  <a:pt x="881" y="0"/>
                  <a:pt x="596" y="62"/>
                  <a:pt x="398" y="292"/>
                </a:cubicBezTo>
                <a:cubicBezTo>
                  <a:pt x="307" y="221"/>
                  <a:pt x="307" y="221"/>
                  <a:pt x="307" y="221"/>
                </a:cubicBezTo>
                <a:cubicBezTo>
                  <a:pt x="313" y="553"/>
                  <a:pt x="313" y="553"/>
                  <a:pt x="313" y="553"/>
                </a:cubicBezTo>
                <a:cubicBezTo>
                  <a:pt x="636" y="478"/>
                  <a:pt x="636" y="478"/>
                  <a:pt x="636" y="478"/>
                </a:cubicBezTo>
                <a:cubicBezTo>
                  <a:pt x="547" y="409"/>
                  <a:pt x="547" y="409"/>
                  <a:pt x="547" y="409"/>
                </a:cubicBezTo>
                <a:cubicBezTo>
                  <a:pt x="698" y="239"/>
                  <a:pt x="910" y="214"/>
                  <a:pt x="1045" y="319"/>
                </a:cubicBezTo>
                <a:cubicBezTo>
                  <a:pt x="1268" y="493"/>
                  <a:pt x="1267" y="806"/>
                  <a:pt x="1164" y="938"/>
                </a:cubicBezTo>
                <a:cubicBezTo>
                  <a:pt x="1176" y="947"/>
                  <a:pt x="1176" y="947"/>
                  <a:pt x="1176" y="947"/>
                </a:cubicBezTo>
                <a:cubicBezTo>
                  <a:pt x="1342" y="734"/>
                  <a:pt x="1352" y="367"/>
                  <a:pt x="1108" y="177"/>
                </a:cubicBezTo>
                <a:close/>
                <a:moveTo>
                  <a:pt x="716" y="800"/>
                </a:moveTo>
                <a:cubicBezTo>
                  <a:pt x="805" y="869"/>
                  <a:pt x="805" y="869"/>
                  <a:pt x="805" y="869"/>
                </a:cubicBezTo>
                <a:cubicBezTo>
                  <a:pt x="654" y="1039"/>
                  <a:pt x="442" y="1064"/>
                  <a:pt x="307" y="959"/>
                </a:cubicBezTo>
                <a:cubicBezTo>
                  <a:pt x="84" y="785"/>
                  <a:pt x="85" y="472"/>
                  <a:pt x="188" y="340"/>
                </a:cubicBezTo>
                <a:cubicBezTo>
                  <a:pt x="176" y="331"/>
                  <a:pt x="176" y="331"/>
                  <a:pt x="176" y="331"/>
                </a:cubicBezTo>
                <a:cubicBezTo>
                  <a:pt x="10" y="544"/>
                  <a:pt x="0" y="911"/>
                  <a:pt x="244" y="1101"/>
                </a:cubicBezTo>
                <a:cubicBezTo>
                  <a:pt x="471" y="1278"/>
                  <a:pt x="756" y="1216"/>
                  <a:pt x="954" y="986"/>
                </a:cubicBezTo>
                <a:cubicBezTo>
                  <a:pt x="1045" y="1057"/>
                  <a:pt x="1045" y="1057"/>
                  <a:pt x="1045" y="1057"/>
                </a:cubicBezTo>
                <a:cubicBezTo>
                  <a:pt x="1039" y="725"/>
                  <a:pt x="1039" y="725"/>
                  <a:pt x="1039" y="725"/>
                </a:cubicBezTo>
                <a:lnTo>
                  <a:pt x="716" y="8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7234C88-F167-3010-25DF-822F237CCC71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>
          <a:xfrm>
            <a:off x="288000" y="305999"/>
            <a:ext cx="11637299" cy="934971"/>
          </a:xfrm>
          <a:prstGeom prst="rect">
            <a:avLst/>
          </a:prstGeom>
        </p:spPr>
        <p:txBody>
          <a:bodyPr vert="horz" lIns="9144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cap="none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ake Control of Your Destin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FEBB9A-823C-FCC3-BAC6-96EAB8D183EE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5141425" y="3214436"/>
            <a:ext cx="6696172" cy="1367245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>
                <a:solidFill>
                  <a:prstClr val="white"/>
                </a:solidFill>
                <a:latin typeface="Calibri"/>
                <a:cs typeface="Times New Roman" panose="02020603050405020304" pitchFamily="18" charset="0"/>
              </a:rPr>
              <a:t>Choose a Strategic Differentiator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sz="2000">
                <a:solidFill>
                  <a:prstClr val="white"/>
                </a:solidFill>
                <a:latin typeface="Calibri"/>
                <a:cs typeface="Times New Roman"/>
              </a:rPr>
              <a:t>Defending margin and growing core services is not strategy; it’s survival. True success requires more than that.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E197A16-D7B4-3264-D2D3-7C19DE50E314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4086924" y="3502922"/>
            <a:ext cx="914400" cy="914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BAC662-97C1-0F1E-B96C-A5FEA8ED2749}"/>
              </a:ext>
            </a:extLst>
          </p:cNvPr>
          <p:cNvGrpSpPr>
            <a:grpSpLocks noChangeAspect="1"/>
          </p:cNvGrpSpPr>
          <p:nvPr>
            <p:custDataLst>
              <p:tags r:id="rId22"/>
            </p:custDataLst>
          </p:nvPr>
        </p:nvGrpSpPr>
        <p:grpSpPr>
          <a:xfrm>
            <a:off x="4291682" y="3609150"/>
            <a:ext cx="498311" cy="640839"/>
            <a:chOff x="5230813" y="4446588"/>
            <a:chExt cx="1476375" cy="1898650"/>
          </a:xfrm>
          <a:solidFill>
            <a:schemeClr val="bg1"/>
          </a:solidFill>
        </p:grpSpPr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F2C1F3F-C94B-08A0-183B-6AE4432EB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0813" y="4576763"/>
              <a:ext cx="1476375" cy="1768475"/>
            </a:xfrm>
            <a:custGeom>
              <a:avLst/>
              <a:gdLst>
                <a:gd name="T0" fmla="*/ 660 w 713"/>
                <a:gd name="T1" fmla="*/ 47 h 854"/>
                <a:gd name="T2" fmla="*/ 608 w 713"/>
                <a:gd name="T3" fmla="*/ 47 h 854"/>
                <a:gd name="T4" fmla="*/ 594 w 713"/>
                <a:gd name="T5" fmla="*/ 38 h 854"/>
                <a:gd name="T6" fmla="*/ 578 w 713"/>
                <a:gd name="T7" fmla="*/ 2 h 854"/>
                <a:gd name="T8" fmla="*/ 586 w 713"/>
                <a:gd name="T9" fmla="*/ 0 h 854"/>
                <a:gd name="T10" fmla="*/ 675 w 713"/>
                <a:gd name="T11" fmla="*/ 0 h 854"/>
                <a:gd name="T12" fmla="*/ 713 w 713"/>
                <a:gd name="T13" fmla="*/ 38 h 854"/>
                <a:gd name="T14" fmla="*/ 713 w 713"/>
                <a:gd name="T15" fmla="*/ 817 h 854"/>
                <a:gd name="T16" fmla="*/ 677 w 713"/>
                <a:gd name="T17" fmla="*/ 854 h 854"/>
                <a:gd name="T18" fmla="*/ 36 w 713"/>
                <a:gd name="T19" fmla="*/ 854 h 854"/>
                <a:gd name="T20" fmla="*/ 0 w 713"/>
                <a:gd name="T21" fmla="*/ 818 h 854"/>
                <a:gd name="T22" fmla="*/ 0 w 713"/>
                <a:gd name="T23" fmla="*/ 37 h 854"/>
                <a:gd name="T24" fmla="*/ 36 w 713"/>
                <a:gd name="T25" fmla="*/ 0 h 854"/>
                <a:gd name="T26" fmla="*/ 142 w 713"/>
                <a:gd name="T27" fmla="*/ 0 h 854"/>
                <a:gd name="T28" fmla="*/ 121 w 713"/>
                <a:gd name="T29" fmla="*/ 44 h 854"/>
                <a:gd name="T30" fmla="*/ 111 w 713"/>
                <a:gd name="T31" fmla="*/ 47 h 854"/>
                <a:gd name="T32" fmla="*/ 52 w 713"/>
                <a:gd name="T33" fmla="*/ 47 h 854"/>
                <a:gd name="T34" fmla="*/ 52 w 713"/>
                <a:gd name="T35" fmla="*/ 802 h 854"/>
                <a:gd name="T36" fmla="*/ 660 w 713"/>
                <a:gd name="T37" fmla="*/ 802 h 854"/>
                <a:gd name="T38" fmla="*/ 660 w 713"/>
                <a:gd name="T39" fmla="*/ 47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3" h="854">
                  <a:moveTo>
                    <a:pt x="660" y="47"/>
                  </a:moveTo>
                  <a:cubicBezTo>
                    <a:pt x="642" y="47"/>
                    <a:pt x="625" y="47"/>
                    <a:pt x="608" y="47"/>
                  </a:cubicBezTo>
                  <a:cubicBezTo>
                    <a:pt x="601" y="47"/>
                    <a:pt x="597" y="45"/>
                    <a:pt x="594" y="38"/>
                  </a:cubicBezTo>
                  <a:cubicBezTo>
                    <a:pt x="589" y="26"/>
                    <a:pt x="584" y="15"/>
                    <a:pt x="578" y="2"/>
                  </a:cubicBezTo>
                  <a:cubicBezTo>
                    <a:pt x="581" y="1"/>
                    <a:pt x="584" y="0"/>
                    <a:pt x="586" y="0"/>
                  </a:cubicBezTo>
                  <a:cubicBezTo>
                    <a:pt x="616" y="0"/>
                    <a:pt x="645" y="0"/>
                    <a:pt x="675" y="0"/>
                  </a:cubicBezTo>
                  <a:cubicBezTo>
                    <a:pt x="701" y="1"/>
                    <a:pt x="713" y="13"/>
                    <a:pt x="713" y="38"/>
                  </a:cubicBezTo>
                  <a:cubicBezTo>
                    <a:pt x="713" y="298"/>
                    <a:pt x="713" y="558"/>
                    <a:pt x="713" y="817"/>
                  </a:cubicBezTo>
                  <a:cubicBezTo>
                    <a:pt x="713" y="841"/>
                    <a:pt x="700" y="854"/>
                    <a:pt x="677" y="854"/>
                  </a:cubicBezTo>
                  <a:cubicBezTo>
                    <a:pt x="463" y="854"/>
                    <a:pt x="249" y="854"/>
                    <a:pt x="36" y="854"/>
                  </a:cubicBezTo>
                  <a:cubicBezTo>
                    <a:pt x="12" y="854"/>
                    <a:pt x="0" y="842"/>
                    <a:pt x="0" y="818"/>
                  </a:cubicBezTo>
                  <a:cubicBezTo>
                    <a:pt x="0" y="557"/>
                    <a:pt x="0" y="297"/>
                    <a:pt x="0" y="37"/>
                  </a:cubicBezTo>
                  <a:cubicBezTo>
                    <a:pt x="0" y="13"/>
                    <a:pt x="12" y="1"/>
                    <a:pt x="36" y="0"/>
                  </a:cubicBezTo>
                  <a:cubicBezTo>
                    <a:pt x="70" y="0"/>
                    <a:pt x="104" y="0"/>
                    <a:pt x="142" y="0"/>
                  </a:cubicBezTo>
                  <a:cubicBezTo>
                    <a:pt x="134" y="16"/>
                    <a:pt x="128" y="30"/>
                    <a:pt x="121" y="44"/>
                  </a:cubicBezTo>
                  <a:cubicBezTo>
                    <a:pt x="120" y="46"/>
                    <a:pt x="114" y="47"/>
                    <a:pt x="111" y="47"/>
                  </a:cubicBezTo>
                  <a:cubicBezTo>
                    <a:pt x="91" y="47"/>
                    <a:pt x="72" y="47"/>
                    <a:pt x="52" y="47"/>
                  </a:cubicBezTo>
                  <a:cubicBezTo>
                    <a:pt x="52" y="299"/>
                    <a:pt x="52" y="550"/>
                    <a:pt x="52" y="802"/>
                  </a:cubicBezTo>
                  <a:cubicBezTo>
                    <a:pt x="254" y="802"/>
                    <a:pt x="457" y="802"/>
                    <a:pt x="660" y="802"/>
                  </a:cubicBezTo>
                  <a:cubicBezTo>
                    <a:pt x="660" y="550"/>
                    <a:pt x="660" y="300"/>
                    <a:pt x="660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6B202D5A-07F5-B4CA-F234-62B499EF4B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1163" y="4446588"/>
              <a:ext cx="968375" cy="303212"/>
            </a:xfrm>
            <a:custGeom>
              <a:avLst/>
              <a:gdLst>
                <a:gd name="T0" fmla="*/ 0 w 468"/>
                <a:gd name="T1" fmla="*/ 146 h 146"/>
                <a:gd name="T2" fmla="*/ 27 w 468"/>
                <a:gd name="T3" fmla="*/ 87 h 146"/>
                <a:gd name="T4" fmla="*/ 90 w 468"/>
                <a:gd name="T5" fmla="*/ 47 h 146"/>
                <a:gd name="T6" fmla="*/ 143 w 468"/>
                <a:gd name="T7" fmla="*/ 47 h 146"/>
                <a:gd name="T8" fmla="*/ 169 w 468"/>
                <a:gd name="T9" fmla="*/ 22 h 146"/>
                <a:gd name="T10" fmla="*/ 192 w 468"/>
                <a:gd name="T11" fmla="*/ 0 h 146"/>
                <a:gd name="T12" fmla="*/ 277 w 468"/>
                <a:gd name="T13" fmla="*/ 0 h 146"/>
                <a:gd name="T14" fmla="*/ 300 w 468"/>
                <a:gd name="T15" fmla="*/ 21 h 146"/>
                <a:gd name="T16" fmla="*/ 328 w 468"/>
                <a:gd name="T17" fmla="*/ 47 h 146"/>
                <a:gd name="T18" fmla="*/ 404 w 468"/>
                <a:gd name="T19" fmla="*/ 47 h 146"/>
                <a:gd name="T20" fmla="*/ 421 w 468"/>
                <a:gd name="T21" fmla="*/ 53 h 146"/>
                <a:gd name="T22" fmla="*/ 468 w 468"/>
                <a:gd name="T23" fmla="*/ 146 h 146"/>
                <a:gd name="T24" fmla="*/ 0 w 468"/>
                <a:gd name="T25" fmla="*/ 146 h 146"/>
                <a:gd name="T26" fmla="*/ 232 w 468"/>
                <a:gd name="T27" fmla="*/ 44 h 146"/>
                <a:gd name="T28" fmla="*/ 238 w 468"/>
                <a:gd name="T29" fmla="*/ 44 h 146"/>
                <a:gd name="T30" fmla="*/ 249 w 468"/>
                <a:gd name="T31" fmla="*/ 27 h 146"/>
                <a:gd name="T32" fmla="*/ 235 w 468"/>
                <a:gd name="T33" fmla="*/ 12 h 146"/>
                <a:gd name="T34" fmla="*/ 220 w 468"/>
                <a:gd name="T35" fmla="*/ 28 h 146"/>
                <a:gd name="T36" fmla="*/ 232 w 468"/>
                <a:gd name="T37" fmla="*/ 4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8" h="146">
                  <a:moveTo>
                    <a:pt x="0" y="146"/>
                  </a:moveTo>
                  <a:cubicBezTo>
                    <a:pt x="10" y="125"/>
                    <a:pt x="19" y="106"/>
                    <a:pt x="27" y="87"/>
                  </a:cubicBezTo>
                  <a:cubicBezTo>
                    <a:pt x="46" y="47"/>
                    <a:pt x="46" y="47"/>
                    <a:pt x="90" y="47"/>
                  </a:cubicBezTo>
                  <a:cubicBezTo>
                    <a:pt x="108" y="47"/>
                    <a:pt x="125" y="47"/>
                    <a:pt x="143" y="47"/>
                  </a:cubicBezTo>
                  <a:cubicBezTo>
                    <a:pt x="160" y="46"/>
                    <a:pt x="168" y="39"/>
                    <a:pt x="169" y="22"/>
                  </a:cubicBezTo>
                  <a:cubicBezTo>
                    <a:pt x="171" y="7"/>
                    <a:pt x="177" y="0"/>
                    <a:pt x="192" y="0"/>
                  </a:cubicBezTo>
                  <a:cubicBezTo>
                    <a:pt x="221" y="0"/>
                    <a:pt x="249" y="0"/>
                    <a:pt x="277" y="0"/>
                  </a:cubicBezTo>
                  <a:cubicBezTo>
                    <a:pt x="292" y="0"/>
                    <a:pt x="299" y="7"/>
                    <a:pt x="300" y="21"/>
                  </a:cubicBezTo>
                  <a:cubicBezTo>
                    <a:pt x="302" y="39"/>
                    <a:pt x="310" y="47"/>
                    <a:pt x="328" y="47"/>
                  </a:cubicBezTo>
                  <a:cubicBezTo>
                    <a:pt x="353" y="47"/>
                    <a:pt x="378" y="46"/>
                    <a:pt x="404" y="47"/>
                  </a:cubicBezTo>
                  <a:cubicBezTo>
                    <a:pt x="410" y="47"/>
                    <a:pt x="419" y="49"/>
                    <a:pt x="421" y="53"/>
                  </a:cubicBezTo>
                  <a:cubicBezTo>
                    <a:pt x="437" y="83"/>
                    <a:pt x="451" y="113"/>
                    <a:pt x="468" y="146"/>
                  </a:cubicBezTo>
                  <a:cubicBezTo>
                    <a:pt x="310" y="146"/>
                    <a:pt x="157" y="146"/>
                    <a:pt x="0" y="146"/>
                  </a:cubicBezTo>
                  <a:close/>
                  <a:moveTo>
                    <a:pt x="232" y="44"/>
                  </a:moveTo>
                  <a:cubicBezTo>
                    <a:pt x="234" y="44"/>
                    <a:pt x="236" y="44"/>
                    <a:pt x="238" y="44"/>
                  </a:cubicBezTo>
                  <a:cubicBezTo>
                    <a:pt x="242" y="39"/>
                    <a:pt x="248" y="34"/>
                    <a:pt x="249" y="27"/>
                  </a:cubicBezTo>
                  <a:cubicBezTo>
                    <a:pt x="251" y="19"/>
                    <a:pt x="244" y="13"/>
                    <a:pt x="235" y="12"/>
                  </a:cubicBezTo>
                  <a:cubicBezTo>
                    <a:pt x="227" y="12"/>
                    <a:pt x="218" y="20"/>
                    <a:pt x="220" y="28"/>
                  </a:cubicBezTo>
                  <a:cubicBezTo>
                    <a:pt x="222" y="34"/>
                    <a:pt x="228" y="39"/>
                    <a:pt x="23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D56D5632-4FA8-B5C9-0A72-46D69B02EF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7513" y="5857875"/>
              <a:ext cx="277812" cy="276225"/>
            </a:xfrm>
            <a:custGeom>
              <a:avLst/>
              <a:gdLst>
                <a:gd name="T0" fmla="*/ 0 w 134"/>
                <a:gd name="T1" fmla="*/ 0 h 133"/>
                <a:gd name="T2" fmla="*/ 134 w 134"/>
                <a:gd name="T3" fmla="*/ 0 h 133"/>
                <a:gd name="T4" fmla="*/ 134 w 134"/>
                <a:gd name="T5" fmla="*/ 133 h 133"/>
                <a:gd name="T6" fmla="*/ 0 w 134"/>
                <a:gd name="T7" fmla="*/ 133 h 133"/>
                <a:gd name="T8" fmla="*/ 0 w 134"/>
                <a:gd name="T9" fmla="*/ 0 h 133"/>
                <a:gd name="T10" fmla="*/ 21 w 134"/>
                <a:gd name="T11" fmla="*/ 20 h 133"/>
                <a:gd name="T12" fmla="*/ 21 w 134"/>
                <a:gd name="T13" fmla="*/ 113 h 133"/>
                <a:gd name="T14" fmla="*/ 113 w 134"/>
                <a:gd name="T15" fmla="*/ 113 h 133"/>
                <a:gd name="T16" fmla="*/ 113 w 134"/>
                <a:gd name="T17" fmla="*/ 20 h 133"/>
                <a:gd name="T18" fmla="*/ 21 w 134"/>
                <a:gd name="T19" fmla="*/ 2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3">
                  <a:moveTo>
                    <a:pt x="0" y="0"/>
                  </a:moveTo>
                  <a:cubicBezTo>
                    <a:pt x="45" y="0"/>
                    <a:pt x="89" y="0"/>
                    <a:pt x="134" y="0"/>
                  </a:cubicBezTo>
                  <a:cubicBezTo>
                    <a:pt x="134" y="44"/>
                    <a:pt x="134" y="88"/>
                    <a:pt x="134" y="133"/>
                  </a:cubicBezTo>
                  <a:cubicBezTo>
                    <a:pt x="89" y="133"/>
                    <a:pt x="45" y="133"/>
                    <a:pt x="0" y="133"/>
                  </a:cubicBezTo>
                  <a:cubicBezTo>
                    <a:pt x="0" y="88"/>
                    <a:pt x="0" y="45"/>
                    <a:pt x="0" y="0"/>
                  </a:cubicBezTo>
                  <a:close/>
                  <a:moveTo>
                    <a:pt x="21" y="20"/>
                  </a:moveTo>
                  <a:cubicBezTo>
                    <a:pt x="21" y="52"/>
                    <a:pt x="21" y="82"/>
                    <a:pt x="21" y="113"/>
                  </a:cubicBezTo>
                  <a:cubicBezTo>
                    <a:pt x="52" y="113"/>
                    <a:pt x="82" y="113"/>
                    <a:pt x="113" y="113"/>
                  </a:cubicBezTo>
                  <a:cubicBezTo>
                    <a:pt x="113" y="81"/>
                    <a:pt x="113" y="51"/>
                    <a:pt x="113" y="20"/>
                  </a:cubicBezTo>
                  <a:cubicBezTo>
                    <a:pt x="82" y="20"/>
                    <a:pt x="52" y="20"/>
                    <a:pt x="2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E5524B4-F96A-E04C-DE1F-B49DAF4AB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13" y="5391150"/>
              <a:ext cx="277812" cy="274637"/>
            </a:xfrm>
            <a:custGeom>
              <a:avLst/>
              <a:gdLst>
                <a:gd name="T0" fmla="*/ 134 w 134"/>
                <a:gd name="T1" fmla="*/ 62 h 133"/>
                <a:gd name="T2" fmla="*/ 134 w 134"/>
                <a:gd name="T3" fmla="*/ 133 h 133"/>
                <a:gd name="T4" fmla="*/ 0 w 134"/>
                <a:gd name="T5" fmla="*/ 133 h 133"/>
                <a:gd name="T6" fmla="*/ 0 w 134"/>
                <a:gd name="T7" fmla="*/ 0 h 133"/>
                <a:gd name="T8" fmla="*/ 134 w 134"/>
                <a:gd name="T9" fmla="*/ 0 h 133"/>
                <a:gd name="T10" fmla="*/ 108 w 134"/>
                <a:gd name="T11" fmla="*/ 19 h 133"/>
                <a:gd name="T12" fmla="*/ 21 w 134"/>
                <a:gd name="T13" fmla="*/ 19 h 133"/>
                <a:gd name="T14" fmla="*/ 21 w 134"/>
                <a:gd name="T15" fmla="*/ 112 h 133"/>
                <a:gd name="T16" fmla="*/ 115 w 134"/>
                <a:gd name="T17" fmla="*/ 112 h 133"/>
                <a:gd name="T18" fmla="*/ 115 w 134"/>
                <a:gd name="T19" fmla="*/ 84 h 133"/>
                <a:gd name="T20" fmla="*/ 134 w 134"/>
                <a:gd name="T21" fmla="*/ 6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133">
                  <a:moveTo>
                    <a:pt x="134" y="62"/>
                  </a:moveTo>
                  <a:cubicBezTo>
                    <a:pt x="134" y="88"/>
                    <a:pt x="134" y="110"/>
                    <a:pt x="134" y="133"/>
                  </a:cubicBezTo>
                  <a:cubicBezTo>
                    <a:pt x="89" y="133"/>
                    <a:pt x="45" y="133"/>
                    <a:pt x="0" y="133"/>
                  </a:cubicBezTo>
                  <a:cubicBezTo>
                    <a:pt x="0" y="89"/>
                    <a:pt x="0" y="45"/>
                    <a:pt x="0" y="0"/>
                  </a:cubicBezTo>
                  <a:cubicBezTo>
                    <a:pt x="45" y="0"/>
                    <a:pt x="89" y="0"/>
                    <a:pt x="134" y="0"/>
                  </a:cubicBezTo>
                  <a:cubicBezTo>
                    <a:pt x="130" y="13"/>
                    <a:pt x="121" y="19"/>
                    <a:pt x="108" y="19"/>
                  </a:cubicBezTo>
                  <a:cubicBezTo>
                    <a:pt x="79" y="19"/>
                    <a:pt x="51" y="19"/>
                    <a:pt x="21" y="19"/>
                  </a:cubicBezTo>
                  <a:cubicBezTo>
                    <a:pt x="21" y="50"/>
                    <a:pt x="21" y="81"/>
                    <a:pt x="21" y="112"/>
                  </a:cubicBezTo>
                  <a:cubicBezTo>
                    <a:pt x="52" y="112"/>
                    <a:pt x="82" y="112"/>
                    <a:pt x="115" y="112"/>
                  </a:cubicBezTo>
                  <a:cubicBezTo>
                    <a:pt x="115" y="103"/>
                    <a:pt x="112" y="93"/>
                    <a:pt x="115" y="84"/>
                  </a:cubicBezTo>
                  <a:cubicBezTo>
                    <a:pt x="118" y="77"/>
                    <a:pt x="126" y="71"/>
                    <a:pt x="134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51C3035E-C7C3-ED48-7E7D-90F6BD9832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13" y="4922838"/>
              <a:ext cx="277812" cy="274637"/>
            </a:xfrm>
            <a:custGeom>
              <a:avLst/>
              <a:gdLst>
                <a:gd name="T0" fmla="*/ 134 w 134"/>
                <a:gd name="T1" fmla="*/ 65 h 133"/>
                <a:gd name="T2" fmla="*/ 134 w 134"/>
                <a:gd name="T3" fmla="*/ 133 h 133"/>
                <a:gd name="T4" fmla="*/ 0 w 134"/>
                <a:gd name="T5" fmla="*/ 133 h 133"/>
                <a:gd name="T6" fmla="*/ 0 w 134"/>
                <a:gd name="T7" fmla="*/ 0 h 133"/>
                <a:gd name="T8" fmla="*/ 134 w 134"/>
                <a:gd name="T9" fmla="*/ 0 h 133"/>
                <a:gd name="T10" fmla="*/ 109 w 134"/>
                <a:gd name="T11" fmla="*/ 19 h 133"/>
                <a:gd name="T12" fmla="*/ 20 w 134"/>
                <a:gd name="T13" fmla="*/ 19 h 133"/>
                <a:gd name="T14" fmla="*/ 20 w 134"/>
                <a:gd name="T15" fmla="*/ 113 h 133"/>
                <a:gd name="T16" fmla="*/ 114 w 134"/>
                <a:gd name="T17" fmla="*/ 113 h 133"/>
                <a:gd name="T18" fmla="*/ 134 w 134"/>
                <a:gd name="T19" fmla="*/ 6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3">
                  <a:moveTo>
                    <a:pt x="134" y="65"/>
                  </a:moveTo>
                  <a:cubicBezTo>
                    <a:pt x="134" y="88"/>
                    <a:pt x="134" y="110"/>
                    <a:pt x="134" y="133"/>
                  </a:cubicBezTo>
                  <a:cubicBezTo>
                    <a:pt x="89" y="133"/>
                    <a:pt x="45" y="133"/>
                    <a:pt x="0" y="133"/>
                  </a:cubicBezTo>
                  <a:cubicBezTo>
                    <a:pt x="0" y="89"/>
                    <a:pt x="0" y="45"/>
                    <a:pt x="0" y="0"/>
                  </a:cubicBezTo>
                  <a:cubicBezTo>
                    <a:pt x="45" y="0"/>
                    <a:pt x="89" y="0"/>
                    <a:pt x="134" y="0"/>
                  </a:cubicBezTo>
                  <a:cubicBezTo>
                    <a:pt x="130" y="13"/>
                    <a:pt x="120" y="19"/>
                    <a:pt x="109" y="19"/>
                  </a:cubicBezTo>
                  <a:cubicBezTo>
                    <a:pt x="80" y="18"/>
                    <a:pt x="50" y="19"/>
                    <a:pt x="20" y="19"/>
                  </a:cubicBezTo>
                  <a:cubicBezTo>
                    <a:pt x="20" y="51"/>
                    <a:pt x="20" y="81"/>
                    <a:pt x="20" y="113"/>
                  </a:cubicBezTo>
                  <a:cubicBezTo>
                    <a:pt x="51" y="113"/>
                    <a:pt x="82" y="113"/>
                    <a:pt x="114" y="113"/>
                  </a:cubicBezTo>
                  <a:cubicBezTo>
                    <a:pt x="114" y="94"/>
                    <a:pt x="112" y="75"/>
                    <a:pt x="134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8C234688-417B-8790-4D95-7E3505411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600" y="5102225"/>
              <a:ext cx="508000" cy="39687"/>
            </a:xfrm>
            <a:custGeom>
              <a:avLst/>
              <a:gdLst>
                <a:gd name="T0" fmla="*/ 246 w 246"/>
                <a:gd name="T1" fmla="*/ 0 h 19"/>
                <a:gd name="T2" fmla="*/ 246 w 246"/>
                <a:gd name="T3" fmla="*/ 19 h 19"/>
                <a:gd name="T4" fmla="*/ 0 w 246"/>
                <a:gd name="T5" fmla="*/ 19 h 19"/>
                <a:gd name="T6" fmla="*/ 0 w 246"/>
                <a:gd name="T7" fmla="*/ 0 h 19"/>
                <a:gd name="T8" fmla="*/ 246 w 24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9">
                  <a:moveTo>
                    <a:pt x="246" y="0"/>
                  </a:moveTo>
                  <a:cubicBezTo>
                    <a:pt x="246" y="7"/>
                    <a:pt x="246" y="12"/>
                    <a:pt x="246" y="19"/>
                  </a:cubicBezTo>
                  <a:cubicBezTo>
                    <a:pt x="164" y="19"/>
                    <a:pt x="82" y="19"/>
                    <a:pt x="0" y="19"/>
                  </a:cubicBezTo>
                  <a:cubicBezTo>
                    <a:pt x="0" y="13"/>
                    <a:pt x="0" y="7"/>
                    <a:pt x="0" y="0"/>
                  </a:cubicBezTo>
                  <a:cubicBezTo>
                    <a:pt x="82" y="0"/>
                    <a:pt x="163" y="0"/>
                    <a:pt x="2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6A96733C-2016-ED1E-EC9F-2EB6B8807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600" y="5475288"/>
              <a:ext cx="508000" cy="39687"/>
            </a:xfrm>
            <a:custGeom>
              <a:avLst/>
              <a:gdLst>
                <a:gd name="T0" fmla="*/ 246 w 246"/>
                <a:gd name="T1" fmla="*/ 0 h 19"/>
                <a:gd name="T2" fmla="*/ 246 w 246"/>
                <a:gd name="T3" fmla="*/ 19 h 19"/>
                <a:gd name="T4" fmla="*/ 0 w 246"/>
                <a:gd name="T5" fmla="*/ 19 h 19"/>
                <a:gd name="T6" fmla="*/ 0 w 246"/>
                <a:gd name="T7" fmla="*/ 0 h 19"/>
                <a:gd name="T8" fmla="*/ 246 w 246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9">
                  <a:moveTo>
                    <a:pt x="246" y="0"/>
                  </a:moveTo>
                  <a:cubicBezTo>
                    <a:pt x="246" y="7"/>
                    <a:pt x="246" y="12"/>
                    <a:pt x="246" y="19"/>
                  </a:cubicBezTo>
                  <a:cubicBezTo>
                    <a:pt x="164" y="19"/>
                    <a:pt x="82" y="19"/>
                    <a:pt x="0" y="19"/>
                  </a:cubicBezTo>
                  <a:cubicBezTo>
                    <a:pt x="0" y="13"/>
                    <a:pt x="0" y="7"/>
                    <a:pt x="0" y="0"/>
                  </a:cubicBezTo>
                  <a:cubicBezTo>
                    <a:pt x="82" y="0"/>
                    <a:pt x="163" y="0"/>
                    <a:pt x="2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7FFCE0B-6867-0DC7-E335-C2B2B000CB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425" y="5572125"/>
              <a:ext cx="509587" cy="38100"/>
            </a:xfrm>
            <a:custGeom>
              <a:avLst/>
              <a:gdLst>
                <a:gd name="T0" fmla="*/ 0 w 246"/>
                <a:gd name="T1" fmla="*/ 18 h 18"/>
                <a:gd name="T2" fmla="*/ 0 w 246"/>
                <a:gd name="T3" fmla="*/ 0 h 18"/>
                <a:gd name="T4" fmla="*/ 246 w 246"/>
                <a:gd name="T5" fmla="*/ 0 h 18"/>
                <a:gd name="T6" fmla="*/ 246 w 246"/>
                <a:gd name="T7" fmla="*/ 18 h 18"/>
                <a:gd name="T8" fmla="*/ 0 w 24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8">
                  <a:moveTo>
                    <a:pt x="0" y="18"/>
                  </a:moveTo>
                  <a:cubicBezTo>
                    <a:pt x="0" y="12"/>
                    <a:pt x="0" y="6"/>
                    <a:pt x="0" y="0"/>
                  </a:cubicBezTo>
                  <a:cubicBezTo>
                    <a:pt x="82" y="0"/>
                    <a:pt x="164" y="0"/>
                    <a:pt x="246" y="0"/>
                  </a:cubicBezTo>
                  <a:cubicBezTo>
                    <a:pt x="246" y="5"/>
                    <a:pt x="246" y="11"/>
                    <a:pt x="246" y="18"/>
                  </a:cubicBezTo>
                  <a:cubicBezTo>
                    <a:pt x="165" y="18"/>
                    <a:pt x="83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ADC1D526-A226-8C5D-B729-49A37DE90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425" y="5945188"/>
              <a:ext cx="509587" cy="38100"/>
            </a:xfrm>
            <a:custGeom>
              <a:avLst/>
              <a:gdLst>
                <a:gd name="T0" fmla="*/ 0 w 246"/>
                <a:gd name="T1" fmla="*/ 18 h 18"/>
                <a:gd name="T2" fmla="*/ 0 w 246"/>
                <a:gd name="T3" fmla="*/ 0 h 18"/>
                <a:gd name="T4" fmla="*/ 246 w 246"/>
                <a:gd name="T5" fmla="*/ 0 h 18"/>
                <a:gd name="T6" fmla="*/ 246 w 246"/>
                <a:gd name="T7" fmla="*/ 18 h 18"/>
                <a:gd name="T8" fmla="*/ 0 w 24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6" h="18">
                  <a:moveTo>
                    <a:pt x="0" y="18"/>
                  </a:moveTo>
                  <a:cubicBezTo>
                    <a:pt x="0" y="12"/>
                    <a:pt x="0" y="6"/>
                    <a:pt x="0" y="0"/>
                  </a:cubicBezTo>
                  <a:cubicBezTo>
                    <a:pt x="82" y="0"/>
                    <a:pt x="164" y="0"/>
                    <a:pt x="246" y="0"/>
                  </a:cubicBezTo>
                  <a:cubicBezTo>
                    <a:pt x="246" y="6"/>
                    <a:pt x="246" y="11"/>
                    <a:pt x="246" y="18"/>
                  </a:cubicBezTo>
                  <a:cubicBezTo>
                    <a:pt x="165" y="18"/>
                    <a:pt x="83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C51EC177-A30F-9A78-6751-C02668B11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0425" y="6040438"/>
              <a:ext cx="511175" cy="38100"/>
            </a:xfrm>
            <a:custGeom>
              <a:avLst/>
              <a:gdLst>
                <a:gd name="T0" fmla="*/ 0 w 247"/>
                <a:gd name="T1" fmla="*/ 18 h 18"/>
                <a:gd name="T2" fmla="*/ 0 w 247"/>
                <a:gd name="T3" fmla="*/ 0 h 18"/>
                <a:gd name="T4" fmla="*/ 247 w 247"/>
                <a:gd name="T5" fmla="*/ 0 h 18"/>
                <a:gd name="T6" fmla="*/ 247 w 247"/>
                <a:gd name="T7" fmla="*/ 18 h 18"/>
                <a:gd name="T8" fmla="*/ 0 w 247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8">
                  <a:moveTo>
                    <a:pt x="0" y="18"/>
                  </a:moveTo>
                  <a:cubicBezTo>
                    <a:pt x="0" y="12"/>
                    <a:pt x="0" y="6"/>
                    <a:pt x="0" y="0"/>
                  </a:cubicBezTo>
                  <a:cubicBezTo>
                    <a:pt x="83" y="0"/>
                    <a:pt x="164" y="0"/>
                    <a:pt x="247" y="0"/>
                  </a:cubicBezTo>
                  <a:cubicBezTo>
                    <a:pt x="247" y="6"/>
                    <a:pt x="247" y="11"/>
                    <a:pt x="247" y="18"/>
                  </a:cubicBezTo>
                  <a:cubicBezTo>
                    <a:pt x="165" y="18"/>
                    <a:pt x="83" y="18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A5F2043E-77C9-9072-61C7-F0B585A9E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3600" y="5006975"/>
              <a:ext cx="506412" cy="39687"/>
            </a:xfrm>
            <a:custGeom>
              <a:avLst/>
              <a:gdLst>
                <a:gd name="T0" fmla="*/ 0 w 245"/>
                <a:gd name="T1" fmla="*/ 19 h 19"/>
                <a:gd name="T2" fmla="*/ 0 w 245"/>
                <a:gd name="T3" fmla="*/ 0 h 19"/>
                <a:gd name="T4" fmla="*/ 245 w 245"/>
                <a:gd name="T5" fmla="*/ 0 h 19"/>
                <a:gd name="T6" fmla="*/ 245 w 245"/>
                <a:gd name="T7" fmla="*/ 19 h 19"/>
                <a:gd name="T8" fmla="*/ 0 w 245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19">
                  <a:moveTo>
                    <a:pt x="0" y="19"/>
                  </a:moveTo>
                  <a:cubicBezTo>
                    <a:pt x="0" y="12"/>
                    <a:pt x="0" y="7"/>
                    <a:pt x="0" y="0"/>
                  </a:cubicBezTo>
                  <a:cubicBezTo>
                    <a:pt x="82" y="0"/>
                    <a:pt x="163" y="0"/>
                    <a:pt x="245" y="0"/>
                  </a:cubicBezTo>
                  <a:cubicBezTo>
                    <a:pt x="245" y="7"/>
                    <a:pt x="245" y="12"/>
                    <a:pt x="245" y="19"/>
                  </a:cubicBezTo>
                  <a:cubicBezTo>
                    <a:pt x="164" y="19"/>
                    <a:pt x="82" y="19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FB6875EB-8C57-3DCB-9D01-B6294ADB0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9425" y="4879975"/>
              <a:ext cx="319087" cy="247650"/>
            </a:xfrm>
            <a:custGeom>
              <a:avLst/>
              <a:gdLst>
                <a:gd name="T0" fmla="*/ 53 w 154"/>
                <a:gd name="T1" fmla="*/ 120 h 120"/>
                <a:gd name="T2" fmla="*/ 8 w 154"/>
                <a:gd name="T3" fmla="*/ 74 h 120"/>
                <a:gd name="T4" fmla="*/ 7 w 154"/>
                <a:gd name="T5" fmla="*/ 59 h 120"/>
                <a:gd name="T6" fmla="*/ 22 w 154"/>
                <a:gd name="T7" fmla="*/ 61 h 120"/>
                <a:gd name="T8" fmla="*/ 53 w 154"/>
                <a:gd name="T9" fmla="*/ 94 h 120"/>
                <a:gd name="T10" fmla="*/ 106 w 154"/>
                <a:gd name="T11" fmla="*/ 38 h 120"/>
                <a:gd name="T12" fmla="*/ 135 w 154"/>
                <a:gd name="T13" fmla="*/ 9 h 120"/>
                <a:gd name="T14" fmla="*/ 152 w 154"/>
                <a:gd name="T15" fmla="*/ 7 h 120"/>
                <a:gd name="T16" fmla="*/ 150 w 154"/>
                <a:gd name="T17" fmla="*/ 22 h 120"/>
                <a:gd name="T18" fmla="*/ 53 w 154"/>
                <a:gd name="T1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4" h="120">
                  <a:moveTo>
                    <a:pt x="53" y="120"/>
                  </a:moveTo>
                  <a:cubicBezTo>
                    <a:pt x="37" y="104"/>
                    <a:pt x="22" y="89"/>
                    <a:pt x="8" y="74"/>
                  </a:cubicBezTo>
                  <a:cubicBezTo>
                    <a:pt x="3" y="69"/>
                    <a:pt x="0" y="63"/>
                    <a:pt x="7" y="59"/>
                  </a:cubicBezTo>
                  <a:cubicBezTo>
                    <a:pt x="11" y="57"/>
                    <a:pt x="19" y="58"/>
                    <a:pt x="22" y="61"/>
                  </a:cubicBezTo>
                  <a:cubicBezTo>
                    <a:pt x="32" y="70"/>
                    <a:pt x="41" y="81"/>
                    <a:pt x="53" y="94"/>
                  </a:cubicBezTo>
                  <a:cubicBezTo>
                    <a:pt x="72" y="74"/>
                    <a:pt x="89" y="56"/>
                    <a:pt x="106" y="38"/>
                  </a:cubicBezTo>
                  <a:cubicBezTo>
                    <a:pt x="116" y="28"/>
                    <a:pt x="126" y="18"/>
                    <a:pt x="135" y="9"/>
                  </a:cubicBezTo>
                  <a:cubicBezTo>
                    <a:pt x="141" y="3"/>
                    <a:pt x="147" y="0"/>
                    <a:pt x="152" y="7"/>
                  </a:cubicBezTo>
                  <a:cubicBezTo>
                    <a:pt x="154" y="10"/>
                    <a:pt x="153" y="19"/>
                    <a:pt x="150" y="22"/>
                  </a:cubicBezTo>
                  <a:cubicBezTo>
                    <a:pt x="118" y="55"/>
                    <a:pt x="86" y="87"/>
                    <a:pt x="53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05C2F486-9242-0560-54FE-7E4FFC33C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0538" y="5346700"/>
              <a:ext cx="307975" cy="249237"/>
            </a:xfrm>
            <a:custGeom>
              <a:avLst/>
              <a:gdLst>
                <a:gd name="T0" fmla="*/ 48 w 149"/>
                <a:gd name="T1" fmla="*/ 120 h 120"/>
                <a:gd name="T2" fmla="*/ 2 w 149"/>
                <a:gd name="T3" fmla="*/ 73 h 120"/>
                <a:gd name="T4" fmla="*/ 1 w 149"/>
                <a:gd name="T5" fmla="*/ 59 h 120"/>
                <a:gd name="T6" fmla="*/ 16 w 149"/>
                <a:gd name="T7" fmla="*/ 60 h 120"/>
                <a:gd name="T8" fmla="*/ 48 w 149"/>
                <a:gd name="T9" fmla="*/ 94 h 120"/>
                <a:gd name="T10" fmla="*/ 74 w 149"/>
                <a:gd name="T11" fmla="*/ 65 h 120"/>
                <a:gd name="T12" fmla="*/ 130 w 149"/>
                <a:gd name="T13" fmla="*/ 9 h 120"/>
                <a:gd name="T14" fmla="*/ 147 w 149"/>
                <a:gd name="T15" fmla="*/ 7 h 120"/>
                <a:gd name="T16" fmla="*/ 145 w 149"/>
                <a:gd name="T17" fmla="*/ 22 h 120"/>
                <a:gd name="T18" fmla="*/ 48 w 149"/>
                <a:gd name="T1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9" h="120">
                  <a:moveTo>
                    <a:pt x="48" y="120"/>
                  </a:moveTo>
                  <a:cubicBezTo>
                    <a:pt x="32" y="104"/>
                    <a:pt x="17" y="89"/>
                    <a:pt x="2" y="73"/>
                  </a:cubicBezTo>
                  <a:cubicBezTo>
                    <a:pt x="0" y="70"/>
                    <a:pt x="2" y="64"/>
                    <a:pt x="1" y="59"/>
                  </a:cubicBezTo>
                  <a:cubicBezTo>
                    <a:pt x="6" y="59"/>
                    <a:pt x="13" y="57"/>
                    <a:pt x="16" y="60"/>
                  </a:cubicBezTo>
                  <a:cubicBezTo>
                    <a:pt x="27" y="70"/>
                    <a:pt x="36" y="81"/>
                    <a:pt x="48" y="94"/>
                  </a:cubicBezTo>
                  <a:cubicBezTo>
                    <a:pt x="58" y="83"/>
                    <a:pt x="66" y="74"/>
                    <a:pt x="74" y="65"/>
                  </a:cubicBezTo>
                  <a:cubicBezTo>
                    <a:pt x="93" y="46"/>
                    <a:pt x="112" y="28"/>
                    <a:pt x="130" y="9"/>
                  </a:cubicBezTo>
                  <a:cubicBezTo>
                    <a:pt x="135" y="4"/>
                    <a:pt x="142" y="0"/>
                    <a:pt x="147" y="7"/>
                  </a:cubicBezTo>
                  <a:cubicBezTo>
                    <a:pt x="149" y="10"/>
                    <a:pt x="148" y="19"/>
                    <a:pt x="145" y="22"/>
                  </a:cubicBezTo>
                  <a:cubicBezTo>
                    <a:pt x="114" y="55"/>
                    <a:pt x="82" y="87"/>
                    <a:pt x="48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658959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8944B1D-5D6B-E76B-264E-F4C9AD756F5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944B1D-5D6B-E76B-264E-F4C9AD756F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CE22EFA-C1BF-0E88-3660-FE59FF0B7366}"/>
              </a:ext>
            </a:extLst>
          </p:cNvPr>
          <p:cNvSpPr>
            <a:spLocks noGrp="1"/>
          </p:cNvSpPr>
          <p:nvPr>
            <p:ph type="body" sz="quarter" idx="16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15" name="Slide Number Placeholder 13">
            <a:extLst>
              <a:ext uri="{FF2B5EF4-FFF2-40B4-BE49-F238E27FC236}">
                <a16:creationId xmlns:a16="http://schemas.microsoft.com/office/drawing/2014/main" id="{1631FEF4-4992-80CA-4293-7ED03ED9D85D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1488149" y="6228775"/>
            <a:ext cx="445704" cy="44570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CC7194-A4D0-457B-9D3E-53681723AFF7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2F5782C-5E0E-47EA-861C-88990A8D95D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50311" y="5486440"/>
            <a:ext cx="7872" cy="7872"/>
          </a:xfrm>
          <a:custGeom>
            <a:avLst/>
            <a:gdLst>
              <a:gd name="connsiteX0" fmla="*/ 0 w 9525"/>
              <a:gd name="connsiteY0" fmla="*/ 0 h 9525"/>
              <a:gd name="connsiteX1" fmla="*/ 17145 w 9525"/>
              <a:gd name="connsiteY1" fmla="*/ 18098 h 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9525" h="9525">
                <a:moveTo>
                  <a:pt x="0" y="0"/>
                </a:moveTo>
                <a:lnTo>
                  <a:pt x="17145" y="18098"/>
                </a:lnTo>
              </a:path>
            </a:pathLst>
          </a:custGeom>
          <a:ln w="23813" cap="flat">
            <a:solidFill>
              <a:schemeClr val="accent3"/>
            </a:solidFill>
            <a:prstDash val="solid"/>
            <a:round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787378C-B893-60D6-B259-8CAC53D2D94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426886" y="4016994"/>
            <a:ext cx="3314700" cy="330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000" kern="120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Tx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4476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6286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962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2451C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vid Willis, Principal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7B0FD72E-6632-563E-41AA-1B37CCDAB0A9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547841" y="4811521"/>
            <a:ext cx="3314700" cy="32918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Tx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4476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6286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962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2451C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hwillis@ecgmc.com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3672FA96-87D5-8B28-2401-514AB80C6708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547841" y="5451189"/>
            <a:ext cx="3314700" cy="32918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accent2"/>
              </a:buClr>
              <a:buFontTx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4476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6286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>
                  <a:lumMod val="75000"/>
                  <a:lumOff val="25000"/>
                </a:schemeClr>
              </a:buClr>
              <a:buSzPct val="80000"/>
              <a:buFont typeface="Courier New" panose="02070309020205020404" pitchFamily="49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962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2451CB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03-608-1756</a:t>
            </a:r>
          </a:p>
        </p:txBody>
      </p:sp>
      <p:grpSp>
        <p:nvGrpSpPr>
          <p:cNvPr id="34" name="Group 33" descr="Icon Phone">
            <a:extLst>
              <a:ext uri="{FF2B5EF4-FFF2-40B4-BE49-F238E27FC236}">
                <a16:creationId xmlns:a16="http://schemas.microsoft.com/office/drawing/2014/main" id="{4741F37A-DC4B-433C-40AC-508630ED768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4855571" y="5543926"/>
            <a:ext cx="297521" cy="297521"/>
            <a:chOff x="1334697" y="5606075"/>
            <a:chExt cx="360000" cy="360000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556C3E82-BF7E-C2E1-4949-C6A6CBFE9CDC}"/>
                </a:ext>
              </a:extLst>
            </p:cNvPr>
            <p:cNvSpPr/>
            <p:nvPr/>
          </p:nvSpPr>
          <p:spPr>
            <a:xfrm>
              <a:off x="1423220" y="5624464"/>
              <a:ext cx="257175" cy="257175"/>
            </a:xfrm>
            <a:custGeom>
              <a:avLst/>
              <a:gdLst>
                <a:gd name="connsiteX0" fmla="*/ 0 w 257175"/>
                <a:gd name="connsiteY0" fmla="*/ 163664 h 257175"/>
                <a:gd name="connsiteX1" fmla="*/ 163664 w 257175"/>
                <a:gd name="connsiteY1" fmla="*/ 0 h 257175"/>
                <a:gd name="connsiteX2" fmla="*/ 261323 w 257175"/>
                <a:gd name="connsiteY2" fmla="*/ 97659 h 257175"/>
                <a:gd name="connsiteX3" fmla="*/ 97659 w 257175"/>
                <a:gd name="connsiteY3" fmla="*/ 261323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75" h="257175">
                  <a:moveTo>
                    <a:pt x="0" y="163664"/>
                  </a:moveTo>
                  <a:lnTo>
                    <a:pt x="163664" y="0"/>
                  </a:lnTo>
                  <a:lnTo>
                    <a:pt x="261323" y="97659"/>
                  </a:lnTo>
                  <a:lnTo>
                    <a:pt x="97659" y="261323"/>
                  </a:lnTo>
                  <a:close/>
                </a:path>
              </a:pathLst>
            </a:custGeom>
            <a:noFill/>
            <a:ln w="23813" cap="flat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8040F9A-95B9-EA7D-A7CC-282C7EB3485C}"/>
                </a:ext>
              </a:extLst>
            </p:cNvPr>
            <p:cNvSpPr/>
            <p:nvPr/>
          </p:nvSpPr>
          <p:spPr>
            <a:xfrm>
              <a:off x="1491815" y="5800385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17145 w 9525"/>
                <a:gd name="connsiteY1" fmla="*/ 18098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17145" y="18098"/>
                  </a:lnTo>
                </a:path>
              </a:pathLst>
            </a:custGeom>
            <a:ln w="23813" cap="flat">
              <a:solidFill>
                <a:schemeClr val="accent3"/>
              </a:solidFill>
              <a:prstDash val="solid"/>
              <a:round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A0C851B-AFFA-5C3C-B627-5E9AE7789109}"/>
                </a:ext>
              </a:extLst>
            </p:cNvPr>
            <p:cNvSpPr/>
            <p:nvPr/>
          </p:nvSpPr>
          <p:spPr>
            <a:xfrm>
              <a:off x="1334697" y="5606075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185104 w 360000"/>
                <a:gd name="connsiteY1" fmla="*/ 0 h 360000"/>
                <a:gd name="connsiteX2" fmla="*/ 185104 w 360000"/>
                <a:gd name="connsiteY2" fmla="*/ 172694 h 360000"/>
                <a:gd name="connsiteX3" fmla="*/ 360000 w 360000"/>
                <a:gd name="connsiteY3" fmla="*/ 172694 h 360000"/>
                <a:gd name="connsiteX4" fmla="*/ 360000 w 360000"/>
                <a:gd name="connsiteY4" fmla="*/ 360000 h 360000"/>
                <a:gd name="connsiteX5" fmla="*/ 0 w 360000"/>
                <a:gd name="connsiteY5" fmla="*/ 360000 h 360000"/>
                <a:gd name="connsiteX0" fmla="*/ 185104 w 360000"/>
                <a:gd name="connsiteY0" fmla="*/ 172694 h 360000"/>
                <a:gd name="connsiteX1" fmla="*/ 360000 w 360000"/>
                <a:gd name="connsiteY1" fmla="*/ 172694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  <a:gd name="connsiteX4" fmla="*/ 0 w 360000"/>
                <a:gd name="connsiteY4" fmla="*/ 0 h 360000"/>
                <a:gd name="connsiteX5" fmla="*/ 185104 w 360000"/>
                <a:gd name="connsiteY5" fmla="*/ 0 h 360000"/>
                <a:gd name="connsiteX6" fmla="*/ 276544 w 360000"/>
                <a:gd name="connsiteY6" fmla="*/ 264134 h 360000"/>
                <a:gd name="connsiteX0" fmla="*/ 185104 w 360000"/>
                <a:gd name="connsiteY0" fmla="*/ 172694 h 360000"/>
                <a:gd name="connsiteX1" fmla="*/ 360000 w 360000"/>
                <a:gd name="connsiteY1" fmla="*/ 172694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  <a:gd name="connsiteX4" fmla="*/ 0 w 360000"/>
                <a:gd name="connsiteY4" fmla="*/ 0 h 360000"/>
                <a:gd name="connsiteX5" fmla="*/ 185104 w 360000"/>
                <a:gd name="connsiteY5" fmla="*/ 0 h 360000"/>
                <a:gd name="connsiteX0" fmla="*/ 360000 w 360000"/>
                <a:gd name="connsiteY0" fmla="*/ 172694 h 360000"/>
                <a:gd name="connsiteX1" fmla="*/ 360000 w 360000"/>
                <a:gd name="connsiteY1" fmla="*/ 360000 h 360000"/>
                <a:gd name="connsiteX2" fmla="*/ 0 w 360000"/>
                <a:gd name="connsiteY2" fmla="*/ 360000 h 360000"/>
                <a:gd name="connsiteX3" fmla="*/ 0 w 360000"/>
                <a:gd name="connsiteY3" fmla="*/ 0 h 360000"/>
                <a:gd name="connsiteX4" fmla="*/ 185104 w 360000"/>
                <a:gd name="connsiteY4" fmla="*/ 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000" h="360000">
                  <a:moveTo>
                    <a:pt x="360000" y="172694"/>
                  </a:moveTo>
                  <a:lnTo>
                    <a:pt x="360000" y="360000"/>
                  </a:lnTo>
                  <a:lnTo>
                    <a:pt x="0" y="360000"/>
                  </a:lnTo>
                  <a:lnTo>
                    <a:pt x="0" y="0"/>
                  </a:lnTo>
                  <a:lnTo>
                    <a:pt x="185104" y="0"/>
                  </a:lnTo>
                </a:path>
              </a:pathLst>
            </a:custGeom>
            <a:noFill/>
            <a:ln w="952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Group 37" descr="Icon Email">
            <a:extLst>
              <a:ext uri="{FF2B5EF4-FFF2-40B4-BE49-F238E27FC236}">
                <a16:creationId xmlns:a16="http://schemas.microsoft.com/office/drawing/2014/main" id="{93E31C59-C716-9E25-5AAA-FA524E0E355E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4855571" y="4782554"/>
            <a:ext cx="297521" cy="297521"/>
            <a:chOff x="1334697" y="5102537"/>
            <a:chExt cx="360000" cy="36000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4669CC0-A921-1E62-3D72-3748889F8C40}"/>
                </a:ext>
              </a:extLst>
            </p:cNvPr>
            <p:cNvGrpSpPr/>
            <p:nvPr/>
          </p:nvGrpSpPr>
          <p:grpSpPr>
            <a:xfrm>
              <a:off x="1413695" y="5129259"/>
              <a:ext cx="257175" cy="257175"/>
              <a:chOff x="1423220" y="5138784"/>
              <a:chExt cx="257175" cy="257175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AC338083-D24B-EF87-A29D-BF767087F30F}"/>
                  </a:ext>
                </a:extLst>
              </p:cNvPr>
              <p:cNvSpPr/>
              <p:nvPr/>
            </p:nvSpPr>
            <p:spPr>
              <a:xfrm>
                <a:off x="1423220" y="5138784"/>
                <a:ext cx="257175" cy="257175"/>
              </a:xfrm>
              <a:custGeom>
                <a:avLst/>
                <a:gdLst>
                  <a:gd name="connsiteX0" fmla="*/ 0 w 257175"/>
                  <a:gd name="connsiteY0" fmla="*/ 163664 h 257175"/>
                  <a:gd name="connsiteX1" fmla="*/ 163664 w 257175"/>
                  <a:gd name="connsiteY1" fmla="*/ 0 h 257175"/>
                  <a:gd name="connsiteX2" fmla="*/ 261323 w 257175"/>
                  <a:gd name="connsiteY2" fmla="*/ 97659 h 257175"/>
                  <a:gd name="connsiteX3" fmla="*/ 97659 w 257175"/>
                  <a:gd name="connsiteY3" fmla="*/ 26132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7175" h="257175">
                    <a:moveTo>
                      <a:pt x="0" y="163664"/>
                    </a:moveTo>
                    <a:lnTo>
                      <a:pt x="163664" y="0"/>
                    </a:lnTo>
                    <a:lnTo>
                      <a:pt x="261323" y="97659"/>
                    </a:lnTo>
                    <a:lnTo>
                      <a:pt x="97659" y="261323"/>
                    </a:lnTo>
                    <a:close/>
                  </a:path>
                </a:pathLst>
              </a:custGeom>
              <a:noFill/>
              <a:ln w="23813" cap="flat">
                <a:solidFill>
                  <a:schemeClr val="accent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149B0C96-B4F8-F80F-FF29-CBD95BCE837D}"/>
                  </a:ext>
                </a:extLst>
              </p:cNvPr>
              <p:cNvSpPr/>
              <p:nvPr/>
            </p:nvSpPr>
            <p:spPr>
              <a:xfrm>
                <a:off x="1427045" y="5144212"/>
                <a:ext cx="161925" cy="161925"/>
              </a:xfrm>
              <a:custGeom>
                <a:avLst/>
                <a:gdLst>
                  <a:gd name="connsiteX0" fmla="*/ 0 w 161925"/>
                  <a:gd name="connsiteY0" fmla="*/ 162878 h 161925"/>
                  <a:gd name="connsiteX1" fmla="*/ 141923 w 161925"/>
                  <a:gd name="connsiteY1" fmla="*/ 135255 h 161925"/>
                  <a:gd name="connsiteX2" fmla="*/ 162878 w 161925"/>
                  <a:gd name="connsiteY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61925" h="161925">
                    <a:moveTo>
                      <a:pt x="0" y="162878"/>
                    </a:moveTo>
                    <a:lnTo>
                      <a:pt x="141923" y="135255"/>
                    </a:lnTo>
                    <a:lnTo>
                      <a:pt x="162878" y="0"/>
                    </a:lnTo>
                  </a:path>
                </a:pathLst>
              </a:custGeom>
              <a:noFill/>
              <a:ln w="23813" cap="flat">
                <a:solidFill>
                  <a:schemeClr val="accent3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31E66AC-591B-0C36-7D75-BEDC2AD75B03}"/>
                </a:ext>
              </a:extLst>
            </p:cNvPr>
            <p:cNvSpPr/>
            <p:nvPr/>
          </p:nvSpPr>
          <p:spPr>
            <a:xfrm>
              <a:off x="1334697" y="5102537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185104 w 360000"/>
                <a:gd name="connsiteY1" fmla="*/ 0 h 360000"/>
                <a:gd name="connsiteX2" fmla="*/ 185104 w 360000"/>
                <a:gd name="connsiteY2" fmla="*/ 172694 h 360000"/>
                <a:gd name="connsiteX3" fmla="*/ 360000 w 360000"/>
                <a:gd name="connsiteY3" fmla="*/ 172694 h 360000"/>
                <a:gd name="connsiteX4" fmla="*/ 360000 w 360000"/>
                <a:gd name="connsiteY4" fmla="*/ 360000 h 360000"/>
                <a:gd name="connsiteX5" fmla="*/ 0 w 360000"/>
                <a:gd name="connsiteY5" fmla="*/ 360000 h 360000"/>
                <a:gd name="connsiteX0" fmla="*/ 185104 w 360000"/>
                <a:gd name="connsiteY0" fmla="*/ 172694 h 360000"/>
                <a:gd name="connsiteX1" fmla="*/ 360000 w 360000"/>
                <a:gd name="connsiteY1" fmla="*/ 172694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  <a:gd name="connsiteX4" fmla="*/ 0 w 360000"/>
                <a:gd name="connsiteY4" fmla="*/ 0 h 360000"/>
                <a:gd name="connsiteX5" fmla="*/ 185104 w 360000"/>
                <a:gd name="connsiteY5" fmla="*/ 0 h 360000"/>
                <a:gd name="connsiteX6" fmla="*/ 276544 w 360000"/>
                <a:gd name="connsiteY6" fmla="*/ 264134 h 360000"/>
                <a:gd name="connsiteX0" fmla="*/ 185104 w 360000"/>
                <a:gd name="connsiteY0" fmla="*/ 172694 h 360000"/>
                <a:gd name="connsiteX1" fmla="*/ 360000 w 360000"/>
                <a:gd name="connsiteY1" fmla="*/ 172694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  <a:gd name="connsiteX4" fmla="*/ 0 w 360000"/>
                <a:gd name="connsiteY4" fmla="*/ 0 h 360000"/>
                <a:gd name="connsiteX5" fmla="*/ 185104 w 360000"/>
                <a:gd name="connsiteY5" fmla="*/ 0 h 360000"/>
                <a:gd name="connsiteX0" fmla="*/ 360000 w 360000"/>
                <a:gd name="connsiteY0" fmla="*/ 172694 h 360000"/>
                <a:gd name="connsiteX1" fmla="*/ 360000 w 360000"/>
                <a:gd name="connsiteY1" fmla="*/ 360000 h 360000"/>
                <a:gd name="connsiteX2" fmla="*/ 0 w 360000"/>
                <a:gd name="connsiteY2" fmla="*/ 360000 h 360000"/>
                <a:gd name="connsiteX3" fmla="*/ 0 w 360000"/>
                <a:gd name="connsiteY3" fmla="*/ 0 h 360000"/>
                <a:gd name="connsiteX4" fmla="*/ 185104 w 360000"/>
                <a:gd name="connsiteY4" fmla="*/ 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000" h="360000">
                  <a:moveTo>
                    <a:pt x="360000" y="172694"/>
                  </a:moveTo>
                  <a:lnTo>
                    <a:pt x="360000" y="360000"/>
                  </a:lnTo>
                  <a:lnTo>
                    <a:pt x="0" y="360000"/>
                  </a:lnTo>
                  <a:lnTo>
                    <a:pt x="0" y="0"/>
                  </a:lnTo>
                  <a:lnTo>
                    <a:pt x="185104" y="0"/>
                  </a:lnTo>
                </a:path>
              </a:pathLst>
            </a:custGeom>
            <a:noFill/>
            <a:ln w="952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3" name="Group 42" descr="Icon Person">
            <a:extLst>
              <a:ext uri="{FF2B5EF4-FFF2-40B4-BE49-F238E27FC236}">
                <a16:creationId xmlns:a16="http://schemas.microsoft.com/office/drawing/2014/main" id="{1BFCC175-ABFA-EDAD-07C9-9EEBF37BBA21}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4855571" y="4059543"/>
            <a:ext cx="297521" cy="297521"/>
            <a:chOff x="1334697" y="4580661"/>
            <a:chExt cx="360000" cy="360000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069244BF-9CCA-892B-EBB0-BBF6DA1452AF}"/>
                </a:ext>
              </a:extLst>
            </p:cNvPr>
            <p:cNvGrpSpPr/>
            <p:nvPr/>
          </p:nvGrpSpPr>
          <p:grpSpPr>
            <a:xfrm>
              <a:off x="1421012" y="4633770"/>
              <a:ext cx="180975" cy="231458"/>
              <a:chOff x="1443237" y="4633770"/>
              <a:chExt cx="180975" cy="231458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F808FC01-EE0E-DC55-06FB-86623585BD2D}"/>
                  </a:ext>
                </a:extLst>
              </p:cNvPr>
              <p:cNvSpPr/>
              <p:nvPr/>
            </p:nvSpPr>
            <p:spPr>
              <a:xfrm>
                <a:off x="1478479" y="4633770"/>
                <a:ext cx="114300" cy="114300"/>
              </a:xfrm>
              <a:custGeom>
                <a:avLst/>
                <a:gdLst>
                  <a:gd name="connsiteX0" fmla="*/ 118110 w 114300"/>
                  <a:gd name="connsiteY0" fmla="*/ 59055 h 114300"/>
                  <a:gd name="connsiteX1" fmla="*/ 59055 w 114300"/>
                  <a:gd name="connsiteY1" fmla="*/ 118110 h 114300"/>
                  <a:gd name="connsiteX2" fmla="*/ 0 w 114300"/>
                  <a:gd name="connsiteY2" fmla="*/ 59055 h 114300"/>
                  <a:gd name="connsiteX3" fmla="*/ 59055 w 114300"/>
                  <a:gd name="connsiteY3" fmla="*/ 0 h 114300"/>
                  <a:gd name="connsiteX4" fmla="*/ 118110 w 114300"/>
                  <a:gd name="connsiteY4" fmla="*/ 59055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4300" h="114300">
                    <a:moveTo>
                      <a:pt x="118110" y="59055"/>
                    </a:moveTo>
                    <a:cubicBezTo>
                      <a:pt x="118110" y="91440"/>
                      <a:pt x="91440" y="118110"/>
                      <a:pt x="59055" y="118110"/>
                    </a:cubicBezTo>
                    <a:cubicBezTo>
                      <a:pt x="26670" y="118110"/>
                      <a:pt x="0" y="91440"/>
                      <a:pt x="0" y="59055"/>
                    </a:cubicBezTo>
                    <a:cubicBezTo>
                      <a:pt x="0" y="26670"/>
                      <a:pt x="26670" y="0"/>
                      <a:pt x="59055" y="0"/>
                    </a:cubicBezTo>
                    <a:cubicBezTo>
                      <a:pt x="91440" y="0"/>
                      <a:pt x="118110" y="25718"/>
                      <a:pt x="118110" y="59055"/>
                    </a:cubicBezTo>
                    <a:close/>
                  </a:path>
                </a:pathLst>
              </a:custGeom>
              <a:noFill/>
              <a:ln w="23813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AF0C8BED-6630-0D1B-8CAE-9FE8535C996E}"/>
                  </a:ext>
                </a:extLst>
              </p:cNvPr>
              <p:cNvSpPr/>
              <p:nvPr/>
            </p:nvSpPr>
            <p:spPr>
              <a:xfrm>
                <a:off x="1443237" y="4798553"/>
                <a:ext cx="180975" cy="66675"/>
              </a:xfrm>
              <a:custGeom>
                <a:avLst/>
                <a:gdLst>
                  <a:gd name="connsiteX0" fmla="*/ 0 w 180975"/>
                  <a:gd name="connsiteY0" fmla="*/ 72390 h 66675"/>
                  <a:gd name="connsiteX1" fmla="*/ 94298 w 180975"/>
                  <a:gd name="connsiteY1" fmla="*/ 0 h 66675"/>
                  <a:gd name="connsiteX2" fmla="*/ 188595 w 180975"/>
                  <a:gd name="connsiteY2" fmla="*/ 7239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80975" h="66675">
                    <a:moveTo>
                      <a:pt x="0" y="72390"/>
                    </a:moveTo>
                    <a:cubicBezTo>
                      <a:pt x="0" y="20955"/>
                      <a:pt x="41910" y="0"/>
                      <a:pt x="94298" y="0"/>
                    </a:cubicBezTo>
                    <a:cubicBezTo>
                      <a:pt x="146685" y="0"/>
                      <a:pt x="188595" y="20955"/>
                      <a:pt x="188595" y="72390"/>
                    </a:cubicBezTo>
                  </a:path>
                </a:pathLst>
              </a:custGeom>
              <a:noFill/>
              <a:ln w="23813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172ACF7-AAB1-505F-DEAF-10E725EF2971}"/>
                </a:ext>
              </a:extLst>
            </p:cNvPr>
            <p:cNvSpPr/>
            <p:nvPr/>
          </p:nvSpPr>
          <p:spPr>
            <a:xfrm>
              <a:off x="1334697" y="4580661"/>
              <a:ext cx="360000" cy="360000"/>
            </a:xfrm>
            <a:custGeom>
              <a:avLst/>
              <a:gdLst>
                <a:gd name="connsiteX0" fmla="*/ 0 w 360000"/>
                <a:gd name="connsiteY0" fmla="*/ 0 h 360000"/>
                <a:gd name="connsiteX1" fmla="*/ 83322 w 360000"/>
                <a:gd name="connsiteY1" fmla="*/ 0 h 360000"/>
                <a:gd name="connsiteX2" fmla="*/ 83322 w 360000"/>
                <a:gd name="connsiteY2" fmla="*/ 68850 h 360000"/>
                <a:gd name="connsiteX3" fmla="*/ 276679 w 360000"/>
                <a:gd name="connsiteY3" fmla="*/ 68850 h 360000"/>
                <a:gd name="connsiteX4" fmla="*/ 276679 w 360000"/>
                <a:gd name="connsiteY4" fmla="*/ 0 h 360000"/>
                <a:gd name="connsiteX5" fmla="*/ 360000 w 360000"/>
                <a:gd name="connsiteY5" fmla="*/ 0 h 360000"/>
                <a:gd name="connsiteX6" fmla="*/ 360000 w 360000"/>
                <a:gd name="connsiteY6" fmla="*/ 360000 h 360000"/>
                <a:gd name="connsiteX7" fmla="*/ 0 w 360000"/>
                <a:gd name="connsiteY7" fmla="*/ 360000 h 360000"/>
                <a:gd name="connsiteX0" fmla="*/ 276679 w 368119"/>
                <a:gd name="connsiteY0" fmla="*/ 68850 h 360000"/>
                <a:gd name="connsiteX1" fmla="*/ 276679 w 368119"/>
                <a:gd name="connsiteY1" fmla="*/ 0 h 360000"/>
                <a:gd name="connsiteX2" fmla="*/ 360000 w 368119"/>
                <a:gd name="connsiteY2" fmla="*/ 0 h 360000"/>
                <a:gd name="connsiteX3" fmla="*/ 360000 w 368119"/>
                <a:gd name="connsiteY3" fmla="*/ 360000 h 360000"/>
                <a:gd name="connsiteX4" fmla="*/ 0 w 368119"/>
                <a:gd name="connsiteY4" fmla="*/ 360000 h 360000"/>
                <a:gd name="connsiteX5" fmla="*/ 0 w 368119"/>
                <a:gd name="connsiteY5" fmla="*/ 0 h 360000"/>
                <a:gd name="connsiteX6" fmla="*/ 83322 w 368119"/>
                <a:gd name="connsiteY6" fmla="*/ 0 h 360000"/>
                <a:gd name="connsiteX7" fmla="*/ 83322 w 368119"/>
                <a:gd name="connsiteY7" fmla="*/ 68850 h 360000"/>
                <a:gd name="connsiteX8" fmla="*/ 368119 w 368119"/>
                <a:gd name="connsiteY8" fmla="*/ 160290 h 360000"/>
                <a:gd name="connsiteX0" fmla="*/ 276679 w 360000"/>
                <a:gd name="connsiteY0" fmla="*/ 68850 h 360000"/>
                <a:gd name="connsiteX1" fmla="*/ 276679 w 360000"/>
                <a:gd name="connsiteY1" fmla="*/ 0 h 360000"/>
                <a:gd name="connsiteX2" fmla="*/ 360000 w 360000"/>
                <a:gd name="connsiteY2" fmla="*/ 0 h 360000"/>
                <a:gd name="connsiteX3" fmla="*/ 360000 w 360000"/>
                <a:gd name="connsiteY3" fmla="*/ 360000 h 360000"/>
                <a:gd name="connsiteX4" fmla="*/ 0 w 360000"/>
                <a:gd name="connsiteY4" fmla="*/ 360000 h 360000"/>
                <a:gd name="connsiteX5" fmla="*/ 0 w 360000"/>
                <a:gd name="connsiteY5" fmla="*/ 0 h 360000"/>
                <a:gd name="connsiteX6" fmla="*/ 83322 w 360000"/>
                <a:gd name="connsiteY6" fmla="*/ 0 h 360000"/>
                <a:gd name="connsiteX7" fmla="*/ 83322 w 360000"/>
                <a:gd name="connsiteY7" fmla="*/ 68850 h 360000"/>
                <a:gd name="connsiteX0" fmla="*/ 276679 w 360000"/>
                <a:gd name="connsiteY0" fmla="*/ 68850 h 360000"/>
                <a:gd name="connsiteX1" fmla="*/ 276679 w 360000"/>
                <a:gd name="connsiteY1" fmla="*/ 0 h 360000"/>
                <a:gd name="connsiteX2" fmla="*/ 360000 w 360000"/>
                <a:gd name="connsiteY2" fmla="*/ 0 h 360000"/>
                <a:gd name="connsiteX3" fmla="*/ 360000 w 360000"/>
                <a:gd name="connsiteY3" fmla="*/ 360000 h 360000"/>
                <a:gd name="connsiteX4" fmla="*/ 0 w 360000"/>
                <a:gd name="connsiteY4" fmla="*/ 360000 h 360000"/>
                <a:gd name="connsiteX5" fmla="*/ 0 w 360000"/>
                <a:gd name="connsiteY5" fmla="*/ 0 h 360000"/>
                <a:gd name="connsiteX6" fmla="*/ 83322 w 360000"/>
                <a:gd name="connsiteY6" fmla="*/ 0 h 360000"/>
                <a:gd name="connsiteX0" fmla="*/ 276679 w 360000"/>
                <a:gd name="connsiteY0" fmla="*/ 0 h 360000"/>
                <a:gd name="connsiteX1" fmla="*/ 360000 w 360000"/>
                <a:gd name="connsiteY1" fmla="*/ 0 h 360000"/>
                <a:gd name="connsiteX2" fmla="*/ 360000 w 360000"/>
                <a:gd name="connsiteY2" fmla="*/ 360000 h 360000"/>
                <a:gd name="connsiteX3" fmla="*/ 0 w 360000"/>
                <a:gd name="connsiteY3" fmla="*/ 360000 h 360000"/>
                <a:gd name="connsiteX4" fmla="*/ 0 w 360000"/>
                <a:gd name="connsiteY4" fmla="*/ 0 h 360000"/>
                <a:gd name="connsiteX5" fmla="*/ 83322 w 360000"/>
                <a:gd name="connsiteY5" fmla="*/ 0 h 3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60000" h="360000">
                  <a:moveTo>
                    <a:pt x="276679" y="0"/>
                  </a:moveTo>
                  <a:lnTo>
                    <a:pt x="360000" y="0"/>
                  </a:lnTo>
                  <a:lnTo>
                    <a:pt x="360000" y="360000"/>
                  </a:lnTo>
                  <a:lnTo>
                    <a:pt x="0" y="360000"/>
                  </a:lnTo>
                  <a:lnTo>
                    <a:pt x="0" y="0"/>
                  </a:lnTo>
                  <a:lnTo>
                    <a:pt x="83322" y="0"/>
                  </a:lnTo>
                </a:path>
              </a:pathLst>
            </a:custGeom>
            <a:noFill/>
            <a:ln w="952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C59274-07A6-1DDA-8DC5-7B20932F931D}"/>
              </a:ext>
            </a:extLst>
          </p:cNvPr>
          <p:cNvSpPr>
            <a:spLocks noGrp="1"/>
          </p:cNvSpPr>
          <p:nvPr>
            <p:ph type="ftr" sz="quarter" idx="10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0748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8E785BA-DE0F-C63B-D040-73585EC661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95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E785BA-DE0F-C63B-D040-73585EC66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4ECF96-6578-2419-3475-A38AF3A855E4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fld id="{EECC7194-A4D0-457B-9D3E-53681723AFF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012424-E760-06EF-FF53-BC812D811D24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1035698" y="1257300"/>
            <a:ext cx="10889602" cy="1899541"/>
          </a:xfrm>
        </p:spPr>
        <p:txBody>
          <a:bodyPr/>
          <a:lstStyle/>
          <a:p>
            <a:r>
              <a:rPr lang="en-US"/>
              <a:t>Today’s Real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608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8C58C93-AC33-C2D2-4739-603309601B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047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395" imgH="394" progId="TCLayout.ActiveDocument.1">
                  <p:embed/>
                </p:oleObj>
              </mc:Choice>
              <mc:Fallback>
                <p:oleObj name="think-cell Slide" r:id="rId4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8C58C93-AC33-C2D2-4739-603309601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8D4DFD-9F5A-7C32-10CB-78C02B136D2C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4</a:t>
            </a:fld>
            <a:endParaRPr lang="en-US" noProof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D2DB698-D350-5BCD-4FE1-0439DD847E4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/>
          <a:lstStyle/>
          <a:p>
            <a:r>
              <a:rPr lang="en-US"/>
              <a:t>Industry financial pressures have abated somewhat—a reprieve that likely is only temporary.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3A952BE2-9F1A-9B37-45FA-B86677FCA70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022659" y="6234743"/>
            <a:ext cx="41440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736" marR="0" lvl="0" indent="-173736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	Kaufman Hall August 2024 </a:t>
            </a: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National Hospital Flash Report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173736" indent="-173736">
              <a:defRPr/>
            </a:pPr>
            <a:r>
              <a:rPr kumimoji="0" lang="en-US" sz="1100" b="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	CMS 2023–2032 National Health Expenditure projections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328CC78-0578-E50A-F959-EF21F6E495F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04764" y="3837303"/>
            <a:ext cx="3750151" cy="4572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</a:t>
            </a:r>
            <a:r>
              <a:rPr lang="en-US" sz="2800" b="1">
                <a:solidFill>
                  <a:schemeClr val="accent1"/>
                </a:solidFill>
                <a:latin typeface="Calibri"/>
              </a:rPr>
              <a:t>36</a:t>
            </a: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of hospitals, despite improved performance, have negative margins.</a:t>
            </a:r>
            <a:r>
              <a:rPr kumimoji="0" lang="en-US" sz="2400" b="0" i="0" u="none" strike="noStrike" kern="1200" cap="none" spc="0" normalizeH="0" baseline="3000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8CFDE0D-5761-2785-064B-4ADF2CCE97B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404765" y="5108161"/>
            <a:ext cx="3598946" cy="4572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 2%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ear-over-year decline in operating margin nationally.</a:t>
            </a:r>
            <a:r>
              <a:rPr kumimoji="0" lang="en-US" sz="2400" b="0" i="0" u="none" strike="noStrike" kern="1200" cap="none" spc="0" normalizeH="0" baseline="3000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43D53AC3-D2AA-3231-5CB8-47C9A276DA9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323155" y="3422624"/>
            <a:ext cx="3683630" cy="4572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chemeClr val="accent1">
                  <a:lumMod val="50000"/>
                  <a:lumOff val="50000"/>
                </a:schemeClr>
              </a:buClr>
              <a:buSzPct val="120000"/>
              <a:buFont typeface="Wingdings 3" panose="05040102010807070707" pitchFamily="18" charset="2"/>
              <a:buChar char="1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Labor and wage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0AE5E1D3-C9C9-0FA3-1B9D-22C97E39F5E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323155" y="3977386"/>
            <a:ext cx="3683630" cy="4572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  <a:lumOff val="50000"/>
                </a:schemeClr>
              </a:buClr>
              <a:buSzPct val="120000"/>
              <a:buFont typeface="Wingdings 3" panose="05040102010807070707" pitchFamily="18" charset="2"/>
              <a:buChar char="1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ly chain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4243A6F4-8BE5-A1B6-8216-7D1E8158171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323155" y="4532148"/>
            <a:ext cx="3683630" cy="4572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  <a:lumOff val="50000"/>
                </a:schemeClr>
              </a:buClr>
              <a:buSzTx/>
              <a:buFont typeface="Wingdings 3" panose="05040102010807070707" pitchFamily="18" charset="2"/>
              <a:buChar char="£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mbulatory demand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EC512811-7FE1-353A-E9C6-C03BE6D2C755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323155" y="5086910"/>
            <a:ext cx="3683630" cy="4572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  <a:lumOff val="50000"/>
                </a:schemeClr>
              </a:buClr>
              <a:buSzTx/>
              <a:buFont typeface="Wingdings 3" panose="05040102010807070707" pitchFamily="18" charset="2"/>
              <a:buChar char="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enues/paymen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37F6B50-FAF7-D7D0-1A7E-80956893E6AC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23155" y="5641670"/>
            <a:ext cx="3683630" cy="4572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>
                  <a:lumMod val="50000"/>
                  <a:lumOff val="50000"/>
                </a:schemeClr>
              </a:buClr>
              <a:buSzPct val="100000"/>
              <a:buFont typeface="Wingdings 3" panose="05040102010807070707" pitchFamily="18" charset="2"/>
              <a:buChar char=""/>
              <a:tabLst/>
              <a:defRPr/>
            </a:pPr>
            <a:r>
              <a:rPr kumimoji="0" lang="en-US" sz="2400" i="0" u="none" strike="noStrike" kern="1200" normalizeH="0" baseline="0" noProof="0">
                <a:solidFill>
                  <a:schemeClr val="tx1"/>
                </a:solidFill>
                <a:uLnTx/>
                <a:uFillTx/>
                <a:latin typeface="Calibri"/>
                <a:ea typeface="+mn-ea"/>
                <a:cs typeface="+mn-cs"/>
              </a:rPr>
              <a:t>Inpatient demand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ED6CCA7-D333-7747-64BE-34EA06B5143F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8260309" y="3422624"/>
            <a:ext cx="3673544" cy="116597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Reduce reimbursement; HITF could only fund </a:t>
            </a:r>
            <a:r>
              <a:rPr lang="en-US" sz="3200" b="1">
                <a:solidFill>
                  <a:schemeClr val="accent3"/>
                </a:solidFill>
                <a:latin typeface="Calibri"/>
              </a:rPr>
              <a:t>89</a:t>
            </a: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 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of today’s costs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4A4BC89-0450-F9A2-74DF-BA2BC05A243C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260309" y="4607276"/>
            <a:ext cx="3673544" cy="6318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tend eligibility age.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66C9C290-F718-4EA2-3374-A4B9C7988913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282615" y="1544048"/>
            <a:ext cx="3797099" cy="17660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tIns="91440" rtlCol="0" anchor="t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ile financial pressures have eased post-pandemic, many US health systems still face challenges in achieving strong financial performance.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F3E1AF6-808C-C9CF-E8EA-B645A97B73EB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4209685" y="1544048"/>
            <a:ext cx="3797099" cy="17660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tIns="91440" rtlCol="0" anchor="t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pite areas of improvement, Moody’s, Fitch, and S&amp;P all cite continuing pressures and challenges ahead for healthcare.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8705525-963C-D479-7C94-88012B4C731E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8136754" y="1544048"/>
            <a:ext cx="3797099" cy="17660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tIns="91440" rtlCol="0" anchor="t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accent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 2032, healthcare spending is projected to reach 20% of GDP, and the HITF</a:t>
            </a:r>
            <a:r>
              <a:rPr kumimoji="0" lang="en-US" b="0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ay face insolvency. CMS options include the following: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5EC481DC-95D7-769D-8F4A-488088E58575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4212786" y="3377245"/>
            <a:ext cx="0" cy="27432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>
            <a:extLst>
              <a:ext uri="{FF2B5EF4-FFF2-40B4-BE49-F238E27FC236}">
                <a16:creationId xmlns:a16="http://schemas.microsoft.com/office/drawing/2014/main" id="{A8C844A6-B3BD-6878-F120-236627644307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4167066" y="3588575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82638356-9C01-2A80-E784-2BF203A23432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4167066" y="4143337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1287E405-FB4D-F9A2-E2E7-43D5C1443D5E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4167066" y="4698099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BB23D969-664E-DE92-D516-01264A2142EA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4167066" y="5252861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82475D00-3984-4A8F-11DF-C24AC7AA2F70}"/>
              </a:ext>
            </a:extLst>
          </p:cNvPr>
          <p:cNvSpPr/>
          <p:nvPr>
            <p:custDataLst>
              <p:tags r:id="rId23"/>
            </p:custDataLst>
          </p:nvPr>
        </p:nvSpPr>
        <p:spPr>
          <a:xfrm>
            <a:off x="4167066" y="5815978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2EA2CC21-E80F-84B9-9BEF-E073E03CF8EA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8136936" y="3377245"/>
            <a:ext cx="0" cy="27432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Oval 80">
            <a:extLst>
              <a:ext uri="{FF2B5EF4-FFF2-40B4-BE49-F238E27FC236}">
                <a16:creationId xmlns:a16="http://schemas.microsoft.com/office/drawing/2014/main" id="{B58DE9FB-191E-DDAB-C654-0CF4432D02D5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8091216" y="3540450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BA58A481-62C1-7144-ECAA-4996938D7F13}"/>
              </a:ext>
            </a:extLst>
          </p:cNvPr>
          <p:cNvSpPr/>
          <p:nvPr>
            <p:custDataLst>
              <p:tags r:id="rId26"/>
            </p:custDataLst>
          </p:nvPr>
        </p:nvSpPr>
        <p:spPr>
          <a:xfrm>
            <a:off x="8091216" y="4885935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0604EF59-639D-EBAA-8B15-10B3A0486318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281392" y="3377245"/>
            <a:ext cx="0" cy="274320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CDEDE41-6F54-C99D-790E-BDE72932A4E7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6190212" y="1550585"/>
            <a:ext cx="1878881" cy="1759501"/>
            <a:chOff x="-2067601" y="3572455"/>
            <a:chExt cx="1355477" cy="1269353"/>
          </a:xfrm>
          <a:solidFill>
            <a:srgbClr val="FFFFFF">
              <a:alpha val="20000"/>
            </a:srgbClr>
          </a:solidFill>
        </p:grpSpPr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459C12B-35D6-5235-73AD-0328D0ADCC0A}"/>
                </a:ext>
              </a:extLst>
            </p:cNvPr>
            <p:cNvSpPr/>
            <p:nvPr/>
          </p:nvSpPr>
          <p:spPr>
            <a:xfrm>
              <a:off x="-1972150" y="3572455"/>
              <a:ext cx="1260026" cy="1269353"/>
            </a:xfrm>
            <a:custGeom>
              <a:avLst/>
              <a:gdLst>
                <a:gd name="connsiteX0" fmla="*/ 628758 w 1260026"/>
                <a:gd name="connsiteY0" fmla="*/ 1269116 h 1269353"/>
                <a:gd name="connsiteX1" fmla="*/ 56592 w 1260026"/>
                <a:gd name="connsiteY1" fmla="*/ 1269211 h 1269353"/>
                <a:gd name="connsiteX2" fmla="*/ 10681 w 1260026"/>
                <a:gd name="connsiteY2" fmla="*/ 1248161 h 1269353"/>
                <a:gd name="connsiteX3" fmla="*/ 5157 w 1260026"/>
                <a:gd name="connsiteY3" fmla="*/ 1195297 h 1269353"/>
                <a:gd name="connsiteX4" fmla="*/ 37732 w 1260026"/>
                <a:gd name="connsiteY4" fmla="*/ 1128622 h 1269353"/>
                <a:gd name="connsiteX5" fmla="*/ 82214 w 1260026"/>
                <a:gd name="connsiteY5" fmla="*/ 1098238 h 1269353"/>
                <a:gd name="connsiteX6" fmla="*/ 150889 w 1260026"/>
                <a:gd name="connsiteY6" fmla="*/ 1078997 h 1269353"/>
                <a:gd name="connsiteX7" fmla="*/ 212706 w 1260026"/>
                <a:gd name="connsiteY7" fmla="*/ 1062138 h 1269353"/>
                <a:gd name="connsiteX8" fmla="*/ 277381 w 1260026"/>
                <a:gd name="connsiteY8" fmla="*/ 1043945 h 1269353"/>
                <a:gd name="connsiteX9" fmla="*/ 300432 w 1260026"/>
                <a:gd name="connsiteY9" fmla="*/ 1038039 h 1269353"/>
                <a:gd name="connsiteX10" fmla="*/ 345866 w 1260026"/>
                <a:gd name="connsiteY10" fmla="*/ 1000892 h 1269353"/>
                <a:gd name="connsiteX11" fmla="*/ 418923 w 1260026"/>
                <a:gd name="connsiteY11" fmla="*/ 908309 h 1269353"/>
                <a:gd name="connsiteX12" fmla="*/ 455499 w 1260026"/>
                <a:gd name="connsiteY12" fmla="*/ 886306 h 1269353"/>
                <a:gd name="connsiteX13" fmla="*/ 511887 w 1260026"/>
                <a:gd name="connsiteY13" fmla="*/ 869352 h 1269353"/>
                <a:gd name="connsiteX14" fmla="*/ 569989 w 1260026"/>
                <a:gd name="connsiteY14" fmla="*/ 851064 h 1269353"/>
                <a:gd name="connsiteX15" fmla="*/ 626282 w 1260026"/>
                <a:gd name="connsiteY15" fmla="*/ 833728 h 1269353"/>
                <a:gd name="connsiteX16" fmla="*/ 681336 w 1260026"/>
                <a:gd name="connsiteY16" fmla="*/ 811535 h 1269353"/>
                <a:gd name="connsiteX17" fmla="*/ 709626 w 1260026"/>
                <a:gd name="connsiteY17" fmla="*/ 777626 h 1269353"/>
                <a:gd name="connsiteX18" fmla="*/ 799065 w 1260026"/>
                <a:gd name="connsiteY18" fmla="*/ 654753 h 1269353"/>
                <a:gd name="connsiteX19" fmla="*/ 867550 w 1260026"/>
                <a:gd name="connsiteY19" fmla="*/ 561408 h 1269353"/>
                <a:gd name="connsiteX20" fmla="*/ 875551 w 1260026"/>
                <a:gd name="connsiteY20" fmla="*/ 535977 h 1269353"/>
                <a:gd name="connsiteX21" fmla="*/ 875551 w 1260026"/>
                <a:gd name="connsiteY21" fmla="*/ 282612 h 1269353"/>
                <a:gd name="connsiteX22" fmla="*/ 857930 w 1260026"/>
                <a:gd name="connsiteY22" fmla="*/ 265371 h 1269353"/>
                <a:gd name="connsiteX23" fmla="*/ 690766 w 1260026"/>
                <a:gd name="connsiteY23" fmla="*/ 265371 h 1269353"/>
                <a:gd name="connsiteX24" fmla="*/ 676288 w 1260026"/>
                <a:gd name="connsiteY24" fmla="*/ 264419 h 1269353"/>
                <a:gd name="connsiteX25" fmla="*/ 652952 w 1260026"/>
                <a:gd name="connsiteY25" fmla="*/ 238511 h 1269353"/>
                <a:gd name="connsiteX26" fmla="*/ 652952 w 1260026"/>
                <a:gd name="connsiteY26" fmla="*/ 76491 h 1269353"/>
                <a:gd name="connsiteX27" fmla="*/ 682956 w 1260026"/>
                <a:gd name="connsiteY27" fmla="*/ 49058 h 1269353"/>
                <a:gd name="connsiteX28" fmla="*/ 861549 w 1260026"/>
                <a:gd name="connsiteY28" fmla="*/ 49249 h 1269353"/>
                <a:gd name="connsiteX29" fmla="*/ 874789 w 1260026"/>
                <a:gd name="connsiteY29" fmla="*/ 35724 h 1269353"/>
                <a:gd name="connsiteX30" fmla="*/ 890886 w 1260026"/>
                <a:gd name="connsiteY30" fmla="*/ 4577 h 1269353"/>
                <a:gd name="connsiteX31" fmla="*/ 937749 w 1260026"/>
                <a:gd name="connsiteY31" fmla="*/ 29913 h 1269353"/>
                <a:gd name="connsiteX32" fmla="*/ 938035 w 1260026"/>
                <a:gd name="connsiteY32" fmla="*/ 41343 h 1269353"/>
                <a:gd name="connsiteX33" fmla="*/ 937940 w 1260026"/>
                <a:gd name="connsiteY33" fmla="*/ 536739 h 1269353"/>
                <a:gd name="connsiteX34" fmla="*/ 946227 w 1260026"/>
                <a:gd name="connsiteY34" fmla="*/ 559884 h 1269353"/>
                <a:gd name="connsiteX35" fmla="*/ 988232 w 1260026"/>
                <a:gd name="connsiteY35" fmla="*/ 621225 h 1269353"/>
                <a:gd name="connsiteX36" fmla="*/ 1064718 w 1260026"/>
                <a:gd name="connsiteY36" fmla="*/ 736573 h 1269353"/>
                <a:gd name="connsiteX37" fmla="*/ 1143394 w 1260026"/>
                <a:gd name="connsiteY37" fmla="*/ 856683 h 1269353"/>
                <a:gd name="connsiteX38" fmla="*/ 1159682 w 1260026"/>
                <a:gd name="connsiteY38" fmla="*/ 901260 h 1269353"/>
                <a:gd name="connsiteX39" fmla="*/ 1186447 w 1260026"/>
                <a:gd name="connsiteY39" fmla="*/ 982699 h 1269353"/>
                <a:gd name="connsiteX40" fmla="*/ 1203497 w 1260026"/>
                <a:gd name="connsiteY40" fmla="*/ 1036896 h 1269353"/>
                <a:gd name="connsiteX41" fmla="*/ 1221594 w 1260026"/>
                <a:gd name="connsiteY41" fmla="*/ 1090713 h 1269353"/>
                <a:gd name="connsiteX42" fmla="*/ 1238454 w 1260026"/>
                <a:gd name="connsiteY42" fmla="*/ 1142814 h 1269353"/>
                <a:gd name="connsiteX43" fmla="*/ 1255980 w 1260026"/>
                <a:gd name="connsiteY43" fmla="*/ 1196821 h 1269353"/>
                <a:gd name="connsiteX44" fmla="*/ 1209498 w 1260026"/>
                <a:gd name="connsiteY44" fmla="*/ 1269116 h 1269353"/>
                <a:gd name="connsiteX45" fmla="*/ 1180447 w 1260026"/>
                <a:gd name="connsiteY45" fmla="*/ 1269306 h 1269353"/>
                <a:gd name="connsiteX46" fmla="*/ 629044 w 1260026"/>
                <a:gd name="connsiteY46" fmla="*/ 1269306 h 1269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260026" h="1269353">
                  <a:moveTo>
                    <a:pt x="628758" y="1269116"/>
                  </a:moveTo>
                  <a:cubicBezTo>
                    <a:pt x="438068" y="1269116"/>
                    <a:pt x="247282" y="1269116"/>
                    <a:pt x="56592" y="1269211"/>
                  </a:cubicBezTo>
                  <a:cubicBezTo>
                    <a:pt x="37637" y="1269211"/>
                    <a:pt x="22206" y="1263496"/>
                    <a:pt x="10681" y="1248161"/>
                  </a:cubicBezTo>
                  <a:cubicBezTo>
                    <a:pt x="-1797" y="1231683"/>
                    <a:pt x="-2940" y="1213395"/>
                    <a:pt x="5157" y="1195297"/>
                  </a:cubicBezTo>
                  <a:cubicBezTo>
                    <a:pt x="15158" y="1172723"/>
                    <a:pt x="26874" y="1150815"/>
                    <a:pt x="37732" y="1128622"/>
                  </a:cubicBezTo>
                  <a:cubicBezTo>
                    <a:pt x="46781" y="1110048"/>
                    <a:pt x="63926" y="1103381"/>
                    <a:pt x="82214" y="1098238"/>
                  </a:cubicBezTo>
                  <a:cubicBezTo>
                    <a:pt x="105169" y="1091951"/>
                    <a:pt x="128029" y="1085379"/>
                    <a:pt x="150889" y="1078997"/>
                  </a:cubicBezTo>
                  <a:cubicBezTo>
                    <a:pt x="171463" y="1073282"/>
                    <a:pt x="192132" y="1067853"/>
                    <a:pt x="212706" y="1062138"/>
                  </a:cubicBezTo>
                  <a:cubicBezTo>
                    <a:pt x="234328" y="1056137"/>
                    <a:pt x="255759" y="1049946"/>
                    <a:pt x="277381" y="1043945"/>
                  </a:cubicBezTo>
                  <a:cubicBezTo>
                    <a:pt x="285001" y="1041849"/>
                    <a:pt x="292716" y="1039849"/>
                    <a:pt x="300432" y="1038039"/>
                  </a:cubicBezTo>
                  <a:cubicBezTo>
                    <a:pt x="321672" y="1033086"/>
                    <a:pt x="333388" y="1016417"/>
                    <a:pt x="345866" y="1000892"/>
                  </a:cubicBezTo>
                  <a:cubicBezTo>
                    <a:pt x="370345" y="970126"/>
                    <a:pt x="394729" y="939265"/>
                    <a:pt x="418923" y="908309"/>
                  </a:cubicBezTo>
                  <a:cubicBezTo>
                    <a:pt x="428352" y="896212"/>
                    <a:pt x="441592" y="890688"/>
                    <a:pt x="455499" y="886306"/>
                  </a:cubicBezTo>
                  <a:cubicBezTo>
                    <a:pt x="474263" y="880400"/>
                    <a:pt x="493122" y="875067"/>
                    <a:pt x="511887" y="869352"/>
                  </a:cubicBezTo>
                  <a:cubicBezTo>
                    <a:pt x="531318" y="863351"/>
                    <a:pt x="550653" y="857064"/>
                    <a:pt x="569989" y="851064"/>
                  </a:cubicBezTo>
                  <a:cubicBezTo>
                    <a:pt x="588753" y="845253"/>
                    <a:pt x="607708" y="840205"/>
                    <a:pt x="626282" y="833728"/>
                  </a:cubicBezTo>
                  <a:cubicBezTo>
                    <a:pt x="645046" y="827251"/>
                    <a:pt x="664858" y="821917"/>
                    <a:pt x="681336" y="811535"/>
                  </a:cubicBezTo>
                  <a:cubicBezTo>
                    <a:pt x="693147" y="804105"/>
                    <a:pt x="700863" y="789532"/>
                    <a:pt x="709626" y="777626"/>
                  </a:cubicBezTo>
                  <a:cubicBezTo>
                    <a:pt x="739630" y="736764"/>
                    <a:pt x="769252" y="695711"/>
                    <a:pt x="799065" y="654753"/>
                  </a:cubicBezTo>
                  <a:cubicBezTo>
                    <a:pt x="821735" y="623511"/>
                    <a:pt x="844024" y="591983"/>
                    <a:pt x="867550" y="561408"/>
                  </a:cubicBezTo>
                  <a:cubicBezTo>
                    <a:pt x="873837" y="553217"/>
                    <a:pt x="875551" y="545502"/>
                    <a:pt x="875551" y="535977"/>
                  </a:cubicBezTo>
                  <a:cubicBezTo>
                    <a:pt x="875361" y="451490"/>
                    <a:pt x="875551" y="367003"/>
                    <a:pt x="875551" y="282612"/>
                  </a:cubicBezTo>
                  <a:cubicBezTo>
                    <a:pt x="875551" y="265848"/>
                    <a:pt x="875075" y="265371"/>
                    <a:pt x="857930" y="265371"/>
                  </a:cubicBezTo>
                  <a:cubicBezTo>
                    <a:pt x="802209" y="265371"/>
                    <a:pt x="746487" y="265371"/>
                    <a:pt x="690766" y="265371"/>
                  </a:cubicBezTo>
                  <a:cubicBezTo>
                    <a:pt x="685908" y="265371"/>
                    <a:pt x="681051" y="265181"/>
                    <a:pt x="676288" y="264419"/>
                  </a:cubicBezTo>
                  <a:cubicBezTo>
                    <a:pt x="661334" y="261942"/>
                    <a:pt x="653047" y="253656"/>
                    <a:pt x="652952" y="238511"/>
                  </a:cubicBezTo>
                  <a:cubicBezTo>
                    <a:pt x="652571" y="184504"/>
                    <a:pt x="652571" y="130497"/>
                    <a:pt x="652952" y="76491"/>
                  </a:cubicBezTo>
                  <a:cubicBezTo>
                    <a:pt x="653047" y="60298"/>
                    <a:pt x="665906" y="49058"/>
                    <a:pt x="682956" y="49058"/>
                  </a:cubicBezTo>
                  <a:cubicBezTo>
                    <a:pt x="742487" y="48963"/>
                    <a:pt x="802018" y="48773"/>
                    <a:pt x="861549" y="49249"/>
                  </a:cubicBezTo>
                  <a:cubicBezTo>
                    <a:pt x="872217" y="49249"/>
                    <a:pt x="875837" y="46201"/>
                    <a:pt x="874789" y="35724"/>
                  </a:cubicBezTo>
                  <a:cubicBezTo>
                    <a:pt x="873551" y="22198"/>
                    <a:pt x="879647" y="12673"/>
                    <a:pt x="890886" y="4577"/>
                  </a:cubicBezTo>
                  <a:cubicBezTo>
                    <a:pt x="909079" y="-8472"/>
                    <a:pt x="935082" y="8387"/>
                    <a:pt x="937749" y="29913"/>
                  </a:cubicBezTo>
                  <a:cubicBezTo>
                    <a:pt x="938226" y="33628"/>
                    <a:pt x="938035" y="37533"/>
                    <a:pt x="938035" y="41343"/>
                  </a:cubicBezTo>
                  <a:cubicBezTo>
                    <a:pt x="938035" y="206507"/>
                    <a:pt x="938035" y="371575"/>
                    <a:pt x="937940" y="536739"/>
                  </a:cubicBezTo>
                  <a:cubicBezTo>
                    <a:pt x="937940" y="545692"/>
                    <a:pt x="940416" y="552360"/>
                    <a:pt x="946227" y="559884"/>
                  </a:cubicBezTo>
                  <a:cubicBezTo>
                    <a:pt x="961372" y="579506"/>
                    <a:pt x="974421" y="600556"/>
                    <a:pt x="988232" y="621225"/>
                  </a:cubicBezTo>
                  <a:cubicBezTo>
                    <a:pt x="1013759" y="659611"/>
                    <a:pt x="1039286" y="698092"/>
                    <a:pt x="1064718" y="736573"/>
                  </a:cubicBezTo>
                  <a:cubicBezTo>
                    <a:pt x="1091102" y="776483"/>
                    <a:pt x="1118248" y="816012"/>
                    <a:pt x="1143394" y="856683"/>
                  </a:cubicBezTo>
                  <a:cubicBezTo>
                    <a:pt x="1151490" y="869828"/>
                    <a:pt x="1154634" y="886211"/>
                    <a:pt x="1159682" y="901260"/>
                  </a:cubicBezTo>
                  <a:cubicBezTo>
                    <a:pt x="1168731" y="928311"/>
                    <a:pt x="1177684" y="955458"/>
                    <a:pt x="1186447" y="982699"/>
                  </a:cubicBezTo>
                  <a:cubicBezTo>
                    <a:pt x="1192257" y="1000701"/>
                    <a:pt x="1197592" y="1018894"/>
                    <a:pt x="1203497" y="1036896"/>
                  </a:cubicBezTo>
                  <a:cubicBezTo>
                    <a:pt x="1209307" y="1054899"/>
                    <a:pt x="1215594" y="1072710"/>
                    <a:pt x="1221594" y="1090713"/>
                  </a:cubicBezTo>
                  <a:cubicBezTo>
                    <a:pt x="1227310" y="1108048"/>
                    <a:pt x="1232929" y="1125479"/>
                    <a:pt x="1238454" y="1142814"/>
                  </a:cubicBezTo>
                  <a:cubicBezTo>
                    <a:pt x="1244264" y="1160817"/>
                    <a:pt x="1248360" y="1179581"/>
                    <a:pt x="1255980" y="1196821"/>
                  </a:cubicBezTo>
                  <a:cubicBezTo>
                    <a:pt x="1270648" y="1229873"/>
                    <a:pt x="1243216" y="1267782"/>
                    <a:pt x="1209498" y="1269116"/>
                  </a:cubicBezTo>
                  <a:cubicBezTo>
                    <a:pt x="1199782" y="1269497"/>
                    <a:pt x="1190162" y="1269306"/>
                    <a:pt x="1180447" y="1269306"/>
                  </a:cubicBezTo>
                  <a:cubicBezTo>
                    <a:pt x="996614" y="1269306"/>
                    <a:pt x="812877" y="1269306"/>
                    <a:pt x="629044" y="126930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3A669A7B-9948-269A-E372-5CBAE741AAA4}"/>
                </a:ext>
              </a:extLst>
            </p:cNvPr>
            <p:cNvSpPr/>
            <p:nvPr/>
          </p:nvSpPr>
          <p:spPr>
            <a:xfrm>
              <a:off x="-2067601" y="3848969"/>
              <a:ext cx="677135" cy="757356"/>
            </a:xfrm>
            <a:custGeom>
              <a:avLst/>
              <a:gdLst>
                <a:gd name="connsiteX0" fmla="*/ 189856 w 677135"/>
                <a:gd name="connsiteY0" fmla="*/ 167166 h 757356"/>
                <a:gd name="connsiteX1" fmla="*/ 157947 w 677135"/>
                <a:gd name="connsiteY1" fmla="*/ 193074 h 757356"/>
                <a:gd name="connsiteX2" fmla="*/ 105750 w 677135"/>
                <a:gd name="connsiteY2" fmla="*/ 294801 h 757356"/>
                <a:gd name="connsiteX3" fmla="*/ 68031 w 677135"/>
                <a:gd name="connsiteY3" fmla="*/ 332044 h 757356"/>
                <a:gd name="connsiteX4" fmla="*/ 6309 w 677135"/>
                <a:gd name="connsiteY4" fmla="*/ 307088 h 757356"/>
                <a:gd name="connsiteX5" fmla="*/ 9548 w 677135"/>
                <a:gd name="connsiteY5" fmla="*/ 247938 h 757356"/>
                <a:gd name="connsiteX6" fmla="*/ 50029 w 677135"/>
                <a:gd name="connsiteY6" fmla="*/ 162118 h 757356"/>
                <a:gd name="connsiteX7" fmla="*/ 130801 w 677135"/>
                <a:gd name="connsiteY7" fmla="*/ 72392 h 757356"/>
                <a:gd name="connsiteX8" fmla="*/ 214050 w 677135"/>
                <a:gd name="connsiteY8" fmla="*/ 24672 h 757356"/>
                <a:gd name="connsiteX9" fmla="*/ 303204 w 677135"/>
                <a:gd name="connsiteY9" fmla="*/ 859 h 757356"/>
                <a:gd name="connsiteX10" fmla="*/ 370545 w 677135"/>
                <a:gd name="connsiteY10" fmla="*/ 5146 h 757356"/>
                <a:gd name="connsiteX11" fmla="*/ 415313 w 677135"/>
                <a:gd name="connsiteY11" fmla="*/ 25624 h 757356"/>
                <a:gd name="connsiteX12" fmla="*/ 484464 w 677135"/>
                <a:gd name="connsiteY12" fmla="*/ 109254 h 757356"/>
                <a:gd name="connsiteX13" fmla="*/ 507610 w 677135"/>
                <a:gd name="connsiteY13" fmla="*/ 140972 h 757356"/>
                <a:gd name="connsiteX14" fmla="*/ 524565 w 677135"/>
                <a:gd name="connsiteY14" fmla="*/ 151069 h 757356"/>
                <a:gd name="connsiteX15" fmla="*/ 628197 w 677135"/>
                <a:gd name="connsiteY15" fmla="*/ 165737 h 757356"/>
                <a:gd name="connsiteX16" fmla="*/ 675822 w 677135"/>
                <a:gd name="connsiteY16" fmla="*/ 208600 h 757356"/>
                <a:gd name="connsiteX17" fmla="*/ 653438 w 677135"/>
                <a:gd name="connsiteY17" fmla="*/ 262797 h 757356"/>
                <a:gd name="connsiteX18" fmla="*/ 622291 w 677135"/>
                <a:gd name="connsiteY18" fmla="*/ 271465 h 757356"/>
                <a:gd name="connsiteX19" fmla="*/ 536852 w 677135"/>
                <a:gd name="connsiteY19" fmla="*/ 261463 h 757356"/>
                <a:gd name="connsiteX20" fmla="*/ 486179 w 677135"/>
                <a:gd name="connsiteY20" fmla="*/ 251843 h 757356"/>
                <a:gd name="connsiteX21" fmla="*/ 422076 w 677135"/>
                <a:gd name="connsiteY21" fmla="*/ 205361 h 757356"/>
                <a:gd name="connsiteX22" fmla="*/ 415694 w 677135"/>
                <a:gd name="connsiteY22" fmla="*/ 199741 h 757356"/>
                <a:gd name="connsiteX23" fmla="*/ 410836 w 677135"/>
                <a:gd name="connsiteY23" fmla="*/ 207266 h 757356"/>
                <a:gd name="connsiteX24" fmla="*/ 400454 w 677135"/>
                <a:gd name="connsiteY24" fmla="*/ 251653 h 757356"/>
                <a:gd name="connsiteX25" fmla="*/ 386452 w 677135"/>
                <a:gd name="connsiteY25" fmla="*/ 316423 h 757356"/>
                <a:gd name="connsiteX26" fmla="*/ 396358 w 677135"/>
                <a:gd name="connsiteY26" fmla="*/ 329662 h 757356"/>
                <a:gd name="connsiteX27" fmla="*/ 478845 w 677135"/>
                <a:gd name="connsiteY27" fmla="*/ 344712 h 757356"/>
                <a:gd name="connsiteX28" fmla="*/ 541995 w 677135"/>
                <a:gd name="connsiteY28" fmla="*/ 407958 h 757356"/>
                <a:gd name="connsiteX29" fmla="*/ 570666 w 677135"/>
                <a:gd name="connsiteY29" fmla="*/ 524449 h 757356"/>
                <a:gd name="connsiteX30" fmla="*/ 562379 w 677135"/>
                <a:gd name="connsiteY30" fmla="*/ 539308 h 757356"/>
                <a:gd name="connsiteX31" fmla="*/ 530946 w 677135"/>
                <a:gd name="connsiteY31" fmla="*/ 549499 h 757356"/>
                <a:gd name="connsiteX32" fmla="*/ 471891 w 677135"/>
                <a:gd name="connsiteY32" fmla="*/ 585695 h 757356"/>
                <a:gd name="connsiteX33" fmla="*/ 464271 w 677135"/>
                <a:gd name="connsiteY33" fmla="*/ 590743 h 757356"/>
                <a:gd name="connsiteX34" fmla="*/ 457985 w 677135"/>
                <a:gd name="connsiteY34" fmla="*/ 582170 h 757356"/>
                <a:gd name="connsiteX35" fmla="*/ 441316 w 677135"/>
                <a:gd name="connsiteY35" fmla="*/ 508542 h 757356"/>
                <a:gd name="connsiteX36" fmla="*/ 429886 w 677135"/>
                <a:gd name="connsiteY36" fmla="*/ 465584 h 757356"/>
                <a:gd name="connsiteX37" fmla="*/ 421695 w 677135"/>
                <a:gd name="connsiteY37" fmla="*/ 457869 h 757356"/>
                <a:gd name="connsiteX38" fmla="*/ 367402 w 677135"/>
                <a:gd name="connsiteY38" fmla="*/ 449487 h 757356"/>
                <a:gd name="connsiteX39" fmla="*/ 355686 w 677135"/>
                <a:gd name="connsiteY39" fmla="*/ 458345 h 757356"/>
                <a:gd name="connsiteX40" fmla="*/ 329683 w 677135"/>
                <a:gd name="connsiteY40" fmla="*/ 577693 h 757356"/>
                <a:gd name="connsiteX41" fmla="*/ 312919 w 677135"/>
                <a:gd name="connsiteY41" fmla="*/ 660942 h 757356"/>
                <a:gd name="connsiteX42" fmla="*/ 299679 w 677135"/>
                <a:gd name="connsiteY42" fmla="*/ 716282 h 757356"/>
                <a:gd name="connsiteX43" fmla="*/ 284154 w 677135"/>
                <a:gd name="connsiteY43" fmla="*/ 727426 h 757356"/>
                <a:gd name="connsiteX44" fmla="*/ 184713 w 677135"/>
                <a:gd name="connsiteY44" fmla="*/ 755621 h 757356"/>
                <a:gd name="connsiteX45" fmla="*/ 170711 w 677135"/>
                <a:gd name="connsiteY45" fmla="*/ 743238 h 757356"/>
                <a:gd name="connsiteX46" fmla="*/ 190237 w 677135"/>
                <a:gd name="connsiteY46" fmla="*/ 654274 h 757356"/>
                <a:gd name="connsiteX47" fmla="*/ 207192 w 677135"/>
                <a:gd name="connsiteY47" fmla="*/ 573217 h 757356"/>
                <a:gd name="connsiteX48" fmla="*/ 225194 w 677135"/>
                <a:gd name="connsiteY48" fmla="*/ 493492 h 757356"/>
                <a:gd name="connsiteX49" fmla="*/ 236624 w 677135"/>
                <a:gd name="connsiteY49" fmla="*/ 435580 h 757356"/>
                <a:gd name="connsiteX50" fmla="*/ 226908 w 677135"/>
                <a:gd name="connsiteY50" fmla="*/ 423579 h 757356"/>
                <a:gd name="connsiteX51" fmla="*/ 166139 w 677135"/>
                <a:gd name="connsiteY51" fmla="*/ 368143 h 757356"/>
                <a:gd name="connsiteX52" fmla="*/ 160805 w 677135"/>
                <a:gd name="connsiteY52" fmla="*/ 299278 h 757356"/>
                <a:gd name="connsiteX53" fmla="*/ 167853 w 677135"/>
                <a:gd name="connsiteY53" fmla="*/ 267940 h 757356"/>
                <a:gd name="connsiteX54" fmla="*/ 190047 w 677135"/>
                <a:gd name="connsiteY54" fmla="*/ 167071 h 75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677135" h="757356">
                  <a:moveTo>
                    <a:pt x="189856" y="167166"/>
                  </a:moveTo>
                  <a:cubicBezTo>
                    <a:pt x="173473" y="171262"/>
                    <a:pt x="164234" y="181358"/>
                    <a:pt x="157947" y="193074"/>
                  </a:cubicBezTo>
                  <a:cubicBezTo>
                    <a:pt x="139850" y="226697"/>
                    <a:pt x="123086" y="260892"/>
                    <a:pt x="105750" y="294801"/>
                  </a:cubicBezTo>
                  <a:cubicBezTo>
                    <a:pt x="97273" y="311374"/>
                    <a:pt x="87367" y="325662"/>
                    <a:pt x="68031" y="332044"/>
                  </a:cubicBezTo>
                  <a:cubicBezTo>
                    <a:pt x="45362" y="339473"/>
                    <a:pt x="17454" y="328234"/>
                    <a:pt x="6309" y="307088"/>
                  </a:cubicBezTo>
                  <a:cubicBezTo>
                    <a:pt x="-4644" y="286133"/>
                    <a:pt x="118" y="267369"/>
                    <a:pt x="9548" y="247938"/>
                  </a:cubicBezTo>
                  <a:cubicBezTo>
                    <a:pt x="23454" y="219554"/>
                    <a:pt x="37170" y="191074"/>
                    <a:pt x="50029" y="162118"/>
                  </a:cubicBezTo>
                  <a:cubicBezTo>
                    <a:pt x="67269" y="123351"/>
                    <a:pt x="93463" y="93062"/>
                    <a:pt x="130801" y="72392"/>
                  </a:cubicBezTo>
                  <a:cubicBezTo>
                    <a:pt x="158805" y="56866"/>
                    <a:pt x="185951" y="40103"/>
                    <a:pt x="214050" y="24672"/>
                  </a:cubicBezTo>
                  <a:cubicBezTo>
                    <a:pt x="241672" y="9527"/>
                    <a:pt x="269866" y="-3522"/>
                    <a:pt x="303204" y="859"/>
                  </a:cubicBezTo>
                  <a:cubicBezTo>
                    <a:pt x="325397" y="3812"/>
                    <a:pt x="348066" y="4288"/>
                    <a:pt x="370545" y="5146"/>
                  </a:cubicBezTo>
                  <a:cubicBezTo>
                    <a:pt x="388452" y="5812"/>
                    <a:pt x="403788" y="12194"/>
                    <a:pt x="415313" y="25624"/>
                  </a:cubicBezTo>
                  <a:cubicBezTo>
                    <a:pt x="438840" y="53152"/>
                    <a:pt x="461700" y="81155"/>
                    <a:pt x="484464" y="109254"/>
                  </a:cubicBezTo>
                  <a:cubicBezTo>
                    <a:pt x="492656" y="119446"/>
                    <a:pt x="499133" y="131066"/>
                    <a:pt x="507610" y="140972"/>
                  </a:cubicBezTo>
                  <a:cubicBezTo>
                    <a:pt x="511706" y="145735"/>
                    <a:pt x="518469" y="150116"/>
                    <a:pt x="524565" y="151069"/>
                  </a:cubicBezTo>
                  <a:cubicBezTo>
                    <a:pt x="559045" y="156498"/>
                    <a:pt x="593811" y="159927"/>
                    <a:pt x="628197" y="165737"/>
                  </a:cubicBezTo>
                  <a:cubicBezTo>
                    <a:pt x="655438" y="170309"/>
                    <a:pt x="668392" y="183168"/>
                    <a:pt x="675822" y="208600"/>
                  </a:cubicBezTo>
                  <a:cubicBezTo>
                    <a:pt x="680965" y="226316"/>
                    <a:pt x="670488" y="252986"/>
                    <a:pt x="653438" y="262797"/>
                  </a:cubicBezTo>
                  <a:cubicBezTo>
                    <a:pt x="644294" y="268036"/>
                    <a:pt x="632483" y="272131"/>
                    <a:pt x="622291" y="271465"/>
                  </a:cubicBezTo>
                  <a:cubicBezTo>
                    <a:pt x="593716" y="269655"/>
                    <a:pt x="565236" y="265464"/>
                    <a:pt x="536852" y="261463"/>
                  </a:cubicBezTo>
                  <a:cubicBezTo>
                    <a:pt x="519802" y="259082"/>
                    <a:pt x="502848" y="256034"/>
                    <a:pt x="486179" y="251843"/>
                  </a:cubicBezTo>
                  <a:cubicBezTo>
                    <a:pt x="458747" y="245080"/>
                    <a:pt x="439221" y="226792"/>
                    <a:pt x="422076" y="205361"/>
                  </a:cubicBezTo>
                  <a:cubicBezTo>
                    <a:pt x="420361" y="203170"/>
                    <a:pt x="417789" y="201646"/>
                    <a:pt x="415694" y="199741"/>
                  </a:cubicBezTo>
                  <a:cubicBezTo>
                    <a:pt x="414075" y="202218"/>
                    <a:pt x="411598" y="204504"/>
                    <a:pt x="410836" y="207266"/>
                  </a:cubicBezTo>
                  <a:cubicBezTo>
                    <a:pt x="407121" y="221935"/>
                    <a:pt x="403692" y="236794"/>
                    <a:pt x="400454" y="251653"/>
                  </a:cubicBezTo>
                  <a:cubicBezTo>
                    <a:pt x="395691" y="273179"/>
                    <a:pt x="391405" y="294896"/>
                    <a:pt x="386452" y="316423"/>
                  </a:cubicBezTo>
                  <a:cubicBezTo>
                    <a:pt x="384357" y="325376"/>
                    <a:pt x="387119" y="328329"/>
                    <a:pt x="396358" y="329662"/>
                  </a:cubicBezTo>
                  <a:cubicBezTo>
                    <a:pt x="423981" y="333758"/>
                    <a:pt x="452175" y="336806"/>
                    <a:pt x="478845" y="344712"/>
                  </a:cubicBezTo>
                  <a:cubicBezTo>
                    <a:pt x="510182" y="353951"/>
                    <a:pt x="532851" y="376049"/>
                    <a:pt x="541995" y="407958"/>
                  </a:cubicBezTo>
                  <a:cubicBezTo>
                    <a:pt x="552949" y="446344"/>
                    <a:pt x="560950" y="485682"/>
                    <a:pt x="570666" y="524449"/>
                  </a:cubicBezTo>
                  <a:cubicBezTo>
                    <a:pt x="572666" y="532640"/>
                    <a:pt x="569808" y="536926"/>
                    <a:pt x="562379" y="539308"/>
                  </a:cubicBezTo>
                  <a:cubicBezTo>
                    <a:pt x="551901" y="542641"/>
                    <a:pt x="541614" y="546832"/>
                    <a:pt x="530946" y="549499"/>
                  </a:cubicBezTo>
                  <a:cubicBezTo>
                    <a:pt x="507324" y="555405"/>
                    <a:pt x="488274" y="568073"/>
                    <a:pt x="471891" y="585695"/>
                  </a:cubicBezTo>
                  <a:cubicBezTo>
                    <a:pt x="469796" y="587980"/>
                    <a:pt x="465414" y="591409"/>
                    <a:pt x="464271" y="590743"/>
                  </a:cubicBezTo>
                  <a:cubicBezTo>
                    <a:pt x="461414" y="589028"/>
                    <a:pt x="458747" y="585504"/>
                    <a:pt x="457985" y="582170"/>
                  </a:cubicBezTo>
                  <a:cubicBezTo>
                    <a:pt x="452175" y="557691"/>
                    <a:pt x="447031" y="533021"/>
                    <a:pt x="441316" y="508542"/>
                  </a:cubicBezTo>
                  <a:cubicBezTo>
                    <a:pt x="437982" y="494159"/>
                    <a:pt x="434268" y="479776"/>
                    <a:pt x="429886" y="465584"/>
                  </a:cubicBezTo>
                  <a:cubicBezTo>
                    <a:pt x="428934" y="462346"/>
                    <a:pt x="424838" y="458440"/>
                    <a:pt x="421695" y="457869"/>
                  </a:cubicBezTo>
                  <a:cubicBezTo>
                    <a:pt x="403692" y="454630"/>
                    <a:pt x="385500" y="452440"/>
                    <a:pt x="367402" y="449487"/>
                  </a:cubicBezTo>
                  <a:cubicBezTo>
                    <a:pt x="359877" y="448249"/>
                    <a:pt x="357210" y="450916"/>
                    <a:pt x="355686" y="458345"/>
                  </a:cubicBezTo>
                  <a:cubicBezTo>
                    <a:pt x="347304" y="498160"/>
                    <a:pt x="338160" y="537879"/>
                    <a:pt x="329683" y="577693"/>
                  </a:cubicBezTo>
                  <a:cubicBezTo>
                    <a:pt x="323778" y="605411"/>
                    <a:pt x="318729" y="633224"/>
                    <a:pt x="312919" y="660942"/>
                  </a:cubicBezTo>
                  <a:cubicBezTo>
                    <a:pt x="309014" y="679516"/>
                    <a:pt x="305394" y="698280"/>
                    <a:pt x="299679" y="716282"/>
                  </a:cubicBezTo>
                  <a:cubicBezTo>
                    <a:pt x="298155" y="721235"/>
                    <a:pt x="290059" y="725712"/>
                    <a:pt x="284154" y="727426"/>
                  </a:cubicBezTo>
                  <a:cubicBezTo>
                    <a:pt x="251197" y="737332"/>
                    <a:pt x="217860" y="746096"/>
                    <a:pt x="184713" y="755621"/>
                  </a:cubicBezTo>
                  <a:cubicBezTo>
                    <a:pt x="170997" y="759526"/>
                    <a:pt x="167853" y="757430"/>
                    <a:pt x="170711" y="743238"/>
                  </a:cubicBezTo>
                  <a:cubicBezTo>
                    <a:pt x="176902" y="713520"/>
                    <a:pt x="183855" y="683992"/>
                    <a:pt x="190237" y="654274"/>
                  </a:cubicBezTo>
                  <a:cubicBezTo>
                    <a:pt x="196047" y="627319"/>
                    <a:pt x="201381" y="600172"/>
                    <a:pt x="207192" y="573217"/>
                  </a:cubicBezTo>
                  <a:cubicBezTo>
                    <a:pt x="213002" y="546547"/>
                    <a:pt x="219384" y="520067"/>
                    <a:pt x="225194" y="493492"/>
                  </a:cubicBezTo>
                  <a:cubicBezTo>
                    <a:pt x="229385" y="474252"/>
                    <a:pt x="233766" y="455012"/>
                    <a:pt x="236624" y="435580"/>
                  </a:cubicBezTo>
                  <a:cubicBezTo>
                    <a:pt x="237100" y="431961"/>
                    <a:pt x="231195" y="425103"/>
                    <a:pt x="226908" y="423579"/>
                  </a:cubicBezTo>
                  <a:cubicBezTo>
                    <a:pt x="198429" y="413863"/>
                    <a:pt x="177950" y="395099"/>
                    <a:pt x="166139" y="368143"/>
                  </a:cubicBezTo>
                  <a:cubicBezTo>
                    <a:pt x="156614" y="346331"/>
                    <a:pt x="153185" y="323090"/>
                    <a:pt x="160805" y="299278"/>
                  </a:cubicBezTo>
                  <a:cubicBezTo>
                    <a:pt x="164043" y="289086"/>
                    <a:pt x="165567" y="278418"/>
                    <a:pt x="167853" y="267940"/>
                  </a:cubicBezTo>
                  <a:cubicBezTo>
                    <a:pt x="175092" y="234984"/>
                    <a:pt x="182331" y="202123"/>
                    <a:pt x="190047" y="1670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F05A4FE2-EF8A-2912-29BC-023AABB1C214}"/>
                </a:ext>
              </a:extLst>
            </p:cNvPr>
            <p:cNvSpPr/>
            <p:nvPr/>
          </p:nvSpPr>
          <p:spPr>
            <a:xfrm>
              <a:off x="-1836311" y="3593222"/>
              <a:ext cx="233258" cy="234247"/>
            </a:xfrm>
            <a:custGeom>
              <a:avLst/>
              <a:gdLst>
                <a:gd name="connsiteX0" fmla="*/ 233077 w 233258"/>
                <a:gd name="connsiteY0" fmla="*/ 118493 h 234247"/>
                <a:gd name="connsiteX1" fmla="*/ 115253 w 233258"/>
                <a:gd name="connsiteY1" fmla="*/ 234222 h 234247"/>
                <a:gd name="connsiteX2" fmla="*/ 0 w 233258"/>
                <a:gd name="connsiteY2" fmla="*/ 117255 h 234247"/>
                <a:gd name="connsiteX3" fmla="*/ 118110 w 233258"/>
                <a:gd name="connsiteY3" fmla="*/ 2 h 234247"/>
                <a:gd name="connsiteX4" fmla="*/ 233173 w 233258"/>
                <a:gd name="connsiteY4" fmla="*/ 118493 h 234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258" h="234247">
                  <a:moveTo>
                    <a:pt x="233077" y="118493"/>
                  </a:moveTo>
                  <a:cubicBezTo>
                    <a:pt x="234125" y="183168"/>
                    <a:pt x="178785" y="235556"/>
                    <a:pt x="115253" y="234222"/>
                  </a:cubicBezTo>
                  <a:cubicBezTo>
                    <a:pt x="51626" y="232889"/>
                    <a:pt x="191" y="183454"/>
                    <a:pt x="0" y="117255"/>
                  </a:cubicBezTo>
                  <a:cubicBezTo>
                    <a:pt x="-190" y="49913"/>
                    <a:pt x="54293" y="-379"/>
                    <a:pt x="118110" y="2"/>
                  </a:cubicBezTo>
                  <a:cubicBezTo>
                    <a:pt x="180118" y="383"/>
                    <a:pt x="235744" y="52580"/>
                    <a:pt x="233173" y="1184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DC5B021-A0BA-78CF-DAE0-64C3DA6F2A47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10273115" y="1509894"/>
            <a:ext cx="1731913" cy="1959865"/>
            <a:chOff x="-1772195" y="2889888"/>
            <a:chExt cx="1339459" cy="1515757"/>
          </a:xfrm>
          <a:solidFill>
            <a:srgbClr val="FFFFFF">
              <a:alpha val="20000"/>
            </a:srgbClr>
          </a:solidFill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4BB0B1F5-93E7-8135-FC8A-0BB0E7190D09}"/>
                </a:ext>
              </a:extLst>
            </p:cNvPr>
            <p:cNvSpPr/>
            <p:nvPr/>
          </p:nvSpPr>
          <p:spPr>
            <a:xfrm>
              <a:off x="-1772195" y="2889888"/>
              <a:ext cx="1163629" cy="1376602"/>
            </a:xfrm>
            <a:custGeom>
              <a:avLst/>
              <a:gdLst>
                <a:gd name="connsiteX0" fmla="*/ 191 w 712870"/>
                <a:gd name="connsiteY0" fmla="*/ 421577 h 843343"/>
                <a:gd name="connsiteX1" fmla="*/ 0 w 712870"/>
                <a:gd name="connsiteY1" fmla="*/ 12478 h 843343"/>
                <a:gd name="connsiteX2" fmla="*/ 12573 w 712870"/>
                <a:gd name="connsiteY2" fmla="*/ 0 h 843343"/>
                <a:gd name="connsiteX3" fmla="*/ 470440 w 712870"/>
                <a:gd name="connsiteY3" fmla="*/ 0 h 843343"/>
                <a:gd name="connsiteX4" fmla="*/ 483584 w 712870"/>
                <a:gd name="connsiteY4" fmla="*/ 13526 h 843343"/>
                <a:gd name="connsiteX5" fmla="*/ 483394 w 712870"/>
                <a:gd name="connsiteY5" fmla="*/ 211836 h 843343"/>
                <a:gd name="connsiteX6" fmla="*/ 483394 w 712870"/>
                <a:gd name="connsiteY6" fmla="*/ 221171 h 843343"/>
                <a:gd name="connsiteX7" fmla="*/ 497872 w 712870"/>
                <a:gd name="connsiteY7" fmla="*/ 235172 h 843343"/>
                <a:gd name="connsiteX8" fmla="*/ 699326 w 712870"/>
                <a:gd name="connsiteY8" fmla="*/ 235172 h 843343"/>
                <a:gd name="connsiteX9" fmla="*/ 712851 w 712870"/>
                <a:gd name="connsiteY9" fmla="*/ 248603 h 843343"/>
                <a:gd name="connsiteX10" fmla="*/ 712851 w 712870"/>
                <a:gd name="connsiteY10" fmla="*/ 512350 h 843343"/>
                <a:gd name="connsiteX11" fmla="*/ 712851 w 712870"/>
                <a:gd name="connsiteY11" fmla="*/ 521684 h 843343"/>
                <a:gd name="connsiteX12" fmla="*/ 701516 w 712870"/>
                <a:gd name="connsiteY12" fmla="*/ 530162 h 843343"/>
                <a:gd name="connsiteX13" fmla="*/ 608171 w 712870"/>
                <a:gd name="connsiteY13" fmla="*/ 521970 h 843343"/>
                <a:gd name="connsiteX14" fmla="*/ 479298 w 712870"/>
                <a:gd name="connsiteY14" fmla="*/ 584264 h 843343"/>
                <a:gd name="connsiteX15" fmla="*/ 430339 w 712870"/>
                <a:gd name="connsiteY15" fmla="*/ 655415 h 843343"/>
                <a:gd name="connsiteX16" fmla="*/ 418624 w 712870"/>
                <a:gd name="connsiteY16" fmla="*/ 792385 h 843343"/>
                <a:gd name="connsiteX17" fmla="*/ 433483 w 712870"/>
                <a:gd name="connsiteY17" fmla="*/ 835152 h 843343"/>
                <a:gd name="connsiteX18" fmla="*/ 427006 w 712870"/>
                <a:gd name="connsiteY18" fmla="*/ 843153 h 843343"/>
                <a:gd name="connsiteX19" fmla="*/ 395859 w 712870"/>
                <a:gd name="connsiteY19" fmla="*/ 843153 h 843343"/>
                <a:gd name="connsiteX20" fmla="*/ 12764 w 712870"/>
                <a:gd name="connsiteY20" fmla="*/ 843344 h 843343"/>
                <a:gd name="connsiteX21" fmla="*/ 191 w 712870"/>
                <a:gd name="connsiteY21" fmla="*/ 830771 h 843343"/>
                <a:gd name="connsiteX22" fmla="*/ 381 w 712870"/>
                <a:gd name="connsiteY22" fmla="*/ 421672 h 843343"/>
                <a:gd name="connsiteX23" fmla="*/ 356045 w 712870"/>
                <a:gd name="connsiteY23" fmla="*/ 417290 h 843343"/>
                <a:gd name="connsiteX24" fmla="*/ 356045 w 712870"/>
                <a:gd name="connsiteY24" fmla="*/ 416909 h 843343"/>
                <a:gd name="connsiteX25" fmla="*/ 549021 w 712870"/>
                <a:gd name="connsiteY25" fmla="*/ 416909 h 843343"/>
                <a:gd name="connsiteX26" fmla="*/ 570833 w 712870"/>
                <a:gd name="connsiteY26" fmla="*/ 395097 h 843343"/>
                <a:gd name="connsiteX27" fmla="*/ 555212 w 712870"/>
                <a:gd name="connsiteY27" fmla="*/ 379476 h 843343"/>
                <a:gd name="connsiteX28" fmla="*/ 167068 w 712870"/>
                <a:gd name="connsiteY28" fmla="*/ 379476 h 843343"/>
                <a:gd name="connsiteX29" fmla="*/ 141922 w 712870"/>
                <a:gd name="connsiteY29" fmla="*/ 404527 h 843343"/>
                <a:gd name="connsiteX30" fmla="*/ 154686 w 712870"/>
                <a:gd name="connsiteY30" fmla="*/ 417290 h 843343"/>
                <a:gd name="connsiteX31" fmla="*/ 356045 w 712870"/>
                <a:gd name="connsiteY31" fmla="*/ 417100 h 843343"/>
                <a:gd name="connsiteX32" fmla="*/ 300418 w 712870"/>
                <a:gd name="connsiteY32" fmla="*/ 206693 h 843343"/>
                <a:gd name="connsiteX33" fmla="*/ 316992 w 712870"/>
                <a:gd name="connsiteY33" fmla="*/ 206693 h 843343"/>
                <a:gd name="connsiteX34" fmla="*/ 328422 w 712870"/>
                <a:gd name="connsiteY34" fmla="*/ 218218 h 843343"/>
                <a:gd name="connsiteX35" fmla="*/ 328327 w 712870"/>
                <a:gd name="connsiteY35" fmla="*/ 252413 h 843343"/>
                <a:gd name="connsiteX36" fmla="*/ 339281 w 712870"/>
                <a:gd name="connsiteY36" fmla="*/ 263747 h 843343"/>
                <a:gd name="connsiteX37" fmla="*/ 373475 w 712870"/>
                <a:gd name="connsiteY37" fmla="*/ 263747 h 843343"/>
                <a:gd name="connsiteX38" fmla="*/ 384429 w 712870"/>
                <a:gd name="connsiteY38" fmla="*/ 252508 h 843343"/>
                <a:gd name="connsiteX39" fmla="*/ 384334 w 712870"/>
                <a:gd name="connsiteY39" fmla="*/ 218313 h 843343"/>
                <a:gd name="connsiteX40" fmla="*/ 395668 w 712870"/>
                <a:gd name="connsiteY40" fmla="*/ 206693 h 843343"/>
                <a:gd name="connsiteX41" fmla="*/ 429863 w 712870"/>
                <a:gd name="connsiteY41" fmla="*/ 206883 h 843343"/>
                <a:gd name="connsiteX42" fmla="*/ 441389 w 712870"/>
                <a:gd name="connsiteY42" fmla="*/ 196215 h 843343"/>
                <a:gd name="connsiteX43" fmla="*/ 441389 w 712870"/>
                <a:gd name="connsiteY43" fmla="*/ 160973 h 843343"/>
                <a:gd name="connsiteX44" fmla="*/ 430816 w 712870"/>
                <a:gd name="connsiteY44" fmla="*/ 150400 h 843343"/>
                <a:gd name="connsiteX45" fmla="*/ 397669 w 712870"/>
                <a:gd name="connsiteY45" fmla="*/ 150686 h 843343"/>
                <a:gd name="connsiteX46" fmla="*/ 384334 w 712870"/>
                <a:gd name="connsiteY46" fmla="*/ 138017 h 843343"/>
                <a:gd name="connsiteX47" fmla="*/ 384524 w 712870"/>
                <a:gd name="connsiteY47" fmla="*/ 103823 h 843343"/>
                <a:gd name="connsiteX48" fmla="*/ 374714 w 712870"/>
                <a:gd name="connsiteY48" fmla="*/ 93726 h 843343"/>
                <a:gd name="connsiteX49" fmla="*/ 338423 w 712870"/>
                <a:gd name="connsiteY49" fmla="*/ 93726 h 843343"/>
                <a:gd name="connsiteX50" fmla="*/ 328231 w 712870"/>
                <a:gd name="connsiteY50" fmla="*/ 104584 h 843343"/>
                <a:gd name="connsiteX51" fmla="*/ 328422 w 712870"/>
                <a:gd name="connsiteY51" fmla="*/ 140875 h 843343"/>
                <a:gd name="connsiteX52" fmla="*/ 318611 w 712870"/>
                <a:gd name="connsiteY52" fmla="*/ 150781 h 843343"/>
                <a:gd name="connsiteX53" fmla="*/ 298895 w 712870"/>
                <a:gd name="connsiteY53" fmla="*/ 150686 h 843343"/>
                <a:gd name="connsiteX54" fmla="*/ 271653 w 712870"/>
                <a:gd name="connsiteY54" fmla="*/ 177451 h 843343"/>
                <a:gd name="connsiteX55" fmla="*/ 300514 w 712870"/>
                <a:gd name="connsiteY55" fmla="*/ 206978 h 843343"/>
                <a:gd name="connsiteX56" fmla="*/ 519779 w 712870"/>
                <a:gd name="connsiteY56" fmla="*/ 519303 h 843343"/>
                <a:gd name="connsiteX57" fmla="*/ 518636 w 712870"/>
                <a:gd name="connsiteY57" fmla="*/ 516065 h 843343"/>
                <a:gd name="connsiteX58" fmla="*/ 509778 w 712870"/>
                <a:gd name="connsiteY58" fmla="*/ 515303 h 843343"/>
                <a:gd name="connsiteX59" fmla="*/ 165259 w 712870"/>
                <a:gd name="connsiteY59" fmla="*/ 515588 h 843343"/>
                <a:gd name="connsiteX60" fmla="*/ 142113 w 712870"/>
                <a:gd name="connsiteY60" fmla="*/ 538639 h 843343"/>
                <a:gd name="connsiteX61" fmla="*/ 157639 w 712870"/>
                <a:gd name="connsiteY61" fmla="*/ 553593 h 843343"/>
                <a:gd name="connsiteX62" fmla="*/ 448247 w 712870"/>
                <a:gd name="connsiteY62" fmla="*/ 553784 h 843343"/>
                <a:gd name="connsiteX63" fmla="*/ 485394 w 712870"/>
                <a:gd name="connsiteY63" fmla="*/ 542639 h 843343"/>
                <a:gd name="connsiteX64" fmla="*/ 519779 w 712870"/>
                <a:gd name="connsiteY64" fmla="*/ 519208 h 843343"/>
                <a:gd name="connsiteX65" fmla="*/ 272034 w 712870"/>
                <a:gd name="connsiteY65" fmla="*/ 651605 h 843343"/>
                <a:gd name="connsiteX66" fmla="*/ 164020 w 712870"/>
                <a:gd name="connsiteY66" fmla="*/ 651605 h 843343"/>
                <a:gd name="connsiteX67" fmla="*/ 142113 w 712870"/>
                <a:gd name="connsiteY67" fmla="*/ 672846 h 843343"/>
                <a:gd name="connsiteX68" fmla="*/ 159258 w 712870"/>
                <a:gd name="connsiteY68" fmla="*/ 690467 h 843343"/>
                <a:gd name="connsiteX69" fmla="*/ 367951 w 712870"/>
                <a:gd name="connsiteY69" fmla="*/ 690563 h 843343"/>
                <a:gd name="connsiteX70" fmla="*/ 394335 w 712870"/>
                <a:gd name="connsiteY70" fmla="*/ 672084 h 843343"/>
                <a:gd name="connsiteX71" fmla="*/ 396812 w 712870"/>
                <a:gd name="connsiteY71" fmla="*/ 666369 h 843343"/>
                <a:gd name="connsiteX72" fmla="*/ 387191 w 712870"/>
                <a:gd name="connsiteY72" fmla="*/ 651701 h 843343"/>
                <a:gd name="connsiteX73" fmla="*/ 271939 w 712870"/>
                <a:gd name="connsiteY73" fmla="*/ 651701 h 843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712870" h="843343">
                  <a:moveTo>
                    <a:pt x="191" y="421577"/>
                  </a:moveTo>
                  <a:cubicBezTo>
                    <a:pt x="191" y="285179"/>
                    <a:pt x="286" y="148781"/>
                    <a:pt x="0" y="12478"/>
                  </a:cubicBezTo>
                  <a:cubicBezTo>
                    <a:pt x="0" y="2572"/>
                    <a:pt x="3429" y="0"/>
                    <a:pt x="12573" y="0"/>
                  </a:cubicBezTo>
                  <a:cubicBezTo>
                    <a:pt x="165164" y="191"/>
                    <a:pt x="317849" y="191"/>
                    <a:pt x="470440" y="0"/>
                  </a:cubicBezTo>
                  <a:cubicBezTo>
                    <a:pt x="480346" y="0"/>
                    <a:pt x="483680" y="3620"/>
                    <a:pt x="483584" y="13526"/>
                  </a:cubicBezTo>
                  <a:cubicBezTo>
                    <a:pt x="483203" y="79629"/>
                    <a:pt x="483394" y="145733"/>
                    <a:pt x="483394" y="211836"/>
                  </a:cubicBezTo>
                  <a:cubicBezTo>
                    <a:pt x="483394" y="214979"/>
                    <a:pt x="483394" y="218027"/>
                    <a:pt x="483394" y="221171"/>
                  </a:cubicBezTo>
                  <a:cubicBezTo>
                    <a:pt x="483775" y="234410"/>
                    <a:pt x="484727" y="235172"/>
                    <a:pt x="497872" y="235172"/>
                  </a:cubicBezTo>
                  <a:cubicBezTo>
                    <a:pt x="565023" y="235172"/>
                    <a:pt x="632174" y="235077"/>
                    <a:pt x="699326" y="235172"/>
                  </a:cubicBezTo>
                  <a:cubicBezTo>
                    <a:pt x="712184" y="235172"/>
                    <a:pt x="712851" y="236030"/>
                    <a:pt x="712851" y="248603"/>
                  </a:cubicBezTo>
                  <a:cubicBezTo>
                    <a:pt x="712851" y="336518"/>
                    <a:pt x="712851" y="424434"/>
                    <a:pt x="712851" y="512350"/>
                  </a:cubicBezTo>
                  <a:cubicBezTo>
                    <a:pt x="712851" y="515493"/>
                    <a:pt x="712851" y="518541"/>
                    <a:pt x="712851" y="521684"/>
                  </a:cubicBezTo>
                  <a:cubicBezTo>
                    <a:pt x="713137" y="529876"/>
                    <a:pt x="710279" y="532924"/>
                    <a:pt x="701516" y="530162"/>
                  </a:cubicBezTo>
                  <a:cubicBezTo>
                    <a:pt x="671036" y="520541"/>
                    <a:pt x="639604" y="518065"/>
                    <a:pt x="608171" y="521970"/>
                  </a:cubicBezTo>
                  <a:cubicBezTo>
                    <a:pt x="558356" y="528066"/>
                    <a:pt x="515303" y="549116"/>
                    <a:pt x="479298" y="584264"/>
                  </a:cubicBezTo>
                  <a:cubicBezTo>
                    <a:pt x="458343" y="604838"/>
                    <a:pt x="441674" y="628460"/>
                    <a:pt x="430339" y="655415"/>
                  </a:cubicBezTo>
                  <a:cubicBezTo>
                    <a:pt x="411766" y="699707"/>
                    <a:pt x="407194" y="745617"/>
                    <a:pt x="418624" y="792385"/>
                  </a:cubicBezTo>
                  <a:cubicBezTo>
                    <a:pt x="422243" y="806958"/>
                    <a:pt x="428244" y="821055"/>
                    <a:pt x="433483" y="835152"/>
                  </a:cubicBezTo>
                  <a:cubicBezTo>
                    <a:pt x="436055" y="842010"/>
                    <a:pt x="432245" y="843153"/>
                    <a:pt x="427006" y="843153"/>
                  </a:cubicBezTo>
                  <a:cubicBezTo>
                    <a:pt x="416624" y="843153"/>
                    <a:pt x="406241" y="843058"/>
                    <a:pt x="395859" y="843153"/>
                  </a:cubicBezTo>
                  <a:cubicBezTo>
                    <a:pt x="268129" y="843153"/>
                    <a:pt x="140494" y="843153"/>
                    <a:pt x="12764" y="843344"/>
                  </a:cubicBezTo>
                  <a:cubicBezTo>
                    <a:pt x="3619" y="843344"/>
                    <a:pt x="191" y="840581"/>
                    <a:pt x="191" y="830771"/>
                  </a:cubicBezTo>
                  <a:cubicBezTo>
                    <a:pt x="476" y="694373"/>
                    <a:pt x="381" y="557975"/>
                    <a:pt x="381" y="421672"/>
                  </a:cubicBezTo>
                  <a:close/>
                  <a:moveTo>
                    <a:pt x="356045" y="417290"/>
                  </a:moveTo>
                  <a:cubicBezTo>
                    <a:pt x="356045" y="417290"/>
                    <a:pt x="356045" y="417100"/>
                    <a:pt x="356045" y="416909"/>
                  </a:cubicBezTo>
                  <a:cubicBezTo>
                    <a:pt x="420338" y="416909"/>
                    <a:pt x="484727" y="416909"/>
                    <a:pt x="549021" y="416909"/>
                  </a:cubicBezTo>
                  <a:cubicBezTo>
                    <a:pt x="570929" y="416909"/>
                    <a:pt x="571119" y="420243"/>
                    <a:pt x="570833" y="395097"/>
                  </a:cubicBezTo>
                  <a:cubicBezTo>
                    <a:pt x="570643" y="379571"/>
                    <a:pt x="570738" y="379476"/>
                    <a:pt x="555212" y="379476"/>
                  </a:cubicBezTo>
                  <a:cubicBezTo>
                    <a:pt x="425863" y="379476"/>
                    <a:pt x="296418" y="379476"/>
                    <a:pt x="167068" y="379476"/>
                  </a:cubicBezTo>
                  <a:cubicBezTo>
                    <a:pt x="140589" y="379476"/>
                    <a:pt x="142303" y="375476"/>
                    <a:pt x="141922" y="404527"/>
                  </a:cubicBezTo>
                  <a:cubicBezTo>
                    <a:pt x="141827" y="413957"/>
                    <a:pt x="145161" y="417290"/>
                    <a:pt x="154686" y="417290"/>
                  </a:cubicBezTo>
                  <a:cubicBezTo>
                    <a:pt x="221837" y="417005"/>
                    <a:pt x="288893" y="417100"/>
                    <a:pt x="356045" y="417100"/>
                  </a:cubicBezTo>
                  <a:close/>
                  <a:moveTo>
                    <a:pt x="300418" y="206693"/>
                  </a:moveTo>
                  <a:cubicBezTo>
                    <a:pt x="305943" y="206693"/>
                    <a:pt x="311468" y="206978"/>
                    <a:pt x="316992" y="206693"/>
                  </a:cubicBezTo>
                  <a:cubicBezTo>
                    <a:pt x="325564" y="206121"/>
                    <a:pt x="328803" y="209645"/>
                    <a:pt x="328422" y="218218"/>
                  </a:cubicBezTo>
                  <a:cubicBezTo>
                    <a:pt x="327851" y="229648"/>
                    <a:pt x="328422" y="241078"/>
                    <a:pt x="328327" y="252413"/>
                  </a:cubicBezTo>
                  <a:cubicBezTo>
                    <a:pt x="328231" y="260033"/>
                    <a:pt x="330994" y="263938"/>
                    <a:pt x="339281" y="263747"/>
                  </a:cubicBezTo>
                  <a:cubicBezTo>
                    <a:pt x="350710" y="263366"/>
                    <a:pt x="362141" y="263366"/>
                    <a:pt x="373475" y="263747"/>
                  </a:cubicBezTo>
                  <a:cubicBezTo>
                    <a:pt x="381667" y="264033"/>
                    <a:pt x="384620" y="260223"/>
                    <a:pt x="384429" y="252508"/>
                  </a:cubicBezTo>
                  <a:cubicBezTo>
                    <a:pt x="384239" y="241078"/>
                    <a:pt x="384810" y="229648"/>
                    <a:pt x="384334" y="218313"/>
                  </a:cubicBezTo>
                  <a:cubicBezTo>
                    <a:pt x="383953" y="209836"/>
                    <a:pt x="386906" y="206312"/>
                    <a:pt x="395668" y="206693"/>
                  </a:cubicBezTo>
                  <a:cubicBezTo>
                    <a:pt x="407099" y="207169"/>
                    <a:pt x="418529" y="206693"/>
                    <a:pt x="429863" y="206883"/>
                  </a:cubicBezTo>
                  <a:cubicBezTo>
                    <a:pt x="437388" y="207074"/>
                    <a:pt x="441579" y="204502"/>
                    <a:pt x="441389" y="196215"/>
                  </a:cubicBezTo>
                  <a:cubicBezTo>
                    <a:pt x="441103" y="184499"/>
                    <a:pt x="441103" y="172688"/>
                    <a:pt x="441389" y="160973"/>
                  </a:cubicBezTo>
                  <a:cubicBezTo>
                    <a:pt x="441579" y="153353"/>
                    <a:pt x="438150" y="150305"/>
                    <a:pt x="430816" y="150400"/>
                  </a:cubicBezTo>
                  <a:cubicBezTo>
                    <a:pt x="419767" y="150590"/>
                    <a:pt x="408622" y="149924"/>
                    <a:pt x="397669" y="150686"/>
                  </a:cubicBezTo>
                  <a:cubicBezTo>
                    <a:pt x="387953" y="151352"/>
                    <a:pt x="383572" y="148495"/>
                    <a:pt x="384334" y="138017"/>
                  </a:cubicBezTo>
                  <a:cubicBezTo>
                    <a:pt x="385096" y="126683"/>
                    <a:pt x="384334" y="115157"/>
                    <a:pt x="384524" y="103823"/>
                  </a:cubicBezTo>
                  <a:cubicBezTo>
                    <a:pt x="384620" y="96965"/>
                    <a:pt x="381857" y="93536"/>
                    <a:pt x="374714" y="93726"/>
                  </a:cubicBezTo>
                  <a:cubicBezTo>
                    <a:pt x="362617" y="93917"/>
                    <a:pt x="350520" y="93917"/>
                    <a:pt x="338423" y="93726"/>
                  </a:cubicBezTo>
                  <a:cubicBezTo>
                    <a:pt x="330708" y="93536"/>
                    <a:pt x="328136" y="97441"/>
                    <a:pt x="328231" y="104584"/>
                  </a:cubicBezTo>
                  <a:cubicBezTo>
                    <a:pt x="328517" y="116681"/>
                    <a:pt x="328136" y="128778"/>
                    <a:pt x="328422" y="140875"/>
                  </a:cubicBezTo>
                  <a:cubicBezTo>
                    <a:pt x="328612" y="147923"/>
                    <a:pt x="325755" y="151067"/>
                    <a:pt x="318611" y="150781"/>
                  </a:cubicBezTo>
                  <a:cubicBezTo>
                    <a:pt x="312039" y="150495"/>
                    <a:pt x="305467" y="150686"/>
                    <a:pt x="298895" y="150686"/>
                  </a:cubicBezTo>
                  <a:cubicBezTo>
                    <a:pt x="266129" y="150495"/>
                    <a:pt x="271939" y="148590"/>
                    <a:pt x="271653" y="177451"/>
                  </a:cubicBezTo>
                  <a:cubicBezTo>
                    <a:pt x="271272" y="212217"/>
                    <a:pt x="268795" y="206502"/>
                    <a:pt x="300514" y="206978"/>
                  </a:cubicBezTo>
                  <a:close/>
                  <a:moveTo>
                    <a:pt x="519779" y="519303"/>
                  </a:moveTo>
                  <a:cubicBezTo>
                    <a:pt x="519398" y="518255"/>
                    <a:pt x="519017" y="517112"/>
                    <a:pt x="518636" y="516065"/>
                  </a:cubicBezTo>
                  <a:cubicBezTo>
                    <a:pt x="515683" y="515779"/>
                    <a:pt x="512731" y="515303"/>
                    <a:pt x="509778" y="515303"/>
                  </a:cubicBezTo>
                  <a:cubicBezTo>
                    <a:pt x="394906" y="515303"/>
                    <a:pt x="280035" y="515588"/>
                    <a:pt x="165259" y="515588"/>
                  </a:cubicBezTo>
                  <a:cubicBezTo>
                    <a:pt x="142113" y="515588"/>
                    <a:pt x="142113" y="515588"/>
                    <a:pt x="142113" y="538639"/>
                  </a:cubicBezTo>
                  <a:cubicBezTo>
                    <a:pt x="142113" y="552736"/>
                    <a:pt x="143066" y="553593"/>
                    <a:pt x="157639" y="553593"/>
                  </a:cubicBezTo>
                  <a:cubicBezTo>
                    <a:pt x="254508" y="553593"/>
                    <a:pt x="351377" y="553402"/>
                    <a:pt x="448247" y="553784"/>
                  </a:cubicBezTo>
                  <a:cubicBezTo>
                    <a:pt x="462248" y="553784"/>
                    <a:pt x="474250" y="552164"/>
                    <a:pt x="485394" y="542639"/>
                  </a:cubicBezTo>
                  <a:cubicBezTo>
                    <a:pt x="495872" y="533686"/>
                    <a:pt x="508254" y="526923"/>
                    <a:pt x="519779" y="519208"/>
                  </a:cubicBezTo>
                  <a:close/>
                  <a:moveTo>
                    <a:pt x="272034" y="651605"/>
                  </a:moveTo>
                  <a:cubicBezTo>
                    <a:pt x="236030" y="651605"/>
                    <a:pt x="200025" y="651605"/>
                    <a:pt x="164020" y="651605"/>
                  </a:cubicBezTo>
                  <a:cubicBezTo>
                    <a:pt x="142113" y="651605"/>
                    <a:pt x="142113" y="651415"/>
                    <a:pt x="142113" y="672846"/>
                  </a:cubicBezTo>
                  <a:cubicBezTo>
                    <a:pt x="142113" y="690182"/>
                    <a:pt x="142399" y="690467"/>
                    <a:pt x="159258" y="690467"/>
                  </a:cubicBezTo>
                  <a:cubicBezTo>
                    <a:pt x="228791" y="690467"/>
                    <a:pt x="298418" y="690467"/>
                    <a:pt x="367951" y="690563"/>
                  </a:cubicBezTo>
                  <a:cubicBezTo>
                    <a:pt x="387858" y="690563"/>
                    <a:pt x="387858" y="690944"/>
                    <a:pt x="394335" y="672084"/>
                  </a:cubicBezTo>
                  <a:cubicBezTo>
                    <a:pt x="395002" y="670084"/>
                    <a:pt x="396049" y="668274"/>
                    <a:pt x="396812" y="666369"/>
                  </a:cubicBezTo>
                  <a:cubicBezTo>
                    <a:pt x="401193" y="655225"/>
                    <a:pt x="398907" y="651701"/>
                    <a:pt x="387191" y="651701"/>
                  </a:cubicBezTo>
                  <a:cubicBezTo>
                    <a:pt x="348806" y="651701"/>
                    <a:pt x="310324" y="651701"/>
                    <a:pt x="271939" y="65170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128D5B1-7CEF-0AE6-56F5-EB933A5153B3}"/>
                </a:ext>
              </a:extLst>
            </p:cNvPr>
            <p:cNvSpPr/>
            <p:nvPr/>
          </p:nvSpPr>
          <p:spPr>
            <a:xfrm>
              <a:off x="-1039137" y="3798812"/>
              <a:ext cx="606401" cy="606833"/>
            </a:xfrm>
            <a:custGeom>
              <a:avLst/>
              <a:gdLst>
                <a:gd name="connsiteX0" fmla="*/ 371488 w 371497"/>
                <a:gd name="connsiteY0" fmla="*/ 186119 h 371762"/>
                <a:gd name="connsiteX1" fmla="*/ 184894 w 371497"/>
                <a:gd name="connsiteY1" fmla="*/ 371761 h 371762"/>
                <a:gd name="connsiteX2" fmla="*/ 13 w 371497"/>
                <a:gd name="connsiteY2" fmla="*/ 188405 h 371762"/>
                <a:gd name="connsiteX3" fmla="*/ 185275 w 371497"/>
                <a:gd name="connsiteY3" fmla="*/ 0 h 371762"/>
                <a:gd name="connsiteX4" fmla="*/ 371488 w 371497"/>
                <a:gd name="connsiteY4" fmla="*/ 186119 h 371762"/>
                <a:gd name="connsiteX5" fmla="*/ 186227 w 371497"/>
                <a:gd name="connsiteY5" fmla="*/ 83154 h 371762"/>
                <a:gd name="connsiteX6" fmla="*/ 173273 w 371497"/>
                <a:gd name="connsiteY6" fmla="*/ 92583 h 371762"/>
                <a:gd name="connsiteX7" fmla="*/ 160128 w 371497"/>
                <a:gd name="connsiteY7" fmla="*/ 111062 h 371762"/>
                <a:gd name="connsiteX8" fmla="*/ 155556 w 371497"/>
                <a:gd name="connsiteY8" fmla="*/ 113443 h 371762"/>
                <a:gd name="connsiteX9" fmla="*/ 130887 w 371497"/>
                <a:gd name="connsiteY9" fmla="*/ 152496 h 371762"/>
                <a:gd name="connsiteX10" fmla="*/ 153175 w 371497"/>
                <a:gd name="connsiteY10" fmla="*/ 187071 h 371762"/>
                <a:gd name="connsiteX11" fmla="*/ 184227 w 371497"/>
                <a:gd name="connsiteY11" fmla="*/ 200692 h 371762"/>
                <a:gd name="connsiteX12" fmla="*/ 201943 w 371497"/>
                <a:gd name="connsiteY12" fmla="*/ 222123 h 371762"/>
                <a:gd name="connsiteX13" fmla="*/ 179178 w 371497"/>
                <a:gd name="connsiteY13" fmla="*/ 235458 h 371762"/>
                <a:gd name="connsiteX14" fmla="*/ 146031 w 371497"/>
                <a:gd name="connsiteY14" fmla="*/ 228696 h 371762"/>
                <a:gd name="connsiteX15" fmla="*/ 136125 w 371497"/>
                <a:gd name="connsiteY15" fmla="*/ 231648 h 371762"/>
                <a:gd name="connsiteX16" fmla="*/ 130982 w 371497"/>
                <a:gd name="connsiteY16" fmla="*/ 247269 h 371762"/>
                <a:gd name="connsiteX17" fmla="*/ 135078 w 371497"/>
                <a:gd name="connsiteY17" fmla="*/ 256318 h 371762"/>
                <a:gd name="connsiteX18" fmla="*/ 157652 w 371497"/>
                <a:gd name="connsiteY18" fmla="*/ 263462 h 371762"/>
                <a:gd name="connsiteX19" fmla="*/ 172225 w 371497"/>
                <a:gd name="connsiteY19" fmla="*/ 278988 h 371762"/>
                <a:gd name="connsiteX20" fmla="*/ 184703 w 371497"/>
                <a:gd name="connsiteY20" fmla="*/ 288894 h 371762"/>
                <a:gd name="connsiteX21" fmla="*/ 197467 w 371497"/>
                <a:gd name="connsiteY21" fmla="*/ 279083 h 371762"/>
                <a:gd name="connsiteX22" fmla="*/ 213564 w 371497"/>
                <a:gd name="connsiteY22" fmla="*/ 257842 h 371762"/>
                <a:gd name="connsiteX23" fmla="*/ 242139 w 371497"/>
                <a:gd name="connsiteY23" fmla="*/ 221457 h 371762"/>
                <a:gd name="connsiteX24" fmla="*/ 220612 w 371497"/>
                <a:gd name="connsiteY24" fmla="*/ 178975 h 371762"/>
                <a:gd name="connsiteX25" fmla="*/ 178321 w 371497"/>
                <a:gd name="connsiteY25" fmla="*/ 157925 h 371762"/>
                <a:gd name="connsiteX26" fmla="*/ 172035 w 371497"/>
                <a:gd name="connsiteY26" fmla="*/ 144780 h 371762"/>
                <a:gd name="connsiteX27" fmla="*/ 182227 w 371497"/>
                <a:gd name="connsiteY27" fmla="*/ 135732 h 371762"/>
                <a:gd name="connsiteX28" fmla="*/ 218898 w 371497"/>
                <a:gd name="connsiteY28" fmla="*/ 138875 h 371762"/>
                <a:gd name="connsiteX29" fmla="*/ 229756 w 371497"/>
                <a:gd name="connsiteY29" fmla="*/ 133350 h 371762"/>
                <a:gd name="connsiteX30" fmla="*/ 231471 w 371497"/>
                <a:gd name="connsiteY30" fmla="*/ 127350 h 371762"/>
                <a:gd name="connsiteX31" fmla="*/ 220422 w 371497"/>
                <a:gd name="connsiteY31" fmla="*/ 107919 h 371762"/>
                <a:gd name="connsiteX32" fmla="*/ 211182 w 371497"/>
                <a:gd name="connsiteY32" fmla="*/ 106776 h 371762"/>
                <a:gd name="connsiteX33" fmla="*/ 199371 w 371497"/>
                <a:gd name="connsiteY33" fmla="*/ 94869 h 371762"/>
                <a:gd name="connsiteX34" fmla="*/ 186417 w 371497"/>
                <a:gd name="connsiteY34" fmla="*/ 83058 h 371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71497" h="371762">
                  <a:moveTo>
                    <a:pt x="371488" y="186119"/>
                  </a:moveTo>
                  <a:cubicBezTo>
                    <a:pt x="372060" y="287370"/>
                    <a:pt x="287954" y="372142"/>
                    <a:pt x="184894" y="371761"/>
                  </a:cubicBezTo>
                  <a:cubicBezTo>
                    <a:pt x="83738" y="371475"/>
                    <a:pt x="1252" y="287655"/>
                    <a:pt x="13" y="188405"/>
                  </a:cubicBezTo>
                  <a:cubicBezTo>
                    <a:pt x="-1225" y="84297"/>
                    <a:pt x="84690" y="286"/>
                    <a:pt x="185275" y="0"/>
                  </a:cubicBezTo>
                  <a:cubicBezTo>
                    <a:pt x="286811" y="-190"/>
                    <a:pt x="372536" y="84011"/>
                    <a:pt x="371488" y="186119"/>
                  </a:cubicBezTo>
                  <a:close/>
                  <a:moveTo>
                    <a:pt x="186227" y="83154"/>
                  </a:moveTo>
                  <a:cubicBezTo>
                    <a:pt x="179845" y="83439"/>
                    <a:pt x="172416" y="83916"/>
                    <a:pt x="173273" y="92583"/>
                  </a:cubicBezTo>
                  <a:cubicBezTo>
                    <a:pt x="174321" y="103347"/>
                    <a:pt x="169844" y="108681"/>
                    <a:pt x="160128" y="111062"/>
                  </a:cubicBezTo>
                  <a:cubicBezTo>
                    <a:pt x="158509" y="111443"/>
                    <a:pt x="157080" y="112681"/>
                    <a:pt x="155556" y="113443"/>
                  </a:cubicBezTo>
                  <a:cubicBezTo>
                    <a:pt x="139364" y="121444"/>
                    <a:pt x="131077" y="135541"/>
                    <a:pt x="130887" y="152496"/>
                  </a:cubicBezTo>
                  <a:cubicBezTo>
                    <a:pt x="130792" y="167545"/>
                    <a:pt x="138411" y="180309"/>
                    <a:pt x="153175" y="187071"/>
                  </a:cubicBezTo>
                  <a:cubicBezTo>
                    <a:pt x="163462" y="191739"/>
                    <a:pt x="173654" y="196596"/>
                    <a:pt x="184227" y="200692"/>
                  </a:cubicBezTo>
                  <a:cubicBezTo>
                    <a:pt x="195466" y="204978"/>
                    <a:pt x="203086" y="213551"/>
                    <a:pt x="201943" y="222123"/>
                  </a:cubicBezTo>
                  <a:cubicBezTo>
                    <a:pt x="200896" y="230124"/>
                    <a:pt x="191561" y="236601"/>
                    <a:pt x="179178" y="235458"/>
                  </a:cubicBezTo>
                  <a:cubicBezTo>
                    <a:pt x="168034" y="234411"/>
                    <a:pt x="157176" y="230505"/>
                    <a:pt x="146031" y="228696"/>
                  </a:cubicBezTo>
                  <a:cubicBezTo>
                    <a:pt x="142793" y="228219"/>
                    <a:pt x="137554" y="229362"/>
                    <a:pt x="136125" y="231648"/>
                  </a:cubicBezTo>
                  <a:cubicBezTo>
                    <a:pt x="133268" y="236125"/>
                    <a:pt x="131649" y="241840"/>
                    <a:pt x="130982" y="247269"/>
                  </a:cubicBezTo>
                  <a:cubicBezTo>
                    <a:pt x="130696" y="250222"/>
                    <a:pt x="132696" y="255270"/>
                    <a:pt x="135078" y="256318"/>
                  </a:cubicBezTo>
                  <a:cubicBezTo>
                    <a:pt x="142221" y="259652"/>
                    <a:pt x="149937" y="262986"/>
                    <a:pt x="157652" y="263462"/>
                  </a:cubicBezTo>
                  <a:cubicBezTo>
                    <a:pt x="168511" y="264129"/>
                    <a:pt x="173463" y="267558"/>
                    <a:pt x="172225" y="278988"/>
                  </a:cubicBezTo>
                  <a:cubicBezTo>
                    <a:pt x="171273" y="287846"/>
                    <a:pt x="178036" y="288798"/>
                    <a:pt x="184703" y="288894"/>
                  </a:cubicBezTo>
                  <a:cubicBezTo>
                    <a:pt x="191466" y="288894"/>
                    <a:pt x="198705" y="287179"/>
                    <a:pt x="197467" y="279083"/>
                  </a:cubicBezTo>
                  <a:cubicBezTo>
                    <a:pt x="195371" y="265462"/>
                    <a:pt x="203658" y="261843"/>
                    <a:pt x="213564" y="257842"/>
                  </a:cubicBezTo>
                  <a:cubicBezTo>
                    <a:pt x="229852" y="251270"/>
                    <a:pt x="239757" y="238697"/>
                    <a:pt x="242139" y="221457"/>
                  </a:cubicBezTo>
                  <a:cubicBezTo>
                    <a:pt x="244711" y="202883"/>
                    <a:pt x="236900" y="188024"/>
                    <a:pt x="220612" y="178975"/>
                  </a:cubicBezTo>
                  <a:cubicBezTo>
                    <a:pt x="206896" y="171260"/>
                    <a:pt x="191942" y="165640"/>
                    <a:pt x="178321" y="157925"/>
                  </a:cubicBezTo>
                  <a:cubicBezTo>
                    <a:pt x="174702" y="155829"/>
                    <a:pt x="171558" y="148971"/>
                    <a:pt x="172035" y="144780"/>
                  </a:cubicBezTo>
                  <a:cubicBezTo>
                    <a:pt x="172511" y="141161"/>
                    <a:pt x="178512" y="135732"/>
                    <a:pt x="182227" y="135732"/>
                  </a:cubicBezTo>
                  <a:cubicBezTo>
                    <a:pt x="194514" y="135541"/>
                    <a:pt x="207087" y="136017"/>
                    <a:pt x="218898" y="138875"/>
                  </a:cubicBezTo>
                  <a:cubicBezTo>
                    <a:pt x="226042" y="140589"/>
                    <a:pt x="228327" y="139732"/>
                    <a:pt x="229756" y="133350"/>
                  </a:cubicBezTo>
                  <a:cubicBezTo>
                    <a:pt x="230137" y="131350"/>
                    <a:pt x="230804" y="129350"/>
                    <a:pt x="231471" y="127350"/>
                  </a:cubicBezTo>
                  <a:cubicBezTo>
                    <a:pt x="235852" y="115062"/>
                    <a:pt x="233185" y="110395"/>
                    <a:pt x="220422" y="107919"/>
                  </a:cubicBezTo>
                  <a:cubicBezTo>
                    <a:pt x="217374" y="107347"/>
                    <a:pt x="214230" y="106680"/>
                    <a:pt x="211182" y="106776"/>
                  </a:cubicBezTo>
                  <a:cubicBezTo>
                    <a:pt x="202800" y="107061"/>
                    <a:pt x="198895" y="102966"/>
                    <a:pt x="199371" y="94869"/>
                  </a:cubicBezTo>
                  <a:cubicBezTo>
                    <a:pt x="199943" y="85344"/>
                    <a:pt x="194609" y="82773"/>
                    <a:pt x="186417" y="830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950AEE2-436A-B4F9-BF4E-2B6D225CE49F}"/>
                </a:ext>
              </a:extLst>
            </p:cNvPr>
            <p:cNvSpPr/>
            <p:nvPr/>
          </p:nvSpPr>
          <p:spPr>
            <a:xfrm>
              <a:off x="-938832" y="2901237"/>
              <a:ext cx="326504" cy="326814"/>
            </a:xfrm>
            <a:custGeom>
              <a:avLst/>
              <a:gdLst>
                <a:gd name="connsiteX0" fmla="*/ 200025 w 200025"/>
                <a:gd name="connsiteY0" fmla="*/ 198025 h 200215"/>
                <a:gd name="connsiteX1" fmla="*/ 188404 w 200025"/>
                <a:gd name="connsiteY1" fmla="*/ 200216 h 200215"/>
                <a:gd name="connsiteX2" fmla="*/ 12097 w 200025"/>
                <a:gd name="connsiteY2" fmla="*/ 200216 h 200215"/>
                <a:gd name="connsiteX3" fmla="*/ 0 w 200025"/>
                <a:gd name="connsiteY3" fmla="*/ 188690 h 200215"/>
                <a:gd name="connsiteX4" fmla="*/ 0 w 200025"/>
                <a:gd name="connsiteY4" fmla="*/ 7144 h 200215"/>
                <a:gd name="connsiteX5" fmla="*/ 2953 w 200025"/>
                <a:gd name="connsiteY5" fmla="*/ 0 h 200215"/>
                <a:gd name="connsiteX6" fmla="*/ 10477 w 200025"/>
                <a:gd name="connsiteY6" fmla="*/ 3810 h 200215"/>
                <a:gd name="connsiteX7" fmla="*/ 154305 w 200025"/>
                <a:gd name="connsiteY7" fmla="*/ 151067 h 200215"/>
                <a:gd name="connsiteX8" fmla="*/ 200025 w 200025"/>
                <a:gd name="connsiteY8" fmla="*/ 198025 h 20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0025" h="200215">
                  <a:moveTo>
                    <a:pt x="200025" y="198025"/>
                  </a:moveTo>
                  <a:cubicBezTo>
                    <a:pt x="193929" y="199168"/>
                    <a:pt x="191167" y="200216"/>
                    <a:pt x="188404" y="200216"/>
                  </a:cubicBezTo>
                  <a:cubicBezTo>
                    <a:pt x="129635" y="200216"/>
                    <a:pt x="70866" y="200025"/>
                    <a:pt x="12097" y="200216"/>
                  </a:cubicBezTo>
                  <a:cubicBezTo>
                    <a:pt x="3619" y="200216"/>
                    <a:pt x="0" y="197072"/>
                    <a:pt x="0" y="188690"/>
                  </a:cubicBezTo>
                  <a:cubicBezTo>
                    <a:pt x="0" y="128207"/>
                    <a:pt x="0" y="67627"/>
                    <a:pt x="0" y="7144"/>
                  </a:cubicBezTo>
                  <a:cubicBezTo>
                    <a:pt x="0" y="4763"/>
                    <a:pt x="1905" y="2381"/>
                    <a:pt x="2953" y="0"/>
                  </a:cubicBezTo>
                  <a:cubicBezTo>
                    <a:pt x="5524" y="1238"/>
                    <a:pt x="8668" y="1905"/>
                    <a:pt x="10477" y="3810"/>
                  </a:cubicBezTo>
                  <a:cubicBezTo>
                    <a:pt x="58483" y="52769"/>
                    <a:pt x="106394" y="101918"/>
                    <a:pt x="154305" y="151067"/>
                  </a:cubicBezTo>
                  <a:cubicBezTo>
                    <a:pt x="168688" y="165830"/>
                    <a:pt x="183070" y="180689"/>
                    <a:pt x="200025" y="1980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92" name="Oval 91">
            <a:extLst>
              <a:ext uri="{FF2B5EF4-FFF2-40B4-BE49-F238E27FC236}">
                <a16:creationId xmlns:a16="http://schemas.microsoft.com/office/drawing/2014/main" id="{6C517095-BCFF-EED1-68CB-B28235CCAAC0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235672" y="3588575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2AA9127D-3479-2B32-1B69-F6E5DB0642F1}"/>
              </a:ext>
            </a:extLst>
          </p:cNvPr>
          <p:cNvSpPr/>
          <p:nvPr>
            <p:custDataLst>
              <p:tags r:id="rId31"/>
            </p:custDataLst>
          </p:nvPr>
        </p:nvSpPr>
        <p:spPr>
          <a:xfrm>
            <a:off x="235672" y="4868217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1D1BF354-F740-7C69-3BD4-7DDC5233C791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2250182" y="1591281"/>
            <a:ext cx="1974755" cy="1786441"/>
            <a:chOff x="-2523141" y="2483631"/>
            <a:chExt cx="2050924" cy="1855344"/>
          </a:xfrm>
          <a:solidFill>
            <a:srgbClr val="FFFFFF">
              <a:alpha val="20000"/>
            </a:srgbClr>
          </a:solidFill>
        </p:grpSpPr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35528D5-C70B-A3A7-50E7-307D8BB54C10}"/>
                </a:ext>
              </a:extLst>
            </p:cNvPr>
            <p:cNvSpPr/>
            <p:nvPr/>
          </p:nvSpPr>
          <p:spPr>
            <a:xfrm>
              <a:off x="-1695988" y="3116120"/>
              <a:ext cx="1223771" cy="1222855"/>
            </a:xfrm>
            <a:custGeom>
              <a:avLst/>
              <a:gdLst>
                <a:gd name="connsiteX0" fmla="*/ 1110615 w 1223771"/>
                <a:gd name="connsiteY0" fmla="*/ 965586 h 1222855"/>
                <a:gd name="connsiteX1" fmla="*/ 1087660 w 1223771"/>
                <a:gd name="connsiteY1" fmla="*/ 956442 h 1222855"/>
                <a:gd name="connsiteX2" fmla="*/ 1010888 w 1223771"/>
                <a:gd name="connsiteY2" fmla="*/ 923009 h 1222855"/>
                <a:gd name="connsiteX3" fmla="*/ 991457 w 1223771"/>
                <a:gd name="connsiteY3" fmla="*/ 927486 h 1222855"/>
                <a:gd name="connsiteX4" fmla="*/ 926020 w 1223771"/>
                <a:gd name="connsiteY4" fmla="*/ 993304 h 1222855"/>
                <a:gd name="connsiteX5" fmla="*/ 922973 w 1223771"/>
                <a:gd name="connsiteY5" fmla="*/ 1004638 h 1222855"/>
                <a:gd name="connsiteX6" fmla="*/ 942689 w 1223771"/>
                <a:gd name="connsiteY6" fmla="*/ 1054644 h 1222855"/>
                <a:gd name="connsiteX7" fmla="*/ 963644 w 1223771"/>
                <a:gd name="connsiteY7" fmla="*/ 1106365 h 1222855"/>
                <a:gd name="connsiteX8" fmla="*/ 957739 w 1223771"/>
                <a:gd name="connsiteY8" fmla="*/ 1118367 h 1222855"/>
                <a:gd name="connsiteX9" fmla="*/ 880777 w 1223771"/>
                <a:gd name="connsiteY9" fmla="*/ 1163039 h 1222855"/>
                <a:gd name="connsiteX10" fmla="*/ 859060 w 1223771"/>
                <a:gd name="connsiteY10" fmla="*/ 1158181 h 1222855"/>
                <a:gd name="connsiteX11" fmla="*/ 802100 w 1223771"/>
                <a:gd name="connsiteY11" fmla="*/ 1081886 h 1222855"/>
                <a:gd name="connsiteX12" fmla="*/ 779907 w 1223771"/>
                <a:gd name="connsiteY12" fmla="*/ 1076076 h 1222855"/>
                <a:gd name="connsiteX13" fmla="*/ 722662 w 1223771"/>
                <a:gd name="connsiteY13" fmla="*/ 1093125 h 1222855"/>
                <a:gd name="connsiteX14" fmla="*/ 692277 w 1223771"/>
                <a:gd name="connsiteY14" fmla="*/ 1099412 h 1222855"/>
                <a:gd name="connsiteX15" fmla="*/ 682371 w 1223771"/>
                <a:gd name="connsiteY15" fmla="*/ 1112271 h 1222855"/>
                <a:gd name="connsiteX16" fmla="*/ 670084 w 1223771"/>
                <a:gd name="connsiteY16" fmla="*/ 1212093 h 1222855"/>
                <a:gd name="connsiteX17" fmla="*/ 658177 w 1223771"/>
                <a:gd name="connsiteY17" fmla="*/ 1222856 h 1222855"/>
                <a:gd name="connsiteX18" fmla="*/ 566833 w 1223771"/>
                <a:gd name="connsiteY18" fmla="*/ 1222856 h 1222855"/>
                <a:gd name="connsiteX19" fmla="*/ 553212 w 1223771"/>
                <a:gd name="connsiteY19" fmla="*/ 1209521 h 1222855"/>
                <a:gd name="connsiteX20" fmla="*/ 540068 w 1223771"/>
                <a:gd name="connsiteY20" fmla="*/ 1108747 h 1222855"/>
                <a:gd name="connsiteX21" fmla="*/ 533114 w 1223771"/>
                <a:gd name="connsiteY21" fmla="*/ 1100174 h 1222855"/>
                <a:gd name="connsiteX22" fmla="*/ 476726 w 1223771"/>
                <a:gd name="connsiteY22" fmla="*/ 1086744 h 1222855"/>
                <a:gd name="connsiteX23" fmla="*/ 446151 w 1223771"/>
                <a:gd name="connsiteY23" fmla="*/ 1076933 h 1222855"/>
                <a:gd name="connsiteX24" fmla="*/ 420243 w 1223771"/>
                <a:gd name="connsiteY24" fmla="*/ 1083791 h 1222855"/>
                <a:gd name="connsiteX25" fmla="*/ 363855 w 1223771"/>
                <a:gd name="connsiteY25" fmla="*/ 1159419 h 1222855"/>
                <a:gd name="connsiteX26" fmla="*/ 343567 w 1223771"/>
                <a:gd name="connsiteY26" fmla="*/ 1163325 h 1222855"/>
                <a:gd name="connsiteX27" fmla="*/ 267367 w 1223771"/>
                <a:gd name="connsiteY27" fmla="*/ 1119129 h 1222855"/>
                <a:gd name="connsiteX28" fmla="*/ 261557 w 1223771"/>
                <a:gd name="connsiteY28" fmla="*/ 1100460 h 1222855"/>
                <a:gd name="connsiteX29" fmla="*/ 299752 w 1223771"/>
                <a:gd name="connsiteY29" fmla="*/ 1011115 h 1222855"/>
                <a:gd name="connsiteX30" fmla="*/ 295466 w 1223771"/>
                <a:gd name="connsiteY30" fmla="*/ 990732 h 1222855"/>
                <a:gd name="connsiteX31" fmla="*/ 236410 w 1223771"/>
                <a:gd name="connsiteY31" fmla="*/ 932629 h 1222855"/>
                <a:gd name="connsiteX32" fmla="*/ 206978 w 1223771"/>
                <a:gd name="connsiteY32" fmla="*/ 926819 h 1222855"/>
                <a:gd name="connsiteX33" fmla="*/ 134493 w 1223771"/>
                <a:gd name="connsiteY33" fmla="*/ 957013 h 1222855"/>
                <a:gd name="connsiteX34" fmla="*/ 132493 w 1223771"/>
                <a:gd name="connsiteY34" fmla="*/ 957585 h 1222855"/>
                <a:gd name="connsiteX35" fmla="*/ 98774 w 1223771"/>
                <a:gd name="connsiteY35" fmla="*/ 946345 h 1222855"/>
                <a:gd name="connsiteX36" fmla="*/ 57817 w 1223771"/>
                <a:gd name="connsiteY36" fmla="*/ 875574 h 1222855"/>
                <a:gd name="connsiteX37" fmla="*/ 60389 w 1223771"/>
                <a:gd name="connsiteY37" fmla="*/ 863192 h 1222855"/>
                <a:gd name="connsiteX38" fmla="*/ 126492 w 1223771"/>
                <a:gd name="connsiteY38" fmla="*/ 813376 h 1222855"/>
                <a:gd name="connsiteX39" fmla="*/ 145828 w 1223771"/>
                <a:gd name="connsiteY39" fmla="*/ 797850 h 1222855"/>
                <a:gd name="connsiteX40" fmla="*/ 148495 w 1223771"/>
                <a:gd name="connsiteY40" fmla="*/ 785849 h 1222855"/>
                <a:gd name="connsiteX41" fmla="*/ 128683 w 1223771"/>
                <a:gd name="connsiteY41" fmla="*/ 715173 h 1222855"/>
                <a:gd name="connsiteX42" fmla="*/ 125349 w 1223771"/>
                <a:gd name="connsiteY42" fmla="*/ 696885 h 1222855"/>
                <a:gd name="connsiteX43" fmla="*/ 113062 w 1223771"/>
                <a:gd name="connsiteY43" fmla="*/ 683074 h 1222855"/>
                <a:gd name="connsiteX44" fmla="*/ 94678 w 1223771"/>
                <a:gd name="connsiteY44" fmla="*/ 680026 h 1222855"/>
                <a:gd name="connsiteX45" fmla="*/ 13240 w 1223771"/>
                <a:gd name="connsiteY45" fmla="*/ 670977 h 1222855"/>
                <a:gd name="connsiteX46" fmla="*/ 0 w 1223771"/>
                <a:gd name="connsiteY46" fmla="*/ 656118 h 1222855"/>
                <a:gd name="connsiteX47" fmla="*/ 95 w 1223771"/>
                <a:gd name="connsiteY47" fmla="*/ 567822 h 1222855"/>
                <a:gd name="connsiteX48" fmla="*/ 13907 w 1223771"/>
                <a:gd name="connsiteY48" fmla="*/ 552391 h 1222855"/>
                <a:gd name="connsiteX49" fmla="*/ 106680 w 1223771"/>
                <a:gd name="connsiteY49" fmla="*/ 541914 h 1222855"/>
                <a:gd name="connsiteX50" fmla="*/ 125920 w 1223771"/>
                <a:gd name="connsiteY50" fmla="*/ 523149 h 1222855"/>
                <a:gd name="connsiteX51" fmla="*/ 148304 w 1223771"/>
                <a:gd name="connsiteY51" fmla="*/ 441520 h 1222855"/>
                <a:gd name="connsiteX52" fmla="*/ 141542 w 1223771"/>
                <a:gd name="connsiteY52" fmla="*/ 421327 h 1222855"/>
                <a:gd name="connsiteX53" fmla="*/ 63436 w 1223771"/>
                <a:gd name="connsiteY53" fmla="*/ 363225 h 1222855"/>
                <a:gd name="connsiteX54" fmla="*/ 60103 w 1223771"/>
                <a:gd name="connsiteY54" fmla="*/ 343222 h 1222855"/>
                <a:gd name="connsiteX55" fmla="*/ 104680 w 1223771"/>
                <a:gd name="connsiteY55" fmla="*/ 266165 h 1222855"/>
                <a:gd name="connsiteX56" fmla="*/ 120586 w 1223771"/>
                <a:gd name="connsiteY56" fmla="*/ 259783 h 1222855"/>
                <a:gd name="connsiteX57" fmla="*/ 180403 w 1223771"/>
                <a:gd name="connsiteY57" fmla="*/ 285882 h 1222855"/>
                <a:gd name="connsiteX58" fmla="*/ 210788 w 1223771"/>
                <a:gd name="connsiteY58" fmla="*/ 298931 h 1222855"/>
                <a:gd name="connsiteX59" fmla="*/ 234696 w 1223771"/>
                <a:gd name="connsiteY59" fmla="*/ 293121 h 1222855"/>
                <a:gd name="connsiteX60" fmla="*/ 294132 w 1223771"/>
                <a:gd name="connsiteY60" fmla="*/ 233875 h 1222855"/>
                <a:gd name="connsiteX61" fmla="*/ 299085 w 1223771"/>
                <a:gd name="connsiteY61" fmla="*/ 211015 h 1222855"/>
                <a:gd name="connsiteX62" fmla="*/ 260985 w 1223771"/>
                <a:gd name="connsiteY62" fmla="*/ 121480 h 1222855"/>
                <a:gd name="connsiteX63" fmla="*/ 266605 w 1223771"/>
                <a:gd name="connsiteY63" fmla="*/ 105288 h 1222855"/>
                <a:gd name="connsiteX64" fmla="*/ 344234 w 1223771"/>
                <a:gd name="connsiteY64" fmla="*/ 59758 h 1222855"/>
                <a:gd name="connsiteX65" fmla="*/ 363284 w 1223771"/>
                <a:gd name="connsiteY65" fmla="*/ 63663 h 1222855"/>
                <a:gd name="connsiteX66" fmla="*/ 424910 w 1223771"/>
                <a:gd name="connsiteY66" fmla="*/ 144435 h 1222855"/>
                <a:gd name="connsiteX67" fmla="*/ 438817 w 1223771"/>
                <a:gd name="connsiteY67" fmla="*/ 149007 h 1222855"/>
                <a:gd name="connsiteX68" fmla="*/ 524447 w 1223771"/>
                <a:gd name="connsiteY68" fmla="*/ 125766 h 1222855"/>
                <a:gd name="connsiteX69" fmla="*/ 540829 w 1223771"/>
                <a:gd name="connsiteY69" fmla="*/ 107478 h 1222855"/>
                <a:gd name="connsiteX70" fmla="*/ 553974 w 1223771"/>
                <a:gd name="connsiteY70" fmla="*/ 8799 h 1222855"/>
                <a:gd name="connsiteX71" fmla="*/ 563118 w 1223771"/>
                <a:gd name="connsiteY71" fmla="*/ 513 h 1222855"/>
                <a:gd name="connsiteX72" fmla="*/ 659701 w 1223771"/>
                <a:gd name="connsiteY72" fmla="*/ 417 h 1222855"/>
                <a:gd name="connsiteX73" fmla="*/ 669036 w 1223771"/>
                <a:gd name="connsiteY73" fmla="*/ 8418 h 1222855"/>
                <a:gd name="connsiteX74" fmla="*/ 681895 w 1223771"/>
                <a:gd name="connsiteY74" fmla="*/ 107097 h 1222855"/>
                <a:gd name="connsiteX75" fmla="*/ 696468 w 1223771"/>
                <a:gd name="connsiteY75" fmla="*/ 124719 h 1222855"/>
                <a:gd name="connsiteX76" fmla="*/ 784098 w 1223771"/>
                <a:gd name="connsiteY76" fmla="*/ 148912 h 1222855"/>
                <a:gd name="connsiteX77" fmla="*/ 799338 w 1223771"/>
                <a:gd name="connsiteY77" fmla="*/ 144531 h 1222855"/>
                <a:gd name="connsiteX78" fmla="*/ 860869 w 1223771"/>
                <a:gd name="connsiteY78" fmla="*/ 62520 h 1222855"/>
                <a:gd name="connsiteX79" fmla="*/ 876681 w 1223771"/>
                <a:gd name="connsiteY79" fmla="*/ 58139 h 1222855"/>
                <a:gd name="connsiteX80" fmla="*/ 960787 w 1223771"/>
                <a:gd name="connsiteY80" fmla="*/ 107097 h 1222855"/>
                <a:gd name="connsiteX81" fmla="*/ 963740 w 1223771"/>
                <a:gd name="connsiteY81" fmla="*/ 115956 h 1222855"/>
                <a:gd name="connsiteX82" fmla="*/ 935545 w 1223771"/>
                <a:gd name="connsiteY82" fmla="*/ 184917 h 1222855"/>
                <a:gd name="connsiteX83" fmla="*/ 923258 w 1223771"/>
                <a:gd name="connsiteY83" fmla="*/ 215587 h 1222855"/>
                <a:gd name="connsiteX84" fmla="*/ 927068 w 1223771"/>
                <a:gd name="connsiteY84" fmla="*/ 230923 h 1222855"/>
                <a:gd name="connsiteX85" fmla="*/ 992791 w 1223771"/>
                <a:gd name="connsiteY85" fmla="*/ 296931 h 1222855"/>
                <a:gd name="connsiteX86" fmla="*/ 1013651 w 1223771"/>
                <a:gd name="connsiteY86" fmla="*/ 298455 h 1222855"/>
                <a:gd name="connsiteX87" fmla="*/ 1104900 w 1223771"/>
                <a:gd name="connsiteY87" fmla="*/ 259402 h 1222855"/>
                <a:gd name="connsiteX88" fmla="*/ 1117664 w 1223771"/>
                <a:gd name="connsiteY88" fmla="*/ 263974 h 1222855"/>
                <a:gd name="connsiteX89" fmla="*/ 1164908 w 1223771"/>
                <a:gd name="connsiteY89" fmla="*/ 345413 h 1222855"/>
                <a:gd name="connsiteX90" fmla="*/ 1159954 w 1223771"/>
                <a:gd name="connsiteY90" fmla="*/ 362939 h 1222855"/>
                <a:gd name="connsiteX91" fmla="*/ 1091184 w 1223771"/>
                <a:gd name="connsiteY91" fmla="*/ 414564 h 1222855"/>
                <a:gd name="connsiteX92" fmla="*/ 1089469 w 1223771"/>
                <a:gd name="connsiteY92" fmla="*/ 415707 h 1222855"/>
                <a:gd name="connsiteX93" fmla="*/ 1079183 w 1223771"/>
                <a:gd name="connsiteY93" fmla="*/ 451140 h 1222855"/>
                <a:gd name="connsiteX94" fmla="*/ 1097090 w 1223771"/>
                <a:gd name="connsiteY94" fmla="*/ 522292 h 1222855"/>
                <a:gd name="connsiteX95" fmla="*/ 1117092 w 1223771"/>
                <a:gd name="connsiteY95" fmla="*/ 541438 h 1222855"/>
                <a:gd name="connsiteX96" fmla="*/ 1208723 w 1223771"/>
                <a:gd name="connsiteY96" fmla="*/ 551915 h 1222855"/>
                <a:gd name="connsiteX97" fmla="*/ 1223772 w 1223771"/>
                <a:gd name="connsiteY97" fmla="*/ 569250 h 1222855"/>
                <a:gd name="connsiteX98" fmla="*/ 1223772 w 1223771"/>
                <a:gd name="connsiteY98" fmla="*/ 654404 h 1222855"/>
                <a:gd name="connsiteX99" fmla="*/ 1208913 w 1223771"/>
                <a:gd name="connsiteY99" fmla="*/ 670597 h 1222855"/>
                <a:gd name="connsiteX100" fmla="*/ 1114139 w 1223771"/>
                <a:gd name="connsiteY100" fmla="*/ 681741 h 1222855"/>
                <a:gd name="connsiteX101" fmla="*/ 1097280 w 1223771"/>
                <a:gd name="connsiteY101" fmla="*/ 698314 h 1222855"/>
                <a:gd name="connsiteX102" fmla="*/ 1075849 w 1223771"/>
                <a:gd name="connsiteY102" fmla="*/ 779086 h 1222855"/>
                <a:gd name="connsiteX103" fmla="*/ 1083564 w 1223771"/>
                <a:gd name="connsiteY103" fmla="*/ 802708 h 1222855"/>
                <a:gd name="connsiteX104" fmla="*/ 1159097 w 1223771"/>
                <a:gd name="connsiteY104" fmla="*/ 859096 h 1222855"/>
                <a:gd name="connsiteX105" fmla="*/ 1161478 w 1223771"/>
                <a:gd name="connsiteY105" fmla="*/ 881194 h 1222855"/>
                <a:gd name="connsiteX106" fmla="*/ 1117854 w 1223771"/>
                <a:gd name="connsiteY106" fmla="*/ 957585 h 1222855"/>
                <a:gd name="connsiteX107" fmla="*/ 1110425 w 1223771"/>
                <a:gd name="connsiteY107" fmla="*/ 965490 h 1222855"/>
                <a:gd name="connsiteX108" fmla="*/ 610743 w 1223771"/>
                <a:gd name="connsiteY108" fmla="*/ 764132 h 1222855"/>
                <a:gd name="connsiteX109" fmla="*/ 763810 w 1223771"/>
                <a:gd name="connsiteY109" fmla="*/ 613827 h 1222855"/>
                <a:gd name="connsiteX110" fmla="*/ 613124 w 1223771"/>
                <a:gd name="connsiteY110" fmla="*/ 458951 h 1222855"/>
                <a:gd name="connsiteX111" fmla="*/ 459676 w 1223771"/>
                <a:gd name="connsiteY111" fmla="*/ 610780 h 1222855"/>
                <a:gd name="connsiteX112" fmla="*/ 610743 w 1223771"/>
                <a:gd name="connsiteY112" fmla="*/ 764037 h 1222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1223771" h="1222855">
                  <a:moveTo>
                    <a:pt x="1110615" y="965586"/>
                  </a:moveTo>
                  <a:cubicBezTo>
                    <a:pt x="1101661" y="962061"/>
                    <a:pt x="1094613" y="959394"/>
                    <a:pt x="1087660" y="956442"/>
                  </a:cubicBezTo>
                  <a:cubicBezTo>
                    <a:pt x="1062037" y="945393"/>
                    <a:pt x="1036510" y="934153"/>
                    <a:pt x="1010888" y="923009"/>
                  </a:cubicBezTo>
                  <a:cubicBezTo>
                    <a:pt x="1003268" y="919675"/>
                    <a:pt x="997363" y="921390"/>
                    <a:pt x="991457" y="927486"/>
                  </a:cubicBezTo>
                  <a:cubicBezTo>
                    <a:pt x="969835" y="949584"/>
                    <a:pt x="947547" y="971110"/>
                    <a:pt x="926020" y="993304"/>
                  </a:cubicBezTo>
                  <a:cubicBezTo>
                    <a:pt x="923544" y="995875"/>
                    <a:pt x="921829" y="1001590"/>
                    <a:pt x="922973" y="1004638"/>
                  </a:cubicBezTo>
                  <a:cubicBezTo>
                    <a:pt x="928973" y="1021498"/>
                    <a:pt x="935926" y="1038071"/>
                    <a:pt x="942689" y="1054644"/>
                  </a:cubicBezTo>
                  <a:cubicBezTo>
                    <a:pt x="949738" y="1071885"/>
                    <a:pt x="957358" y="1088839"/>
                    <a:pt x="963644" y="1106365"/>
                  </a:cubicBezTo>
                  <a:cubicBezTo>
                    <a:pt x="964692" y="1109413"/>
                    <a:pt x="961073" y="1116366"/>
                    <a:pt x="957739" y="1118367"/>
                  </a:cubicBezTo>
                  <a:cubicBezTo>
                    <a:pt x="932307" y="1133702"/>
                    <a:pt x="906494" y="1148180"/>
                    <a:pt x="880777" y="1163039"/>
                  </a:cubicBezTo>
                  <a:cubicBezTo>
                    <a:pt x="871918" y="1168182"/>
                    <a:pt x="865632" y="1167421"/>
                    <a:pt x="859060" y="1158181"/>
                  </a:cubicBezTo>
                  <a:cubicBezTo>
                    <a:pt x="840581" y="1132368"/>
                    <a:pt x="821055" y="1107318"/>
                    <a:pt x="802100" y="1081886"/>
                  </a:cubicBezTo>
                  <a:cubicBezTo>
                    <a:pt x="796004" y="1073694"/>
                    <a:pt x="790956" y="1071408"/>
                    <a:pt x="779907" y="1076076"/>
                  </a:cubicBezTo>
                  <a:cubicBezTo>
                    <a:pt x="761714" y="1083791"/>
                    <a:pt x="741902" y="1087982"/>
                    <a:pt x="722662" y="1093125"/>
                  </a:cubicBezTo>
                  <a:cubicBezTo>
                    <a:pt x="712660" y="1095792"/>
                    <a:pt x="702469" y="1097316"/>
                    <a:pt x="692277" y="1099412"/>
                  </a:cubicBezTo>
                  <a:cubicBezTo>
                    <a:pt x="685324" y="1100841"/>
                    <a:pt x="683133" y="1105794"/>
                    <a:pt x="682371" y="1112271"/>
                  </a:cubicBezTo>
                  <a:cubicBezTo>
                    <a:pt x="678275" y="1145513"/>
                    <a:pt x="673799" y="1178755"/>
                    <a:pt x="670084" y="1212093"/>
                  </a:cubicBezTo>
                  <a:cubicBezTo>
                    <a:pt x="669131" y="1220094"/>
                    <a:pt x="665702" y="1222856"/>
                    <a:pt x="658177" y="1222856"/>
                  </a:cubicBezTo>
                  <a:cubicBezTo>
                    <a:pt x="627698" y="1222666"/>
                    <a:pt x="597218" y="1222475"/>
                    <a:pt x="566833" y="1222856"/>
                  </a:cubicBezTo>
                  <a:cubicBezTo>
                    <a:pt x="557117" y="1222856"/>
                    <a:pt x="554260" y="1219141"/>
                    <a:pt x="553212" y="1209521"/>
                  </a:cubicBezTo>
                  <a:cubicBezTo>
                    <a:pt x="549593" y="1175802"/>
                    <a:pt x="544925" y="1142274"/>
                    <a:pt x="540068" y="1108747"/>
                  </a:cubicBezTo>
                  <a:cubicBezTo>
                    <a:pt x="539591" y="1105508"/>
                    <a:pt x="536067" y="1100936"/>
                    <a:pt x="533114" y="1100174"/>
                  </a:cubicBezTo>
                  <a:cubicBezTo>
                    <a:pt x="514445" y="1095221"/>
                    <a:pt x="495491" y="1091506"/>
                    <a:pt x="476726" y="1086744"/>
                  </a:cubicBezTo>
                  <a:cubicBezTo>
                    <a:pt x="466344" y="1084172"/>
                    <a:pt x="456057" y="1080933"/>
                    <a:pt x="446151" y="1076933"/>
                  </a:cubicBezTo>
                  <a:cubicBezTo>
                    <a:pt x="431483" y="1071027"/>
                    <a:pt x="429673" y="1071218"/>
                    <a:pt x="420243" y="1083791"/>
                  </a:cubicBezTo>
                  <a:cubicBezTo>
                    <a:pt x="401384" y="1108937"/>
                    <a:pt x="381952" y="1133702"/>
                    <a:pt x="363855" y="1159419"/>
                  </a:cubicBezTo>
                  <a:cubicBezTo>
                    <a:pt x="357283" y="1168754"/>
                    <a:pt x="350710" y="1167325"/>
                    <a:pt x="343567" y="1163325"/>
                  </a:cubicBezTo>
                  <a:cubicBezTo>
                    <a:pt x="318040" y="1148847"/>
                    <a:pt x="292894" y="1133607"/>
                    <a:pt x="267367" y="1119129"/>
                  </a:cubicBezTo>
                  <a:cubicBezTo>
                    <a:pt x="258890" y="1114366"/>
                    <a:pt x="258127" y="1108556"/>
                    <a:pt x="261557" y="1100460"/>
                  </a:cubicBezTo>
                  <a:cubicBezTo>
                    <a:pt x="274320" y="1070742"/>
                    <a:pt x="286798" y="1040738"/>
                    <a:pt x="299752" y="1011115"/>
                  </a:cubicBezTo>
                  <a:cubicBezTo>
                    <a:pt x="303371" y="1002829"/>
                    <a:pt x="303181" y="997685"/>
                    <a:pt x="295466" y="990732"/>
                  </a:cubicBezTo>
                  <a:cubicBezTo>
                    <a:pt x="274987" y="972253"/>
                    <a:pt x="255556" y="952536"/>
                    <a:pt x="236410" y="932629"/>
                  </a:cubicBezTo>
                  <a:cubicBezTo>
                    <a:pt x="223266" y="919104"/>
                    <a:pt x="224028" y="919294"/>
                    <a:pt x="206978" y="926819"/>
                  </a:cubicBezTo>
                  <a:cubicBezTo>
                    <a:pt x="183070" y="937392"/>
                    <a:pt x="158686" y="947012"/>
                    <a:pt x="134493" y="957013"/>
                  </a:cubicBezTo>
                  <a:cubicBezTo>
                    <a:pt x="133826" y="957299"/>
                    <a:pt x="133159" y="957394"/>
                    <a:pt x="132493" y="957585"/>
                  </a:cubicBezTo>
                  <a:cubicBezTo>
                    <a:pt x="110776" y="965300"/>
                    <a:pt x="110395" y="965586"/>
                    <a:pt x="98774" y="946345"/>
                  </a:cubicBezTo>
                  <a:cubicBezTo>
                    <a:pt x="84773" y="923009"/>
                    <a:pt x="71533" y="899101"/>
                    <a:pt x="57817" y="875574"/>
                  </a:cubicBezTo>
                  <a:cubicBezTo>
                    <a:pt x="54769" y="870336"/>
                    <a:pt x="55626" y="866716"/>
                    <a:pt x="60389" y="863192"/>
                  </a:cubicBezTo>
                  <a:cubicBezTo>
                    <a:pt x="82486" y="846618"/>
                    <a:pt x="104489" y="829950"/>
                    <a:pt x="126492" y="813376"/>
                  </a:cubicBezTo>
                  <a:cubicBezTo>
                    <a:pt x="133064" y="808328"/>
                    <a:pt x="140208" y="803756"/>
                    <a:pt x="145828" y="797850"/>
                  </a:cubicBezTo>
                  <a:cubicBezTo>
                    <a:pt x="148304" y="795279"/>
                    <a:pt x="149447" y="789468"/>
                    <a:pt x="148495" y="785849"/>
                  </a:cubicBezTo>
                  <a:cubicBezTo>
                    <a:pt x="142303" y="762227"/>
                    <a:pt x="135255" y="738796"/>
                    <a:pt x="128683" y="715173"/>
                  </a:cubicBezTo>
                  <a:cubicBezTo>
                    <a:pt x="127064" y="709173"/>
                    <a:pt x="125444" y="702982"/>
                    <a:pt x="125349" y="696885"/>
                  </a:cubicBezTo>
                  <a:cubicBezTo>
                    <a:pt x="125158" y="688218"/>
                    <a:pt x="121063" y="684313"/>
                    <a:pt x="113062" y="683074"/>
                  </a:cubicBezTo>
                  <a:cubicBezTo>
                    <a:pt x="106870" y="682122"/>
                    <a:pt x="100775" y="680693"/>
                    <a:pt x="94678" y="680026"/>
                  </a:cubicBezTo>
                  <a:cubicBezTo>
                    <a:pt x="67532" y="676883"/>
                    <a:pt x="40481" y="673644"/>
                    <a:pt x="13240" y="670977"/>
                  </a:cubicBezTo>
                  <a:cubicBezTo>
                    <a:pt x="3620" y="670025"/>
                    <a:pt x="0" y="665358"/>
                    <a:pt x="0" y="656118"/>
                  </a:cubicBezTo>
                  <a:cubicBezTo>
                    <a:pt x="191" y="626686"/>
                    <a:pt x="286" y="597254"/>
                    <a:pt x="95" y="567822"/>
                  </a:cubicBezTo>
                  <a:cubicBezTo>
                    <a:pt x="95" y="558201"/>
                    <a:pt x="3715" y="553439"/>
                    <a:pt x="13907" y="552391"/>
                  </a:cubicBezTo>
                  <a:cubicBezTo>
                    <a:pt x="44863" y="549343"/>
                    <a:pt x="75724" y="545343"/>
                    <a:pt x="106680" y="541914"/>
                  </a:cubicBezTo>
                  <a:cubicBezTo>
                    <a:pt x="121634" y="540294"/>
                    <a:pt x="122587" y="537627"/>
                    <a:pt x="125920" y="523149"/>
                  </a:cubicBezTo>
                  <a:cubicBezTo>
                    <a:pt x="132207" y="495622"/>
                    <a:pt x="140017" y="468476"/>
                    <a:pt x="148304" y="441520"/>
                  </a:cubicBezTo>
                  <a:cubicBezTo>
                    <a:pt x="151257" y="431995"/>
                    <a:pt x="148876" y="426756"/>
                    <a:pt x="141542" y="421327"/>
                  </a:cubicBezTo>
                  <a:cubicBezTo>
                    <a:pt x="115348" y="402182"/>
                    <a:pt x="89344" y="382751"/>
                    <a:pt x="63436" y="363225"/>
                  </a:cubicBezTo>
                  <a:cubicBezTo>
                    <a:pt x="56198" y="357795"/>
                    <a:pt x="54388" y="352461"/>
                    <a:pt x="60103" y="343222"/>
                  </a:cubicBezTo>
                  <a:cubicBezTo>
                    <a:pt x="75819" y="318076"/>
                    <a:pt x="90011" y="291978"/>
                    <a:pt x="104680" y="266165"/>
                  </a:cubicBezTo>
                  <a:cubicBezTo>
                    <a:pt x="108394" y="259688"/>
                    <a:pt x="112585" y="256164"/>
                    <a:pt x="120586" y="259783"/>
                  </a:cubicBezTo>
                  <a:cubicBezTo>
                    <a:pt x="140399" y="268737"/>
                    <a:pt x="160401" y="277214"/>
                    <a:pt x="180403" y="285882"/>
                  </a:cubicBezTo>
                  <a:cubicBezTo>
                    <a:pt x="190500" y="290263"/>
                    <a:pt x="200692" y="294359"/>
                    <a:pt x="210788" y="298931"/>
                  </a:cubicBezTo>
                  <a:cubicBezTo>
                    <a:pt x="222599" y="304265"/>
                    <a:pt x="225742" y="302455"/>
                    <a:pt x="234696" y="293121"/>
                  </a:cubicBezTo>
                  <a:cubicBezTo>
                    <a:pt x="253936" y="272832"/>
                    <a:pt x="273749" y="253020"/>
                    <a:pt x="294132" y="233875"/>
                  </a:cubicBezTo>
                  <a:cubicBezTo>
                    <a:pt x="301752" y="226731"/>
                    <a:pt x="304038" y="221683"/>
                    <a:pt x="299085" y="211015"/>
                  </a:cubicBezTo>
                  <a:cubicBezTo>
                    <a:pt x="285369" y="181678"/>
                    <a:pt x="273558" y="151389"/>
                    <a:pt x="260985" y="121480"/>
                  </a:cubicBezTo>
                  <a:cubicBezTo>
                    <a:pt x="258032" y="114432"/>
                    <a:pt x="259175" y="109574"/>
                    <a:pt x="266605" y="105288"/>
                  </a:cubicBezTo>
                  <a:cubicBezTo>
                    <a:pt x="292703" y="90429"/>
                    <a:pt x="318230" y="74712"/>
                    <a:pt x="344234" y="59758"/>
                  </a:cubicBezTo>
                  <a:cubicBezTo>
                    <a:pt x="351092" y="55853"/>
                    <a:pt x="356902" y="54710"/>
                    <a:pt x="363284" y="63663"/>
                  </a:cubicBezTo>
                  <a:cubicBezTo>
                    <a:pt x="382905" y="91286"/>
                    <a:pt x="403765" y="117956"/>
                    <a:pt x="424910" y="144435"/>
                  </a:cubicBezTo>
                  <a:cubicBezTo>
                    <a:pt x="427482" y="147769"/>
                    <a:pt x="434721" y="150055"/>
                    <a:pt x="438817" y="149007"/>
                  </a:cubicBezTo>
                  <a:cubicBezTo>
                    <a:pt x="467487" y="141673"/>
                    <a:pt x="495776" y="132815"/>
                    <a:pt x="524447" y="125766"/>
                  </a:cubicBezTo>
                  <a:cubicBezTo>
                    <a:pt x="535210" y="123099"/>
                    <a:pt x="539686" y="119004"/>
                    <a:pt x="540829" y="107478"/>
                  </a:cubicBezTo>
                  <a:cubicBezTo>
                    <a:pt x="544163" y="74522"/>
                    <a:pt x="549021" y="41661"/>
                    <a:pt x="553974" y="8799"/>
                  </a:cubicBezTo>
                  <a:cubicBezTo>
                    <a:pt x="554450" y="5561"/>
                    <a:pt x="559879" y="608"/>
                    <a:pt x="563118" y="513"/>
                  </a:cubicBezTo>
                  <a:cubicBezTo>
                    <a:pt x="595312" y="-154"/>
                    <a:pt x="627507" y="-154"/>
                    <a:pt x="659701" y="417"/>
                  </a:cubicBezTo>
                  <a:cubicBezTo>
                    <a:pt x="663035" y="417"/>
                    <a:pt x="668655" y="5275"/>
                    <a:pt x="669036" y="8418"/>
                  </a:cubicBezTo>
                  <a:cubicBezTo>
                    <a:pt x="673894" y="41280"/>
                    <a:pt x="678370" y="74141"/>
                    <a:pt x="681895" y="107097"/>
                  </a:cubicBezTo>
                  <a:cubicBezTo>
                    <a:pt x="682943" y="117289"/>
                    <a:pt x="686086" y="122147"/>
                    <a:pt x="696468" y="124719"/>
                  </a:cubicBezTo>
                  <a:cubicBezTo>
                    <a:pt x="725900" y="132053"/>
                    <a:pt x="754951" y="140625"/>
                    <a:pt x="784098" y="148912"/>
                  </a:cubicBezTo>
                  <a:cubicBezTo>
                    <a:pt x="790384" y="150722"/>
                    <a:pt x="794861" y="150436"/>
                    <a:pt x="799338" y="144531"/>
                  </a:cubicBezTo>
                  <a:cubicBezTo>
                    <a:pt x="819626" y="117003"/>
                    <a:pt x="840486" y="89857"/>
                    <a:pt x="860869" y="62520"/>
                  </a:cubicBezTo>
                  <a:cubicBezTo>
                    <a:pt x="865251" y="56710"/>
                    <a:pt x="869918" y="54234"/>
                    <a:pt x="876681" y="58139"/>
                  </a:cubicBezTo>
                  <a:cubicBezTo>
                    <a:pt x="904780" y="74427"/>
                    <a:pt x="932974" y="90524"/>
                    <a:pt x="960787" y="107097"/>
                  </a:cubicBezTo>
                  <a:cubicBezTo>
                    <a:pt x="962882" y="108336"/>
                    <a:pt x="964692" y="113670"/>
                    <a:pt x="963740" y="115956"/>
                  </a:cubicBezTo>
                  <a:cubicBezTo>
                    <a:pt x="954691" y="139102"/>
                    <a:pt x="944975" y="161961"/>
                    <a:pt x="935545" y="184917"/>
                  </a:cubicBezTo>
                  <a:cubicBezTo>
                    <a:pt x="931354" y="195108"/>
                    <a:pt x="926211" y="205014"/>
                    <a:pt x="923258" y="215587"/>
                  </a:cubicBezTo>
                  <a:cubicBezTo>
                    <a:pt x="922020" y="220159"/>
                    <a:pt x="923830" y="227589"/>
                    <a:pt x="927068" y="230923"/>
                  </a:cubicBezTo>
                  <a:cubicBezTo>
                    <a:pt x="948595" y="253306"/>
                    <a:pt x="971074" y="274737"/>
                    <a:pt x="992791" y="296931"/>
                  </a:cubicBezTo>
                  <a:cubicBezTo>
                    <a:pt x="999839" y="304170"/>
                    <a:pt x="1006697" y="301407"/>
                    <a:pt x="1013651" y="298455"/>
                  </a:cubicBezTo>
                  <a:cubicBezTo>
                    <a:pt x="1044131" y="285596"/>
                    <a:pt x="1074515" y="272356"/>
                    <a:pt x="1104900" y="259402"/>
                  </a:cubicBezTo>
                  <a:cubicBezTo>
                    <a:pt x="1110329" y="257116"/>
                    <a:pt x="1114330" y="258069"/>
                    <a:pt x="1117664" y="263974"/>
                  </a:cubicBezTo>
                  <a:cubicBezTo>
                    <a:pt x="1133094" y="291311"/>
                    <a:pt x="1148906" y="318457"/>
                    <a:pt x="1164908" y="345413"/>
                  </a:cubicBezTo>
                  <a:cubicBezTo>
                    <a:pt x="1169765" y="353604"/>
                    <a:pt x="1165860" y="358462"/>
                    <a:pt x="1159954" y="362939"/>
                  </a:cubicBezTo>
                  <a:cubicBezTo>
                    <a:pt x="1137094" y="380179"/>
                    <a:pt x="1114139" y="397324"/>
                    <a:pt x="1091184" y="414564"/>
                  </a:cubicBezTo>
                  <a:cubicBezTo>
                    <a:pt x="1090612" y="414945"/>
                    <a:pt x="1090041" y="415327"/>
                    <a:pt x="1089469" y="415707"/>
                  </a:cubicBezTo>
                  <a:cubicBezTo>
                    <a:pt x="1071277" y="429519"/>
                    <a:pt x="1072325" y="429138"/>
                    <a:pt x="1079183" y="451140"/>
                  </a:cubicBezTo>
                  <a:cubicBezTo>
                    <a:pt x="1086422" y="474477"/>
                    <a:pt x="1091660" y="498480"/>
                    <a:pt x="1097090" y="522292"/>
                  </a:cubicBezTo>
                  <a:cubicBezTo>
                    <a:pt x="1100423" y="536865"/>
                    <a:pt x="1102328" y="539723"/>
                    <a:pt x="1117092" y="541438"/>
                  </a:cubicBezTo>
                  <a:cubicBezTo>
                    <a:pt x="1147667" y="545057"/>
                    <a:pt x="1178243" y="548391"/>
                    <a:pt x="1208723" y="551915"/>
                  </a:cubicBezTo>
                  <a:cubicBezTo>
                    <a:pt x="1221486" y="553344"/>
                    <a:pt x="1223772" y="556201"/>
                    <a:pt x="1223772" y="569250"/>
                  </a:cubicBezTo>
                  <a:cubicBezTo>
                    <a:pt x="1223772" y="597635"/>
                    <a:pt x="1223772" y="626019"/>
                    <a:pt x="1223772" y="654404"/>
                  </a:cubicBezTo>
                  <a:cubicBezTo>
                    <a:pt x="1223772" y="666977"/>
                    <a:pt x="1221581" y="669168"/>
                    <a:pt x="1208913" y="670597"/>
                  </a:cubicBezTo>
                  <a:cubicBezTo>
                    <a:pt x="1177290" y="674311"/>
                    <a:pt x="1145762" y="678312"/>
                    <a:pt x="1114139" y="681741"/>
                  </a:cubicBezTo>
                  <a:cubicBezTo>
                    <a:pt x="1103471" y="682884"/>
                    <a:pt x="1099661" y="689075"/>
                    <a:pt x="1097280" y="698314"/>
                  </a:cubicBezTo>
                  <a:cubicBezTo>
                    <a:pt x="1090422" y="725270"/>
                    <a:pt x="1083374" y="752226"/>
                    <a:pt x="1075849" y="779086"/>
                  </a:cubicBezTo>
                  <a:cubicBezTo>
                    <a:pt x="1073086" y="789088"/>
                    <a:pt x="1073468" y="795755"/>
                    <a:pt x="1083564" y="802708"/>
                  </a:cubicBezTo>
                  <a:cubicBezTo>
                    <a:pt x="1109377" y="820520"/>
                    <a:pt x="1134047" y="840141"/>
                    <a:pt x="1159097" y="859096"/>
                  </a:cubicBezTo>
                  <a:cubicBezTo>
                    <a:pt x="1169003" y="866526"/>
                    <a:pt x="1168908" y="868431"/>
                    <a:pt x="1161478" y="881194"/>
                  </a:cubicBezTo>
                  <a:cubicBezTo>
                    <a:pt x="1146810" y="906626"/>
                    <a:pt x="1132523" y="932248"/>
                    <a:pt x="1117854" y="957585"/>
                  </a:cubicBezTo>
                  <a:cubicBezTo>
                    <a:pt x="1116044" y="960728"/>
                    <a:pt x="1112901" y="963014"/>
                    <a:pt x="1110425" y="965490"/>
                  </a:cubicBezTo>
                  <a:close/>
                  <a:moveTo>
                    <a:pt x="610743" y="764132"/>
                  </a:moveTo>
                  <a:cubicBezTo>
                    <a:pt x="692277" y="764608"/>
                    <a:pt x="763048" y="699838"/>
                    <a:pt x="763810" y="613827"/>
                  </a:cubicBezTo>
                  <a:cubicBezTo>
                    <a:pt x="764572" y="526198"/>
                    <a:pt x="696849" y="460094"/>
                    <a:pt x="613124" y="458951"/>
                  </a:cubicBezTo>
                  <a:cubicBezTo>
                    <a:pt x="529781" y="457808"/>
                    <a:pt x="460724" y="524864"/>
                    <a:pt x="459676" y="610780"/>
                  </a:cubicBezTo>
                  <a:cubicBezTo>
                    <a:pt x="458629" y="695552"/>
                    <a:pt x="529685" y="763560"/>
                    <a:pt x="610743" y="76403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11209CF9-C148-26EE-6EC1-883BA5242106}"/>
                </a:ext>
              </a:extLst>
            </p:cNvPr>
            <p:cNvSpPr/>
            <p:nvPr/>
          </p:nvSpPr>
          <p:spPr>
            <a:xfrm>
              <a:off x="-2523141" y="3421430"/>
              <a:ext cx="917642" cy="917034"/>
            </a:xfrm>
            <a:custGeom>
              <a:avLst/>
              <a:gdLst>
                <a:gd name="connsiteX0" fmla="*/ 818200 w 917642"/>
                <a:gd name="connsiteY0" fmla="*/ 170023 h 917034"/>
                <a:gd name="connsiteX1" fmla="*/ 812771 w 917642"/>
                <a:gd name="connsiteY1" fmla="*/ 179358 h 917034"/>
                <a:gd name="connsiteX2" fmla="*/ 754382 w 917642"/>
                <a:gd name="connsiteY2" fmla="*/ 253462 h 917034"/>
                <a:gd name="connsiteX3" fmla="*/ 753334 w 917642"/>
                <a:gd name="connsiteY3" fmla="*/ 274132 h 917034"/>
                <a:gd name="connsiteX4" fmla="*/ 789434 w 917642"/>
                <a:gd name="connsiteY4" fmla="*/ 352808 h 917034"/>
                <a:gd name="connsiteX5" fmla="*/ 797054 w 917642"/>
                <a:gd name="connsiteY5" fmla="*/ 380526 h 917034"/>
                <a:gd name="connsiteX6" fmla="*/ 815152 w 917642"/>
                <a:gd name="connsiteY6" fmla="*/ 395099 h 917034"/>
                <a:gd name="connsiteX7" fmla="*/ 907639 w 917642"/>
                <a:gd name="connsiteY7" fmla="*/ 406910 h 917034"/>
                <a:gd name="connsiteX8" fmla="*/ 917546 w 917642"/>
                <a:gd name="connsiteY8" fmla="*/ 419864 h 917034"/>
                <a:gd name="connsiteX9" fmla="*/ 917641 w 917642"/>
                <a:gd name="connsiteY9" fmla="*/ 498731 h 917034"/>
                <a:gd name="connsiteX10" fmla="*/ 907925 w 917642"/>
                <a:gd name="connsiteY10" fmla="*/ 510351 h 917034"/>
                <a:gd name="connsiteX11" fmla="*/ 841060 w 917642"/>
                <a:gd name="connsiteY11" fmla="*/ 519019 h 917034"/>
                <a:gd name="connsiteX12" fmla="*/ 810294 w 917642"/>
                <a:gd name="connsiteY12" fmla="*/ 523115 h 917034"/>
                <a:gd name="connsiteX13" fmla="*/ 797054 w 917642"/>
                <a:gd name="connsiteY13" fmla="*/ 536831 h 917034"/>
                <a:gd name="connsiteX14" fmla="*/ 774194 w 917642"/>
                <a:gd name="connsiteY14" fmla="*/ 604268 h 917034"/>
                <a:gd name="connsiteX15" fmla="*/ 755239 w 917642"/>
                <a:gd name="connsiteY15" fmla="*/ 639796 h 917034"/>
                <a:gd name="connsiteX16" fmla="*/ 756382 w 917642"/>
                <a:gd name="connsiteY16" fmla="*/ 665704 h 917034"/>
                <a:gd name="connsiteX17" fmla="*/ 813151 w 917642"/>
                <a:gd name="connsiteY17" fmla="*/ 738380 h 917034"/>
                <a:gd name="connsiteX18" fmla="*/ 812389 w 917642"/>
                <a:gd name="connsiteY18" fmla="*/ 754382 h 917034"/>
                <a:gd name="connsiteX19" fmla="*/ 754287 w 917642"/>
                <a:gd name="connsiteY19" fmla="*/ 812199 h 917034"/>
                <a:gd name="connsiteX20" fmla="*/ 739047 w 917642"/>
                <a:gd name="connsiteY20" fmla="*/ 812770 h 917034"/>
                <a:gd name="connsiteX21" fmla="*/ 664942 w 917642"/>
                <a:gd name="connsiteY21" fmla="*/ 754668 h 917034"/>
                <a:gd name="connsiteX22" fmla="*/ 643988 w 917642"/>
                <a:gd name="connsiteY22" fmla="*/ 752667 h 917034"/>
                <a:gd name="connsiteX23" fmla="*/ 581980 w 917642"/>
                <a:gd name="connsiteY23" fmla="*/ 783243 h 917034"/>
                <a:gd name="connsiteX24" fmla="*/ 541594 w 917642"/>
                <a:gd name="connsiteY24" fmla="*/ 795530 h 917034"/>
                <a:gd name="connsiteX25" fmla="*/ 523210 w 917642"/>
                <a:gd name="connsiteY25" fmla="*/ 815723 h 917034"/>
                <a:gd name="connsiteX26" fmla="*/ 510352 w 917642"/>
                <a:gd name="connsiteY26" fmla="*/ 909163 h 917034"/>
                <a:gd name="connsiteX27" fmla="*/ 502922 w 917642"/>
                <a:gd name="connsiteY27" fmla="*/ 916688 h 917034"/>
                <a:gd name="connsiteX28" fmla="*/ 416721 w 917642"/>
                <a:gd name="connsiteY28" fmla="*/ 916879 h 917034"/>
                <a:gd name="connsiteX29" fmla="*/ 406910 w 917642"/>
                <a:gd name="connsiteY29" fmla="*/ 907068 h 917034"/>
                <a:gd name="connsiteX30" fmla="*/ 395861 w 917642"/>
                <a:gd name="connsiteY30" fmla="*/ 815437 h 917034"/>
                <a:gd name="connsiteX31" fmla="*/ 380431 w 917642"/>
                <a:gd name="connsiteY31" fmla="*/ 796768 h 917034"/>
                <a:gd name="connsiteX32" fmla="*/ 272989 w 917642"/>
                <a:gd name="connsiteY32" fmla="*/ 752191 h 917034"/>
                <a:gd name="connsiteX33" fmla="*/ 253272 w 917642"/>
                <a:gd name="connsiteY33" fmla="*/ 754191 h 917034"/>
                <a:gd name="connsiteX34" fmla="*/ 180882 w 917642"/>
                <a:gd name="connsiteY34" fmla="*/ 811437 h 917034"/>
                <a:gd name="connsiteX35" fmla="*/ 162213 w 917642"/>
                <a:gd name="connsiteY35" fmla="*/ 810865 h 917034"/>
                <a:gd name="connsiteX36" fmla="*/ 105825 w 917642"/>
                <a:gd name="connsiteY36" fmla="*/ 754287 h 917034"/>
                <a:gd name="connsiteX37" fmla="*/ 105539 w 917642"/>
                <a:gd name="connsiteY37" fmla="*/ 737808 h 917034"/>
                <a:gd name="connsiteX38" fmla="*/ 163451 w 917642"/>
                <a:gd name="connsiteY38" fmla="*/ 663418 h 917034"/>
                <a:gd name="connsiteX39" fmla="*/ 164499 w 917642"/>
                <a:gd name="connsiteY39" fmla="*/ 642940 h 917034"/>
                <a:gd name="connsiteX40" fmla="*/ 130971 w 917642"/>
                <a:gd name="connsiteY40" fmla="*/ 571121 h 917034"/>
                <a:gd name="connsiteX41" fmla="*/ 117731 w 917642"/>
                <a:gd name="connsiteY41" fmla="*/ 530830 h 917034"/>
                <a:gd name="connsiteX42" fmla="*/ 108206 w 917642"/>
                <a:gd name="connsiteY42" fmla="*/ 523591 h 917034"/>
                <a:gd name="connsiteX43" fmla="*/ 11623 w 917642"/>
                <a:gd name="connsiteY43" fmla="*/ 510542 h 917034"/>
                <a:gd name="connsiteX44" fmla="*/ 2 w 917642"/>
                <a:gd name="connsiteY44" fmla="*/ 498064 h 917034"/>
                <a:gd name="connsiteX45" fmla="*/ 2 w 917642"/>
                <a:gd name="connsiteY45" fmla="*/ 422341 h 917034"/>
                <a:gd name="connsiteX46" fmla="*/ 13909 w 917642"/>
                <a:gd name="connsiteY46" fmla="*/ 406243 h 917034"/>
                <a:gd name="connsiteX47" fmla="*/ 107539 w 917642"/>
                <a:gd name="connsiteY47" fmla="*/ 394432 h 917034"/>
                <a:gd name="connsiteX48" fmla="*/ 118874 w 917642"/>
                <a:gd name="connsiteY48" fmla="*/ 384717 h 917034"/>
                <a:gd name="connsiteX49" fmla="*/ 159832 w 917642"/>
                <a:gd name="connsiteY49" fmla="*/ 281275 h 917034"/>
                <a:gd name="connsiteX50" fmla="*/ 164975 w 917642"/>
                <a:gd name="connsiteY50" fmla="*/ 273560 h 917034"/>
                <a:gd name="connsiteX51" fmla="*/ 164689 w 917642"/>
                <a:gd name="connsiteY51" fmla="*/ 255463 h 917034"/>
                <a:gd name="connsiteX52" fmla="*/ 107444 w 917642"/>
                <a:gd name="connsiteY52" fmla="*/ 181739 h 917034"/>
                <a:gd name="connsiteX53" fmla="*/ 107635 w 917642"/>
                <a:gd name="connsiteY53" fmla="*/ 160403 h 917034"/>
                <a:gd name="connsiteX54" fmla="*/ 161832 w 917642"/>
                <a:gd name="connsiteY54" fmla="*/ 106111 h 917034"/>
                <a:gd name="connsiteX55" fmla="*/ 180025 w 917642"/>
                <a:gd name="connsiteY55" fmla="*/ 104967 h 917034"/>
                <a:gd name="connsiteX56" fmla="*/ 253462 w 917642"/>
                <a:gd name="connsiteY56" fmla="*/ 162499 h 917034"/>
                <a:gd name="connsiteX57" fmla="*/ 274894 w 917642"/>
                <a:gd name="connsiteY57" fmla="*/ 163546 h 917034"/>
                <a:gd name="connsiteX58" fmla="*/ 325567 w 917642"/>
                <a:gd name="connsiteY58" fmla="*/ 138210 h 917034"/>
                <a:gd name="connsiteX59" fmla="*/ 383479 w 917642"/>
                <a:gd name="connsiteY59" fmla="*/ 119255 h 917034"/>
                <a:gd name="connsiteX60" fmla="*/ 395575 w 917642"/>
                <a:gd name="connsiteY60" fmla="*/ 103824 h 917034"/>
                <a:gd name="connsiteX61" fmla="*/ 406339 w 917642"/>
                <a:gd name="connsiteY61" fmla="*/ 12194 h 917034"/>
                <a:gd name="connsiteX62" fmla="*/ 420626 w 917642"/>
                <a:gd name="connsiteY62" fmla="*/ 2 h 917034"/>
                <a:gd name="connsiteX63" fmla="*/ 498446 w 917642"/>
                <a:gd name="connsiteY63" fmla="*/ 2 h 917034"/>
                <a:gd name="connsiteX64" fmla="*/ 511114 w 917642"/>
                <a:gd name="connsiteY64" fmla="*/ 12003 h 917034"/>
                <a:gd name="connsiteX65" fmla="*/ 524258 w 917642"/>
                <a:gd name="connsiteY65" fmla="*/ 109635 h 917034"/>
                <a:gd name="connsiteX66" fmla="*/ 532735 w 917642"/>
                <a:gd name="connsiteY66" fmla="*/ 118112 h 917034"/>
                <a:gd name="connsiteX67" fmla="*/ 590552 w 917642"/>
                <a:gd name="connsiteY67" fmla="*/ 137448 h 917034"/>
                <a:gd name="connsiteX68" fmla="*/ 643130 w 917642"/>
                <a:gd name="connsiteY68" fmla="*/ 163832 h 917034"/>
                <a:gd name="connsiteX69" fmla="*/ 664752 w 917642"/>
                <a:gd name="connsiteY69" fmla="*/ 162689 h 917034"/>
                <a:gd name="connsiteX70" fmla="*/ 738856 w 917642"/>
                <a:gd name="connsiteY70" fmla="*/ 104491 h 917034"/>
                <a:gd name="connsiteX71" fmla="*/ 755239 w 917642"/>
                <a:gd name="connsiteY71" fmla="*/ 104967 h 917034"/>
                <a:gd name="connsiteX72" fmla="*/ 812199 w 917642"/>
                <a:gd name="connsiteY72" fmla="*/ 162499 h 917034"/>
                <a:gd name="connsiteX73" fmla="*/ 818200 w 917642"/>
                <a:gd name="connsiteY73" fmla="*/ 169928 h 917034"/>
                <a:gd name="connsiteX74" fmla="*/ 597982 w 917642"/>
                <a:gd name="connsiteY74" fmla="*/ 459869 h 917034"/>
                <a:gd name="connsiteX75" fmla="*/ 458917 w 917642"/>
                <a:gd name="connsiteY75" fmla="*/ 318899 h 917034"/>
                <a:gd name="connsiteX76" fmla="*/ 319566 w 917642"/>
                <a:gd name="connsiteY76" fmla="*/ 448249 h 917034"/>
                <a:gd name="connsiteX77" fmla="*/ 454630 w 917642"/>
                <a:gd name="connsiteY77" fmla="*/ 598172 h 917034"/>
                <a:gd name="connsiteX78" fmla="*/ 597982 w 917642"/>
                <a:gd name="connsiteY78" fmla="*/ 459869 h 917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917642" h="917034">
                  <a:moveTo>
                    <a:pt x="818200" y="170023"/>
                  </a:moveTo>
                  <a:cubicBezTo>
                    <a:pt x="816199" y="173548"/>
                    <a:pt x="814866" y="176786"/>
                    <a:pt x="812771" y="179358"/>
                  </a:cubicBezTo>
                  <a:cubicBezTo>
                    <a:pt x="793435" y="204123"/>
                    <a:pt x="774004" y="228888"/>
                    <a:pt x="754382" y="253462"/>
                  </a:cubicBezTo>
                  <a:cubicBezTo>
                    <a:pt x="748858" y="260320"/>
                    <a:pt x="748477" y="266607"/>
                    <a:pt x="753334" y="274132"/>
                  </a:cubicBezTo>
                  <a:cubicBezTo>
                    <a:pt x="768955" y="298706"/>
                    <a:pt x="781909" y="324519"/>
                    <a:pt x="789434" y="352808"/>
                  </a:cubicBezTo>
                  <a:cubicBezTo>
                    <a:pt x="791911" y="362047"/>
                    <a:pt x="795244" y="371191"/>
                    <a:pt x="797054" y="380526"/>
                  </a:cubicBezTo>
                  <a:cubicBezTo>
                    <a:pt x="799054" y="391003"/>
                    <a:pt x="805150" y="394051"/>
                    <a:pt x="815152" y="395099"/>
                  </a:cubicBezTo>
                  <a:cubicBezTo>
                    <a:pt x="846013" y="398528"/>
                    <a:pt x="876779" y="403100"/>
                    <a:pt x="907639" y="406910"/>
                  </a:cubicBezTo>
                  <a:cubicBezTo>
                    <a:pt x="915926" y="407958"/>
                    <a:pt x="917546" y="412816"/>
                    <a:pt x="917546" y="419864"/>
                  </a:cubicBezTo>
                  <a:cubicBezTo>
                    <a:pt x="917450" y="446153"/>
                    <a:pt x="917260" y="472442"/>
                    <a:pt x="917641" y="498731"/>
                  </a:cubicBezTo>
                  <a:cubicBezTo>
                    <a:pt x="917736" y="506160"/>
                    <a:pt x="915069" y="509494"/>
                    <a:pt x="907925" y="510351"/>
                  </a:cubicBezTo>
                  <a:cubicBezTo>
                    <a:pt x="885637" y="513114"/>
                    <a:pt x="863348" y="516066"/>
                    <a:pt x="841060" y="519019"/>
                  </a:cubicBezTo>
                  <a:cubicBezTo>
                    <a:pt x="830773" y="520353"/>
                    <a:pt x="820581" y="522067"/>
                    <a:pt x="810294" y="523115"/>
                  </a:cubicBezTo>
                  <a:cubicBezTo>
                    <a:pt x="801626" y="523972"/>
                    <a:pt x="799340" y="529878"/>
                    <a:pt x="797054" y="536831"/>
                  </a:cubicBezTo>
                  <a:cubicBezTo>
                    <a:pt x="789720" y="559405"/>
                    <a:pt x="782767" y="582170"/>
                    <a:pt x="774194" y="604268"/>
                  </a:cubicBezTo>
                  <a:cubicBezTo>
                    <a:pt x="769432" y="616746"/>
                    <a:pt x="762193" y="628271"/>
                    <a:pt x="755239" y="639796"/>
                  </a:cubicBezTo>
                  <a:cubicBezTo>
                    <a:pt x="748096" y="651702"/>
                    <a:pt x="747905" y="654846"/>
                    <a:pt x="756382" y="665704"/>
                  </a:cubicBezTo>
                  <a:cubicBezTo>
                    <a:pt x="775337" y="689898"/>
                    <a:pt x="794101" y="714282"/>
                    <a:pt x="813151" y="738380"/>
                  </a:cubicBezTo>
                  <a:cubicBezTo>
                    <a:pt x="817723" y="744190"/>
                    <a:pt x="818390" y="748667"/>
                    <a:pt x="812389" y="754382"/>
                  </a:cubicBezTo>
                  <a:cubicBezTo>
                    <a:pt x="792768" y="773337"/>
                    <a:pt x="773432" y="792673"/>
                    <a:pt x="754287" y="812199"/>
                  </a:cubicBezTo>
                  <a:cubicBezTo>
                    <a:pt x="748953" y="817628"/>
                    <a:pt x="744571" y="817057"/>
                    <a:pt x="739047" y="812770"/>
                  </a:cubicBezTo>
                  <a:cubicBezTo>
                    <a:pt x="714377" y="793339"/>
                    <a:pt x="689517" y="774099"/>
                    <a:pt x="664942" y="754668"/>
                  </a:cubicBezTo>
                  <a:cubicBezTo>
                    <a:pt x="658180" y="749239"/>
                    <a:pt x="651798" y="748572"/>
                    <a:pt x="643988" y="752667"/>
                  </a:cubicBezTo>
                  <a:cubicBezTo>
                    <a:pt x="623509" y="763240"/>
                    <a:pt x="603030" y="774099"/>
                    <a:pt x="581980" y="783243"/>
                  </a:cubicBezTo>
                  <a:cubicBezTo>
                    <a:pt x="569121" y="788863"/>
                    <a:pt x="555214" y="792196"/>
                    <a:pt x="541594" y="795530"/>
                  </a:cubicBezTo>
                  <a:cubicBezTo>
                    <a:pt x="526544" y="799245"/>
                    <a:pt x="525211" y="800388"/>
                    <a:pt x="523210" y="815723"/>
                  </a:cubicBezTo>
                  <a:cubicBezTo>
                    <a:pt x="519210" y="846870"/>
                    <a:pt x="515019" y="878112"/>
                    <a:pt x="510352" y="909163"/>
                  </a:cubicBezTo>
                  <a:cubicBezTo>
                    <a:pt x="509875" y="912116"/>
                    <a:pt x="505494" y="916593"/>
                    <a:pt x="502922" y="916688"/>
                  </a:cubicBezTo>
                  <a:cubicBezTo>
                    <a:pt x="474252" y="917164"/>
                    <a:pt x="445486" y="917069"/>
                    <a:pt x="416721" y="916879"/>
                  </a:cubicBezTo>
                  <a:cubicBezTo>
                    <a:pt x="410434" y="916879"/>
                    <a:pt x="407672" y="913164"/>
                    <a:pt x="406910" y="907068"/>
                  </a:cubicBezTo>
                  <a:cubicBezTo>
                    <a:pt x="403196" y="876492"/>
                    <a:pt x="398528" y="846108"/>
                    <a:pt x="395861" y="815437"/>
                  </a:cubicBezTo>
                  <a:cubicBezTo>
                    <a:pt x="394909" y="804198"/>
                    <a:pt x="390146" y="798768"/>
                    <a:pt x="380431" y="796768"/>
                  </a:cubicBezTo>
                  <a:cubicBezTo>
                    <a:pt x="341664" y="788863"/>
                    <a:pt x="306326" y="772860"/>
                    <a:pt x="272989" y="752191"/>
                  </a:cubicBezTo>
                  <a:cubicBezTo>
                    <a:pt x="265559" y="747524"/>
                    <a:pt x="259463" y="749334"/>
                    <a:pt x="253272" y="754191"/>
                  </a:cubicBezTo>
                  <a:cubicBezTo>
                    <a:pt x="229174" y="773241"/>
                    <a:pt x="204694" y="791910"/>
                    <a:pt x="180882" y="811437"/>
                  </a:cubicBezTo>
                  <a:cubicBezTo>
                    <a:pt x="173643" y="817342"/>
                    <a:pt x="168404" y="817247"/>
                    <a:pt x="162213" y="810865"/>
                  </a:cubicBezTo>
                  <a:cubicBezTo>
                    <a:pt x="143544" y="791910"/>
                    <a:pt x="124780" y="772956"/>
                    <a:pt x="105825" y="754287"/>
                  </a:cubicBezTo>
                  <a:cubicBezTo>
                    <a:pt x="99824" y="748381"/>
                    <a:pt x="101539" y="742952"/>
                    <a:pt x="105539" y="737808"/>
                  </a:cubicBezTo>
                  <a:cubicBezTo>
                    <a:pt x="124684" y="712853"/>
                    <a:pt x="143830" y="687993"/>
                    <a:pt x="163451" y="663418"/>
                  </a:cubicBezTo>
                  <a:cubicBezTo>
                    <a:pt x="169166" y="656275"/>
                    <a:pt x="168499" y="650845"/>
                    <a:pt x="164499" y="642940"/>
                  </a:cubicBezTo>
                  <a:cubicBezTo>
                    <a:pt x="152593" y="619413"/>
                    <a:pt x="141353" y="595410"/>
                    <a:pt x="130971" y="571121"/>
                  </a:cubicBezTo>
                  <a:cubicBezTo>
                    <a:pt x="125446" y="558167"/>
                    <a:pt x="122684" y="544070"/>
                    <a:pt x="117731" y="530830"/>
                  </a:cubicBezTo>
                  <a:cubicBezTo>
                    <a:pt x="116493" y="527592"/>
                    <a:pt x="111826" y="524067"/>
                    <a:pt x="108206" y="523591"/>
                  </a:cubicBezTo>
                  <a:cubicBezTo>
                    <a:pt x="76107" y="518829"/>
                    <a:pt x="43912" y="514542"/>
                    <a:pt x="11623" y="510542"/>
                  </a:cubicBezTo>
                  <a:cubicBezTo>
                    <a:pt x="3622" y="509590"/>
                    <a:pt x="-93" y="506351"/>
                    <a:pt x="2" y="498064"/>
                  </a:cubicBezTo>
                  <a:cubicBezTo>
                    <a:pt x="193" y="472823"/>
                    <a:pt x="288" y="447582"/>
                    <a:pt x="2" y="422341"/>
                  </a:cubicBezTo>
                  <a:cubicBezTo>
                    <a:pt x="-93" y="412339"/>
                    <a:pt x="2860" y="407386"/>
                    <a:pt x="13909" y="406243"/>
                  </a:cubicBezTo>
                  <a:cubicBezTo>
                    <a:pt x="45151" y="402909"/>
                    <a:pt x="76297" y="398242"/>
                    <a:pt x="107539" y="394432"/>
                  </a:cubicBezTo>
                  <a:cubicBezTo>
                    <a:pt x="114016" y="393670"/>
                    <a:pt x="117160" y="391099"/>
                    <a:pt x="118874" y="384717"/>
                  </a:cubicBezTo>
                  <a:cubicBezTo>
                    <a:pt x="128399" y="348617"/>
                    <a:pt x="140496" y="313470"/>
                    <a:pt x="159832" y="281275"/>
                  </a:cubicBezTo>
                  <a:cubicBezTo>
                    <a:pt x="161451" y="278608"/>
                    <a:pt x="163165" y="276037"/>
                    <a:pt x="164975" y="273560"/>
                  </a:cubicBezTo>
                  <a:cubicBezTo>
                    <a:pt x="169357" y="267464"/>
                    <a:pt x="169357" y="261558"/>
                    <a:pt x="164689" y="255463"/>
                  </a:cubicBezTo>
                  <a:cubicBezTo>
                    <a:pt x="145639" y="230888"/>
                    <a:pt x="126780" y="206218"/>
                    <a:pt x="107444" y="181739"/>
                  </a:cubicBezTo>
                  <a:cubicBezTo>
                    <a:pt x="101443" y="174119"/>
                    <a:pt x="99634" y="168118"/>
                    <a:pt x="107635" y="160403"/>
                  </a:cubicBezTo>
                  <a:cubicBezTo>
                    <a:pt x="126113" y="142687"/>
                    <a:pt x="143830" y="124208"/>
                    <a:pt x="161832" y="106111"/>
                  </a:cubicBezTo>
                  <a:cubicBezTo>
                    <a:pt x="167547" y="100300"/>
                    <a:pt x="173167" y="99538"/>
                    <a:pt x="180025" y="104967"/>
                  </a:cubicBezTo>
                  <a:cubicBezTo>
                    <a:pt x="204409" y="124303"/>
                    <a:pt x="229174" y="143163"/>
                    <a:pt x="253462" y="162499"/>
                  </a:cubicBezTo>
                  <a:cubicBezTo>
                    <a:pt x="260701" y="168309"/>
                    <a:pt x="266512" y="168404"/>
                    <a:pt x="274894" y="163546"/>
                  </a:cubicBezTo>
                  <a:cubicBezTo>
                    <a:pt x="291181" y="154021"/>
                    <a:pt x="308041" y="145258"/>
                    <a:pt x="325567" y="138210"/>
                  </a:cubicBezTo>
                  <a:cubicBezTo>
                    <a:pt x="344331" y="130685"/>
                    <a:pt x="364048" y="125351"/>
                    <a:pt x="383479" y="119255"/>
                  </a:cubicBezTo>
                  <a:cubicBezTo>
                    <a:pt x="391194" y="116874"/>
                    <a:pt x="394718" y="112778"/>
                    <a:pt x="395575" y="103824"/>
                  </a:cubicBezTo>
                  <a:cubicBezTo>
                    <a:pt x="398433" y="73249"/>
                    <a:pt x="402814" y="42769"/>
                    <a:pt x="406339" y="12194"/>
                  </a:cubicBezTo>
                  <a:cubicBezTo>
                    <a:pt x="407386" y="3145"/>
                    <a:pt x="411577" y="-93"/>
                    <a:pt x="420626" y="2"/>
                  </a:cubicBezTo>
                  <a:cubicBezTo>
                    <a:pt x="446534" y="383"/>
                    <a:pt x="472537" y="288"/>
                    <a:pt x="498446" y="2"/>
                  </a:cubicBezTo>
                  <a:cubicBezTo>
                    <a:pt x="507208" y="-93"/>
                    <a:pt x="510066" y="3241"/>
                    <a:pt x="511114" y="12003"/>
                  </a:cubicBezTo>
                  <a:cubicBezTo>
                    <a:pt x="514828" y="44579"/>
                    <a:pt x="519400" y="77154"/>
                    <a:pt x="524258" y="109635"/>
                  </a:cubicBezTo>
                  <a:cubicBezTo>
                    <a:pt x="524734" y="112873"/>
                    <a:pt x="529306" y="116874"/>
                    <a:pt x="532735" y="118112"/>
                  </a:cubicBezTo>
                  <a:cubicBezTo>
                    <a:pt x="551881" y="124875"/>
                    <a:pt x="571788" y="129732"/>
                    <a:pt x="590552" y="137448"/>
                  </a:cubicBezTo>
                  <a:cubicBezTo>
                    <a:pt x="608650" y="144877"/>
                    <a:pt x="625985" y="154307"/>
                    <a:pt x="643130" y="163832"/>
                  </a:cubicBezTo>
                  <a:cubicBezTo>
                    <a:pt x="651226" y="168309"/>
                    <a:pt x="657418" y="168595"/>
                    <a:pt x="664752" y="162689"/>
                  </a:cubicBezTo>
                  <a:cubicBezTo>
                    <a:pt x="689326" y="143067"/>
                    <a:pt x="714187" y="123922"/>
                    <a:pt x="738856" y="104491"/>
                  </a:cubicBezTo>
                  <a:cubicBezTo>
                    <a:pt x="744476" y="100110"/>
                    <a:pt x="749620" y="99157"/>
                    <a:pt x="755239" y="104967"/>
                  </a:cubicBezTo>
                  <a:cubicBezTo>
                    <a:pt x="774099" y="124208"/>
                    <a:pt x="793244" y="143258"/>
                    <a:pt x="812199" y="162499"/>
                  </a:cubicBezTo>
                  <a:cubicBezTo>
                    <a:pt x="814294" y="164594"/>
                    <a:pt x="816009" y="167166"/>
                    <a:pt x="818200" y="169928"/>
                  </a:cubicBezTo>
                  <a:close/>
                  <a:moveTo>
                    <a:pt x="597982" y="459869"/>
                  </a:moveTo>
                  <a:cubicBezTo>
                    <a:pt x="600458" y="386336"/>
                    <a:pt x="541403" y="318899"/>
                    <a:pt x="458917" y="318899"/>
                  </a:cubicBezTo>
                  <a:cubicBezTo>
                    <a:pt x="383193" y="318899"/>
                    <a:pt x="325281" y="373096"/>
                    <a:pt x="319566" y="448249"/>
                  </a:cubicBezTo>
                  <a:cubicBezTo>
                    <a:pt x="313279" y="530544"/>
                    <a:pt x="376335" y="595505"/>
                    <a:pt x="454630" y="598172"/>
                  </a:cubicBezTo>
                  <a:cubicBezTo>
                    <a:pt x="530830" y="600744"/>
                    <a:pt x="598934" y="540069"/>
                    <a:pt x="597982" y="4598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3515C37B-73DB-7A23-BC0E-16150787B0A6}"/>
                </a:ext>
              </a:extLst>
            </p:cNvPr>
            <p:cNvSpPr/>
            <p:nvPr/>
          </p:nvSpPr>
          <p:spPr>
            <a:xfrm>
              <a:off x="-2121027" y="2562887"/>
              <a:ext cx="934915" cy="834652"/>
            </a:xfrm>
            <a:custGeom>
              <a:avLst/>
              <a:gdLst>
                <a:gd name="connsiteX0" fmla="*/ 502859 w 934915"/>
                <a:gd name="connsiteY0" fmla="*/ 338385 h 834652"/>
                <a:gd name="connsiteX1" fmla="*/ 548864 w 934915"/>
                <a:gd name="connsiteY1" fmla="*/ 361150 h 834652"/>
                <a:gd name="connsiteX2" fmla="*/ 627351 w 934915"/>
                <a:gd name="connsiteY2" fmla="*/ 402298 h 834652"/>
                <a:gd name="connsiteX3" fmla="*/ 656021 w 934915"/>
                <a:gd name="connsiteY3" fmla="*/ 457924 h 834652"/>
                <a:gd name="connsiteX4" fmla="*/ 648401 w 934915"/>
                <a:gd name="connsiteY4" fmla="*/ 515265 h 834652"/>
                <a:gd name="connsiteX5" fmla="*/ 637066 w 934915"/>
                <a:gd name="connsiteY5" fmla="*/ 562604 h 834652"/>
                <a:gd name="connsiteX6" fmla="*/ 612396 w 934915"/>
                <a:gd name="connsiteY6" fmla="*/ 680142 h 834652"/>
                <a:gd name="connsiteX7" fmla="*/ 593727 w 934915"/>
                <a:gd name="connsiteY7" fmla="*/ 755295 h 834652"/>
                <a:gd name="connsiteX8" fmla="*/ 544197 w 934915"/>
                <a:gd name="connsiteY8" fmla="*/ 795966 h 834652"/>
                <a:gd name="connsiteX9" fmla="*/ 478475 w 934915"/>
                <a:gd name="connsiteY9" fmla="*/ 772059 h 834652"/>
                <a:gd name="connsiteX10" fmla="*/ 465521 w 934915"/>
                <a:gd name="connsiteY10" fmla="*/ 709289 h 834652"/>
                <a:gd name="connsiteX11" fmla="*/ 487619 w 934915"/>
                <a:gd name="connsiteY11" fmla="*/ 579558 h 834652"/>
                <a:gd name="connsiteX12" fmla="*/ 498477 w 934915"/>
                <a:gd name="connsiteY12" fmla="*/ 526885 h 834652"/>
                <a:gd name="connsiteX13" fmla="*/ 487428 w 934915"/>
                <a:gd name="connsiteY13" fmla="*/ 505454 h 834652"/>
                <a:gd name="connsiteX14" fmla="*/ 390559 w 934915"/>
                <a:gd name="connsiteY14" fmla="*/ 466592 h 834652"/>
                <a:gd name="connsiteX15" fmla="*/ 369985 w 934915"/>
                <a:gd name="connsiteY15" fmla="*/ 457162 h 834652"/>
                <a:gd name="connsiteX16" fmla="*/ 357793 w 934915"/>
                <a:gd name="connsiteY16" fmla="*/ 465449 h 834652"/>
                <a:gd name="connsiteX17" fmla="*/ 361698 w 934915"/>
                <a:gd name="connsiteY17" fmla="*/ 533838 h 834652"/>
                <a:gd name="connsiteX18" fmla="*/ 364746 w 934915"/>
                <a:gd name="connsiteY18" fmla="*/ 593941 h 834652"/>
                <a:gd name="connsiteX19" fmla="*/ 331599 w 934915"/>
                <a:gd name="connsiteY19" fmla="*/ 660045 h 834652"/>
                <a:gd name="connsiteX20" fmla="*/ 177008 w 934915"/>
                <a:gd name="connsiteY20" fmla="*/ 771582 h 834652"/>
                <a:gd name="connsiteX21" fmla="*/ 95951 w 934915"/>
                <a:gd name="connsiteY21" fmla="*/ 827304 h 834652"/>
                <a:gd name="connsiteX22" fmla="*/ 6892 w 934915"/>
                <a:gd name="connsiteY22" fmla="*/ 795300 h 834652"/>
                <a:gd name="connsiteX23" fmla="*/ 33943 w 934915"/>
                <a:gd name="connsiteY23" fmla="*/ 705384 h 834652"/>
                <a:gd name="connsiteX24" fmla="*/ 198821 w 934915"/>
                <a:gd name="connsiteY24" fmla="*/ 568033 h 834652"/>
                <a:gd name="connsiteX25" fmla="*/ 206345 w 934915"/>
                <a:gd name="connsiteY25" fmla="*/ 548126 h 834652"/>
                <a:gd name="connsiteX26" fmla="*/ 188439 w 934915"/>
                <a:gd name="connsiteY26" fmla="*/ 406108 h 834652"/>
                <a:gd name="connsiteX27" fmla="*/ 186915 w 934915"/>
                <a:gd name="connsiteY27" fmla="*/ 294475 h 834652"/>
                <a:gd name="connsiteX28" fmla="*/ 225777 w 934915"/>
                <a:gd name="connsiteY28" fmla="*/ 213132 h 834652"/>
                <a:gd name="connsiteX29" fmla="*/ 316359 w 934915"/>
                <a:gd name="connsiteY29" fmla="*/ 120834 h 834652"/>
                <a:gd name="connsiteX30" fmla="*/ 423992 w 934915"/>
                <a:gd name="connsiteY30" fmla="*/ 53302 h 834652"/>
                <a:gd name="connsiteX31" fmla="*/ 536863 w 934915"/>
                <a:gd name="connsiteY31" fmla="*/ 12821 h 834652"/>
                <a:gd name="connsiteX32" fmla="*/ 666308 w 934915"/>
                <a:gd name="connsiteY32" fmla="*/ 4344 h 834652"/>
                <a:gd name="connsiteX33" fmla="*/ 771940 w 934915"/>
                <a:gd name="connsiteY33" fmla="*/ 83020 h 834652"/>
                <a:gd name="connsiteX34" fmla="*/ 792800 w 934915"/>
                <a:gd name="connsiteY34" fmla="*/ 153029 h 834652"/>
                <a:gd name="connsiteX35" fmla="*/ 812231 w 934915"/>
                <a:gd name="connsiteY35" fmla="*/ 233515 h 834652"/>
                <a:gd name="connsiteX36" fmla="*/ 819470 w 934915"/>
                <a:gd name="connsiteY36" fmla="*/ 265805 h 834652"/>
                <a:gd name="connsiteX37" fmla="*/ 836615 w 934915"/>
                <a:gd name="connsiteY37" fmla="*/ 344577 h 834652"/>
                <a:gd name="connsiteX38" fmla="*/ 852712 w 934915"/>
                <a:gd name="connsiteY38" fmla="*/ 387153 h 834652"/>
                <a:gd name="connsiteX39" fmla="*/ 891384 w 934915"/>
                <a:gd name="connsiteY39" fmla="*/ 475355 h 834652"/>
                <a:gd name="connsiteX40" fmla="*/ 930912 w 934915"/>
                <a:gd name="connsiteY40" fmla="*/ 567557 h 834652"/>
                <a:gd name="connsiteX41" fmla="*/ 904814 w 934915"/>
                <a:gd name="connsiteY41" fmla="*/ 640709 h 834652"/>
                <a:gd name="connsiteX42" fmla="*/ 823280 w 934915"/>
                <a:gd name="connsiteY42" fmla="*/ 621468 h 834652"/>
                <a:gd name="connsiteX43" fmla="*/ 793752 w 934915"/>
                <a:gd name="connsiteY43" fmla="*/ 564604 h 834652"/>
                <a:gd name="connsiteX44" fmla="*/ 753557 w 934915"/>
                <a:gd name="connsiteY44" fmla="*/ 487452 h 834652"/>
                <a:gd name="connsiteX45" fmla="*/ 709361 w 934915"/>
                <a:gd name="connsiteY45" fmla="*/ 399917 h 834652"/>
                <a:gd name="connsiteX46" fmla="*/ 692883 w 934915"/>
                <a:gd name="connsiteY46" fmla="*/ 344386 h 834652"/>
                <a:gd name="connsiteX47" fmla="*/ 666403 w 934915"/>
                <a:gd name="connsiteY47" fmla="*/ 252946 h 834652"/>
                <a:gd name="connsiteX48" fmla="*/ 652496 w 934915"/>
                <a:gd name="connsiteY48" fmla="*/ 247707 h 834652"/>
                <a:gd name="connsiteX49" fmla="*/ 574296 w 934915"/>
                <a:gd name="connsiteY49" fmla="*/ 285331 h 834652"/>
                <a:gd name="connsiteX50" fmla="*/ 502192 w 934915"/>
                <a:gd name="connsiteY50" fmla="*/ 333242 h 834652"/>
                <a:gd name="connsiteX51" fmla="*/ 502573 w 934915"/>
                <a:gd name="connsiteY51" fmla="*/ 338004 h 834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934915" h="834652">
                  <a:moveTo>
                    <a:pt x="502859" y="338385"/>
                  </a:moveTo>
                  <a:cubicBezTo>
                    <a:pt x="518194" y="346005"/>
                    <a:pt x="533625" y="353340"/>
                    <a:pt x="548864" y="361150"/>
                  </a:cubicBezTo>
                  <a:cubicBezTo>
                    <a:pt x="575154" y="374676"/>
                    <a:pt x="601824" y="387534"/>
                    <a:pt x="627351" y="402298"/>
                  </a:cubicBezTo>
                  <a:cubicBezTo>
                    <a:pt x="648020" y="414300"/>
                    <a:pt x="655545" y="435826"/>
                    <a:pt x="656021" y="457924"/>
                  </a:cubicBezTo>
                  <a:cubicBezTo>
                    <a:pt x="656402" y="476974"/>
                    <a:pt x="651925" y="496215"/>
                    <a:pt x="648401" y="515265"/>
                  </a:cubicBezTo>
                  <a:cubicBezTo>
                    <a:pt x="645448" y="531171"/>
                    <a:pt x="640495" y="546697"/>
                    <a:pt x="637066" y="562604"/>
                  </a:cubicBezTo>
                  <a:cubicBezTo>
                    <a:pt x="628684" y="601752"/>
                    <a:pt x="620969" y="641090"/>
                    <a:pt x="612396" y="680142"/>
                  </a:cubicBezTo>
                  <a:cubicBezTo>
                    <a:pt x="606872" y="705384"/>
                    <a:pt x="601538" y="730720"/>
                    <a:pt x="593727" y="755295"/>
                  </a:cubicBezTo>
                  <a:cubicBezTo>
                    <a:pt x="586393" y="778631"/>
                    <a:pt x="567819" y="791680"/>
                    <a:pt x="544197" y="795966"/>
                  </a:cubicBezTo>
                  <a:cubicBezTo>
                    <a:pt x="518004" y="800824"/>
                    <a:pt x="495810" y="792728"/>
                    <a:pt x="478475" y="772059"/>
                  </a:cubicBezTo>
                  <a:cubicBezTo>
                    <a:pt x="462759" y="753390"/>
                    <a:pt x="461901" y="731673"/>
                    <a:pt x="465521" y="709289"/>
                  </a:cubicBezTo>
                  <a:cubicBezTo>
                    <a:pt x="472569" y="666045"/>
                    <a:pt x="479999" y="622802"/>
                    <a:pt x="487619" y="579558"/>
                  </a:cubicBezTo>
                  <a:cubicBezTo>
                    <a:pt x="490762" y="561937"/>
                    <a:pt x="494762" y="544411"/>
                    <a:pt x="498477" y="526885"/>
                  </a:cubicBezTo>
                  <a:cubicBezTo>
                    <a:pt x="501335" y="513645"/>
                    <a:pt x="499906" y="510502"/>
                    <a:pt x="487428" y="505454"/>
                  </a:cubicBezTo>
                  <a:cubicBezTo>
                    <a:pt x="455138" y="492405"/>
                    <a:pt x="422754" y="479641"/>
                    <a:pt x="390559" y="466592"/>
                  </a:cubicBezTo>
                  <a:cubicBezTo>
                    <a:pt x="383606" y="463734"/>
                    <a:pt x="376843" y="460305"/>
                    <a:pt x="369985" y="457162"/>
                  </a:cubicBezTo>
                  <a:cubicBezTo>
                    <a:pt x="360365" y="452781"/>
                    <a:pt x="357317" y="454686"/>
                    <a:pt x="357793" y="465449"/>
                  </a:cubicBezTo>
                  <a:cubicBezTo>
                    <a:pt x="358841" y="488214"/>
                    <a:pt x="360460" y="511074"/>
                    <a:pt x="361698" y="533838"/>
                  </a:cubicBezTo>
                  <a:cubicBezTo>
                    <a:pt x="362746" y="553841"/>
                    <a:pt x="363318" y="573939"/>
                    <a:pt x="364746" y="593941"/>
                  </a:cubicBezTo>
                  <a:cubicBezTo>
                    <a:pt x="366842" y="622707"/>
                    <a:pt x="354078" y="643757"/>
                    <a:pt x="331599" y="660045"/>
                  </a:cubicBezTo>
                  <a:cubicBezTo>
                    <a:pt x="280069" y="697287"/>
                    <a:pt x="228729" y="734625"/>
                    <a:pt x="177008" y="771582"/>
                  </a:cubicBezTo>
                  <a:cubicBezTo>
                    <a:pt x="150339" y="790632"/>
                    <a:pt x="124145" y="810635"/>
                    <a:pt x="95951" y="827304"/>
                  </a:cubicBezTo>
                  <a:cubicBezTo>
                    <a:pt x="65090" y="845496"/>
                    <a:pt x="21751" y="828066"/>
                    <a:pt x="6892" y="795300"/>
                  </a:cubicBezTo>
                  <a:cubicBezTo>
                    <a:pt x="-9586" y="759105"/>
                    <a:pt x="5082" y="729291"/>
                    <a:pt x="33943" y="705384"/>
                  </a:cubicBezTo>
                  <a:cubicBezTo>
                    <a:pt x="89093" y="659759"/>
                    <a:pt x="143671" y="613658"/>
                    <a:pt x="198821" y="568033"/>
                  </a:cubicBezTo>
                  <a:cubicBezTo>
                    <a:pt x="205679" y="562318"/>
                    <a:pt x="207393" y="556222"/>
                    <a:pt x="206345" y="548126"/>
                  </a:cubicBezTo>
                  <a:cubicBezTo>
                    <a:pt x="200249" y="500787"/>
                    <a:pt x="194058" y="453447"/>
                    <a:pt x="188439" y="406108"/>
                  </a:cubicBezTo>
                  <a:cubicBezTo>
                    <a:pt x="184057" y="368961"/>
                    <a:pt x="179295" y="331623"/>
                    <a:pt x="186915" y="294475"/>
                  </a:cubicBezTo>
                  <a:cubicBezTo>
                    <a:pt x="193106" y="264471"/>
                    <a:pt x="206060" y="237325"/>
                    <a:pt x="225777" y="213132"/>
                  </a:cubicBezTo>
                  <a:cubicBezTo>
                    <a:pt x="253113" y="179508"/>
                    <a:pt x="282831" y="148266"/>
                    <a:pt x="316359" y="120834"/>
                  </a:cubicBezTo>
                  <a:cubicBezTo>
                    <a:pt x="349411" y="93974"/>
                    <a:pt x="385701" y="72066"/>
                    <a:pt x="423992" y="53302"/>
                  </a:cubicBezTo>
                  <a:cubicBezTo>
                    <a:pt x="460187" y="35586"/>
                    <a:pt x="498096" y="22727"/>
                    <a:pt x="536863" y="12821"/>
                  </a:cubicBezTo>
                  <a:cubicBezTo>
                    <a:pt x="579345" y="1867"/>
                    <a:pt x="622969" y="-4896"/>
                    <a:pt x="666308" y="4344"/>
                  </a:cubicBezTo>
                  <a:cubicBezTo>
                    <a:pt x="712695" y="14250"/>
                    <a:pt x="750318" y="38062"/>
                    <a:pt x="771940" y="83020"/>
                  </a:cubicBezTo>
                  <a:cubicBezTo>
                    <a:pt x="782703" y="105404"/>
                    <a:pt x="786989" y="129312"/>
                    <a:pt x="792800" y="153029"/>
                  </a:cubicBezTo>
                  <a:cubicBezTo>
                    <a:pt x="799372" y="179794"/>
                    <a:pt x="805849" y="206655"/>
                    <a:pt x="812231" y="233515"/>
                  </a:cubicBezTo>
                  <a:cubicBezTo>
                    <a:pt x="814803" y="244278"/>
                    <a:pt x="817184" y="255042"/>
                    <a:pt x="819470" y="265805"/>
                  </a:cubicBezTo>
                  <a:cubicBezTo>
                    <a:pt x="825089" y="292094"/>
                    <a:pt x="829947" y="318573"/>
                    <a:pt x="836615" y="344577"/>
                  </a:cubicBezTo>
                  <a:cubicBezTo>
                    <a:pt x="840329" y="359150"/>
                    <a:pt x="846806" y="373152"/>
                    <a:pt x="852712" y="387153"/>
                  </a:cubicBezTo>
                  <a:cubicBezTo>
                    <a:pt x="865380" y="416681"/>
                    <a:pt x="878620" y="445827"/>
                    <a:pt x="891384" y="475355"/>
                  </a:cubicBezTo>
                  <a:cubicBezTo>
                    <a:pt x="904623" y="506025"/>
                    <a:pt x="916815" y="537267"/>
                    <a:pt x="930912" y="567557"/>
                  </a:cubicBezTo>
                  <a:cubicBezTo>
                    <a:pt x="942723" y="592893"/>
                    <a:pt x="926721" y="628517"/>
                    <a:pt x="904814" y="640709"/>
                  </a:cubicBezTo>
                  <a:cubicBezTo>
                    <a:pt x="878525" y="655377"/>
                    <a:pt x="839853" y="648329"/>
                    <a:pt x="823280" y="621468"/>
                  </a:cubicBezTo>
                  <a:cubicBezTo>
                    <a:pt x="812136" y="603371"/>
                    <a:pt x="803563" y="583559"/>
                    <a:pt x="793752" y="564604"/>
                  </a:cubicBezTo>
                  <a:cubicBezTo>
                    <a:pt x="780417" y="538887"/>
                    <a:pt x="766892" y="513169"/>
                    <a:pt x="753557" y="487452"/>
                  </a:cubicBezTo>
                  <a:cubicBezTo>
                    <a:pt x="738603" y="458400"/>
                    <a:pt x="722601" y="429730"/>
                    <a:pt x="709361" y="399917"/>
                  </a:cubicBezTo>
                  <a:cubicBezTo>
                    <a:pt x="701550" y="382391"/>
                    <a:pt x="698217" y="362960"/>
                    <a:pt x="692883" y="344386"/>
                  </a:cubicBezTo>
                  <a:cubicBezTo>
                    <a:pt x="684024" y="313906"/>
                    <a:pt x="675261" y="283426"/>
                    <a:pt x="666403" y="252946"/>
                  </a:cubicBezTo>
                  <a:cubicBezTo>
                    <a:pt x="664117" y="244850"/>
                    <a:pt x="658497" y="244945"/>
                    <a:pt x="652496" y="247707"/>
                  </a:cubicBezTo>
                  <a:cubicBezTo>
                    <a:pt x="626303" y="259995"/>
                    <a:pt x="599347" y="271044"/>
                    <a:pt x="574296" y="285331"/>
                  </a:cubicBezTo>
                  <a:cubicBezTo>
                    <a:pt x="549246" y="299619"/>
                    <a:pt x="526195" y="317145"/>
                    <a:pt x="502192" y="333242"/>
                  </a:cubicBezTo>
                  <a:cubicBezTo>
                    <a:pt x="502287" y="334861"/>
                    <a:pt x="502383" y="336385"/>
                    <a:pt x="502573" y="3380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A51369A5-E2C2-6627-5E1E-FE41DD94BFA9}"/>
                </a:ext>
              </a:extLst>
            </p:cNvPr>
            <p:cNvSpPr/>
            <p:nvPr/>
          </p:nvSpPr>
          <p:spPr>
            <a:xfrm>
              <a:off x="-1313003" y="2483631"/>
              <a:ext cx="278934" cy="279963"/>
            </a:xfrm>
            <a:custGeom>
              <a:avLst/>
              <a:gdLst>
                <a:gd name="connsiteX0" fmla="*/ 278907 w 278934"/>
                <a:gd name="connsiteY0" fmla="*/ 140178 h 279963"/>
                <a:gd name="connsiteX1" fmla="*/ 135746 w 278934"/>
                <a:gd name="connsiteY1" fmla="*/ 279910 h 279963"/>
                <a:gd name="connsiteX2" fmla="*/ 15 w 278934"/>
                <a:gd name="connsiteY2" fmla="*/ 138273 h 279963"/>
                <a:gd name="connsiteX3" fmla="*/ 136032 w 278934"/>
                <a:gd name="connsiteY3" fmla="*/ 66 h 279963"/>
                <a:gd name="connsiteX4" fmla="*/ 278907 w 278934"/>
                <a:gd name="connsiteY4" fmla="*/ 140178 h 279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34" h="279963">
                  <a:moveTo>
                    <a:pt x="278907" y="140178"/>
                  </a:moveTo>
                  <a:cubicBezTo>
                    <a:pt x="280431" y="216855"/>
                    <a:pt x="217662" y="282101"/>
                    <a:pt x="135746" y="279910"/>
                  </a:cubicBezTo>
                  <a:cubicBezTo>
                    <a:pt x="62309" y="278005"/>
                    <a:pt x="-1128" y="220474"/>
                    <a:pt x="15" y="138273"/>
                  </a:cubicBezTo>
                  <a:cubicBezTo>
                    <a:pt x="1063" y="59597"/>
                    <a:pt x="59832" y="2352"/>
                    <a:pt x="136032" y="66"/>
                  </a:cubicBezTo>
                  <a:cubicBezTo>
                    <a:pt x="215661" y="-2316"/>
                    <a:pt x="280146" y="60359"/>
                    <a:pt x="278907" y="14017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01" name="Rectangle 100">
            <a:extLst>
              <a:ext uri="{FF2B5EF4-FFF2-40B4-BE49-F238E27FC236}">
                <a16:creationId xmlns:a16="http://schemas.microsoft.com/office/drawing/2014/main" id="{14CEC00A-3D82-6EA5-BE8B-7360838036B7}"/>
              </a:ext>
            </a:extLst>
          </p:cNvPr>
          <p:cNvSpPr/>
          <p:nvPr>
            <p:custDataLst>
              <p:tags r:id="rId33"/>
            </p:custDataLst>
          </p:nvPr>
        </p:nvSpPr>
        <p:spPr>
          <a:xfrm>
            <a:off x="285463" y="1472753"/>
            <a:ext cx="3797096" cy="71295"/>
          </a:xfrm>
          <a:prstGeom prst="rect">
            <a:avLst/>
          </a:prstGeom>
          <a:gradFill flip="none" rotWithShape="1">
            <a:gsLst>
              <a:gs pos="45847">
                <a:schemeClr val="accent2"/>
              </a:gs>
              <a:gs pos="1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299D68FA-F599-C0FB-A12F-108F041B055A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4212529" y="1472753"/>
            <a:ext cx="3797096" cy="71295"/>
          </a:xfrm>
          <a:prstGeom prst="rect">
            <a:avLst/>
          </a:prstGeom>
          <a:gradFill flip="none" rotWithShape="1">
            <a:gsLst>
              <a:gs pos="46000">
                <a:schemeClr val="accent1"/>
              </a:gs>
              <a:gs pos="1000">
                <a:schemeClr val="accent2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4BFD1A11-78DB-A991-8471-6699D060DC47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8133910" y="1472753"/>
            <a:ext cx="3797096" cy="71295"/>
          </a:xfrm>
          <a:prstGeom prst="rect">
            <a:avLst/>
          </a:prstGeom>
          <a:gradFill flip="none" rotWithShape="1">
            <a:gsLst>
              <a:gs pos="46000">
                <a:schemeClr val="accent3">
                  <a:lumMod val="60000"/>
                  <a:lumOff val="40000"/>
                </a:schemeClr>
              </a:gs>
              <a:gs pos="1000">
                <a:schemeClr val="accent3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0A73616-6566-61E8-A3AC-43B70B5B0793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8260309" y="5083229"/>
            <a:ext cx="3673544" cy="6318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opt means testing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2AAED99-ED50-8B2C-4699-1F5690E65C5F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8251756" y="5559183"/>
            <a:ext cx="3673544" cy="63181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ctr">
            <a:noAutofit/>
          </a:bodyPr>
          <a:lstStyle>
            <a:defPPr>
              <a:defRPr lang="en-US"/>
            </a:defPPr>
            <a:lvl1pPr marL="228600">
              <a:spcBef>
                <a:spcPts val="600"/>
              </a:spcBef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imit covered services.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9DCDFEE-B2E6-E912-2146-9CC1264D2051}"/>
              </a:ext>
            </a:extLst>
          </p:cNvPr>
          <p:cNvSpPr/>
          <p:nvPr>
            <p:custDataLst>
              <p:tags r:id="rId38"/>
            </p:custDataLst>
          </p:nvPr>
        </p:nvSpPr>
        <p:spPr>
          <a:xfrm>
            <a:off x="8089614" y="5346342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156E871-2F09-A0F1-E963-9B84341DDE02}"/>
              </a:ext>
            </a:extLst>
          </p:cNvPr>
          <p:cNvSpPr/>
          <p:nvPr>
            <p:custDataLst>
              <p:tags r:id="rId39"/>
            </p:custDataLst>
          </p:nvPr>
        </p:nvSpPr>
        <p:spPr>
          <a:xfrm>
            <a:off x="8089613" y="5837233"/>
            <a:ext cx="91440" cy="91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39D0A3E4-B361-5A8E-62B5-70E2E1B15F1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40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1635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4C3256F-6E4E-0596-7E58-330161D252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1090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99" imgH="499" progId="TCLayout.ActiveDocument.1">
                  <p:embed/>
                </p:oleObj>
              </mc:Choice>
              <mc:Fallback>
                <p:oleObj name="think-cell Slide" r:id="rId22" imgW="499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C3256F-6E4E-0596-7E58-330161D252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AC926B-6B48-E64B-226E-3675B0BC72A7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DD9D4D-0CE9-41AD-B726-195E886494B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 vert="horz">
            <a:noAutofit/>
          </a:bodyPr>
          <a:lstStyle/>
          <a:p>
            <a:r>
              <a:rPr lang="en-US"/>
              <a:t>Getting Clinical Process Back to Gold Standar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74DAE69-1375-5E5A-F8C6-19BDD906704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1428174"/>
            <a:ext cx="12192000" cy="4629726"/>
          </a:xfrm>
          <a:prstGeom prst="rect">
            <a:avLst/>
          </a:prstGeom>
          <a:solidFill>
            <a:srgbClr val="020C4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9" name="Picture 28" descr="A doctor with his hands in his pockets&#10;&#10;Description automatically generated">
            <a:extLst>
              <a:ext uri="{FF2B5EF4-FFF2-40B4-BE49-F238E27FC236}">
                <a16:creationId xmlns:a16="http://schemas.microsoft.com/office/drawing/2014/main" id="{5A2776E3-2A92-2CD7-12F6-9AB5A4483694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2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4360" y="1428173"/>
            <a:ext cx="12236360" cy="4629727"/>
          </a:xfrm>
          <a:prstGeom prst="rect">
            <a:avLst/>
          </a:prstGeom>
        </p:spPr>
      </p:pic>
      <p:sp>
        <p:nvSpPr>
          <p:cNvPr id="33" name="Hexagon 32">
            <a:extLst>
              <a:ext uri="{FF2B5EF4-FFF2-40B4-BE49-F238E27FC236}">
                <a16:creationId xmlns:a16="http://schemas.microsoft.com/office/drawing/2014/main" id="{16B8D0EF-5FA0-E629-AE40-5B53BA35DEF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7294088" y="2668977"/>
            <a:ext cx="1810752" cy="1541073"/>
          </a:xfrm>
          <a:prstGeom prst="hexagon">
            <a:avLst/>
          </a:prstGeom>
          <a:solidFill>
            <a:srgbClr val="0AB1C4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Quality Assurance and Dat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nalytics</a:t>
            </a:r>
          </a:p>
        </p:txBody>
      </p:sp>
      <p:sp>
        <p:nvSpPr>
          <p:cNvPr id="34" name="Hexagon 33">
            <a:extLst>
              <a:ext uri="{FF2B5EF4-FFF2-40B4-BE49-F238E27FC236}">
                <a16:creationId xmlns:a16="http://schemas.microsoft.com/office/drawing/2014/main" id="{FEE882A6-A624-CCF3-B65B-70492BB265F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118573" y="2668977"/>
            <a:ext cx="1810752" cy="1541073"/>
          </a:xfrm>
          <a:prstGeom prst="hexagon">
            <a:avLst/>
          </a:prstGeom>
          <a:solidFill>
            <a:srgbClr val="00B050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atient Experience</a:t>
            </a:r>
          </a:p>
        </p:txBody>
      </p:sp>
      <p:sp>
        <p:nvSpPr>
          <p:cNvPr id="36" name="Hexagon 35">
            <a:extLst>
              <a:ext uri="{FF2B5EF4-FFF2-40B4-BE49-F238E27FC236}">
                <a16:creationId xmlns:a16="http://schemas.microsoft.com/office/drawing/2014/main" id="{B386492B-9748-09F4-32EC-4029D9D29827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467610" y="2668977"/>
            <a:ext cx="1810752" cy="1541073"/>
          </a:xfrm>
          <a:prstGeom prst="hexagon">
            <a:avLst/>
          </a:prstGeom>
          <a:solidFill>
            <a:schemeClr val="accent5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Physician Training/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xpertise</a:t>
            </a:r>
          </a:p>
        </p:txBody>
      </p:sp>
      <p:sp>
        <p:nvSpPr>
          <p:cNvPr id="43" name="Hexagon 42">
            <a:extLst>
              <a:ext uri="{FF2B5EF4-FFF2-40B4-BE49-F238E27FC236}">
                <a16:creationId xmlns:a16="http://schemas.microsoft.com/office/drawing/2014/main" id="{ABA0975A-6147-7CDB-1ABB-B0E119D05BE4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7294088" y="4210049"/>
            <a:ext cx="1810752" cy="1541073"/>
          </a:xfrm>
          <a:prstGeom prst="hexagon">
            <a:avLst/>
          </a:prstGeom>
          <a:solidFill>
            <a:srgbClr val="0AB1C4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Team-Based Care Model</a:t>
            </a:r>
          </a:p>
        </p:txBody>
      </p:sp>
      <p:sp>
        <p:nvSpPr>
          <p:cNvPr id="44" name="Hexagon 43">
            <a:extLst>
              <a:ext uri="{FF2B5EF4-FFF2-40B4-BE49-F238E27FC236}">
                <a16:creationId xmlns:a16="http://schemas.microsoft.com/office/drawing/2014/main" id="{290D85E0-6B4D-CA80-23B5-A65345FF7AE7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467610" y="4210049"/>
            <a:ext cx="1810752" cy="1541073"/>
          </a:xfrm>
          <a:prstGeom prst="hexagon">
            <a:avLst/>
          </a:prstGeom>
          <a:solidFill>
            <a:schemeClr val="accent2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>
                <a:solidFill>
                  <a:prstClr val="white"/>
                </a:solidFill>
              </a:rPr>
              <a:t>Modern Facilities and Technology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60505ED-6467-24FB-F549-BC1020F039D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 flipH="1">
            <a:off x="270753" y="1780804"/>
            <a:ext cx="281461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are model transformation requires health system clinical processes and support operations to be a “well-oiled machine</a:t>
            </a:r>
            <a:r>
              <a:rPr kumimoji="0" lang="en-US" sz="2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.” </a:t>
            </a:r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id="{8040DF5D-8732-6A0C-092F-966BF91D7FDE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5888719" y="1897175"/>
            <a:ext cx="1810877" cy="1541075"/>
          </a:xfrm>
          <a:prstGeom prst="hexagon">
            <a:avLst/>
          </a:prstGeom>
          <a:solidFill>
            <a:srgbClr val="8E0000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ulture of Safety</a:t>
            </a:r>
          </a:p>
        </p:txBody>
      </p:sp>
      <p:sp>
        <p:nvSpPr>
          <p:cNvPr id="42" name="Hexagon 41">
            <a:extLst>
              <a:ext uri="{FF2B5EF4-FFF2-40B4-BE49-F238E27FC236}">
                <a16:creationId xmlns:a16="http://schemas.microsoft.com/office/drawing/2014/main" id="{1E89CF0D-15E8-2693-7913-27062D49D99C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888719" y="3439511"/>
            <a:ext cx="1810877" cy="1541075"/>
          </a:xfrm>
          <a:prstGeom prst="hexagon">
            <a:avLst/>
          </a:prstGeom>
          <a:solidFill>
            <a:srgbClr val="8E0000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Evidence-Based Care Standards</a:t>
            </a:r>
          </a:p>
        </p:txBody>
      </p:sp>
      <p:sp>
        <p:nvSpPr>
          <p:cNvPr id="32" name="Hexagon 31">
            <a:extLst>
              <a:ext uri="{FF2B5EF4-FFF2-40B4-BE49-F238E27FC236}">
                <a16:creationId xmlns:a16="http://schemas.microsoft.com/office/drawing/2014/main" id="{A721201A-E1A2-DDB9-6AA0-059D1AB168B8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704769" y="1897175"/>
            <a:ext cx="1810877" cy="1541075"/>
          </a:xfrm>
          <a:prstGeom prst="hexagon">
            <a:avLst/>
          </a:prstGeom>
          <a:solidFill>
            <a:srgbClr val="0AB1C4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0" name="Hexagon 29">
            <a:extLst>
              <a:ext uri="{FF2B5EF4-FFF2-40B4-BE49-F238E27FC236}">
                <a16:creationId xmlns:a16="http://schemas.microsoft.com/office/drawing/2014/main" id="{FA0BA4CE-854E-D059-4412-0DC188BC77E0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8704769" y="3439511"/>
            <a:ext cx="1810877" cy="1541075"/>
          </a:xfrm>
          <a:prstGeom prst="hexagon">
            <a:avLst/>
          </a:prstGeom>
          <a:solidFill>
            <a:srgbClr val="0AB1C4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ftercare: Follow-Up and Post-Acute</a:t>
            </a:r>
          </a:p>
        </p:txBody>
      </p:sp>
      <p:sp>
        <p:nvSpPr>
          <p:cNvPr id="45" name="Hexagon 44">
            <a:extLst>
              <a:ext uri="{FF2B5EF4-FFF2-40B4-BE49-F238E27FC236}">
                <a16:creationId xmlns:a16="http://schemas.microsoft.com/office/drawing/2014/main" id="{2A9E9B55-0068-C2CC-3953-7E50ADEF4164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3069082" y="3439511"/>
            <a:ext cx="1810877" cy="1541075"/>
          </a:xfrm>
          <a:prstGeom prst="hexagon">
            <a:avLst/>
          </a:prstGeom>
          <a:solidFill>
            <a:schemeClr val="accent2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20" r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Clinical Program Scale</a:t>
            </a:r>
          </a:p>
        </p:txBody>
      </p:sp>
      <p:sp>
        <p:nvSpPr>
          <p:cNvPr id="37" name="Hexagon 36">
            <a:extLst>
              <a:ext uri="{FF2B5EF4-FFF2-40B4-BE49-F238E27FC236}">
                <a16:creationId xmlns:a16="http://schemas.microsoft.com/office/drawing/2014/main" id="{61001F8F-2AE9-8B2D-19E2-47C5731391D5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069082" y="1897175"/>
            <a:ext cx="1810877" cy="1541075"/>
          </a:xfrm>
          <a:prstGeom prst="hexagon">
            <a:avLst/>
          </a:prstGeom>
          <a:solidFill>
            <a:schemeClr val="accent3"/>
          </a:solidFill>
          <a:ln w="57150" cap="flat">
            <a:noFill/>
            <a:prstDash val="solid"/>
            <a:miter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Access and Patient Risk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0E0DDA0-D53F-526D-84E5-36715408298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6D3A1B-8703-EF14-86F9-8A7A7324750A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8713329" y="2344546"/>
            <a:ext cx="18108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oding/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ocumenta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81263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E7FAF1-D99F-4056-A910-B8F9F63D3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116076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E7FAF1-D99F-4056-A910-B8F9F63D3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357359B-9765-4E3A-B995-CB536F040C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Rockwell" panose="02060603020205020403" pitchFamily="18" charset="0"/>
              <a:ea typeface="+mj-ea"/>
              <a:cs typeface="+mj-cs"/>
              <a:sym typeface="Rockwell" panose="02060603020205020403" pitchFamily="18" charset="0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4DC60B93-3287-B451-2ABA-86EEBBB97C7B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/>
          <a:p>
            <a:fld id="{EECC7194-A4D0-457B-9D3E-53681723AFF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 vert="horz"/>
          <a:lstStyle/>
          <a:p>
            <a:r>
              <a:rPr lang="en-US"/>
              <a:t>From Survival to Strateg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B53E99-8DB7-7646-DAF7-1344039277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2845" y="3898220"/>
            <a:ext cx="1868992" cy="2323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22000"/>
                  </a:schemeClr>
                </a:solidFill>
              </a:rPr>
              <a:t>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9EF907-2F9D-81E4-06CF-0ABAD64B21B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408643" y="2066146"/>
            <a:ext cx="5037242" cy="3693920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67BFB49-9C08-28AD-0FFB-638CC4CECA7E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6069467" y="1825189"/>
            <a:ext cx="2802793" cy="2052478"/>
          </a:xfrm>
          <a:prstGeom prst="roundRect">
            <a:avLst>
              <a:gd name="adj" fmla="val 59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prstClr val="white"/>
                </a:solidFill>
              </a:rPr>
              <a:t>Optimize Cost Structure to Deliver a Sustainable Margi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83143E0-6B31-717C-24FC-38EA70F7710A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6069467" y="4016605"/>
            <a:ext cx="2802793" cy="2052478"/>
          </a:xfrm>
          <a:prstGeom prst="roundRect">
            <a:avLst>
              <a:gd name="adj" fmla="val 506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schemeClr val="bg1"/>
                </a:solidFill>
              </a:rPr>
              <a:t>Secure Premium Pricing through Scope, Scale, and Relevanc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6C28F4F-D945-1886-6D11-BC379F5AFFCC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995898" y="1825189"/>
            <a:ext cx="2802793" cy="2052478"/>
          </a:xfrm>
          <a:prstGeom prst="roundRect">
            <a:avLst>
              <a:gd name="adj" fmla="val 413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prstClr val="white"/>
                </a:solidFill>
              </a:rPr>
              <a:t>Redesign Delivery Network to Win High-Growth Service Line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AE3B36E-51FB-D160-DBAF-D563118AD463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8995898" y="4016605"/>
            <a:ext cx="2802793" cy="2052478"/>
          </a:xfrm>
          <a:prstGeom prst="roundRect">
            <a:avLst>
              <a:gd name="adj" fmla="val 274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prstClr val="white"/>
                </a:solidFill>
              </a:rPr>
              <a:t>Advance Physician Alignment and Integr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F626A3-A506-B63C-DBED-3B56437F427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92629" y="1867177"/>
            <a:ext cx="1809553" cy="199809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/>
          <a:p>
            <a:r>
              <a:rPr lang="en-US" sz="23900">
                <a:solidFill>
                  <a:schemeClr val="bg1">
                    <a:alpha val="14000"/>
                  </a:schemeClr>
                </a:solidFill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38788C-2DF1-B288-F419-D5FA738FCF07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805948" y="1554314"/>
            <a:ext cx="909574" cy="255798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14000"/>
                  </a:schemeClr>
                </a:solidFill>
              </a:rPr>
              <a:t>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9D3B380-8BBC-29D6-74E7-9A6ABB28C0F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842845" y="3898220"/>
            <a:ext cx="1868992" cy="2323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22000"/>
                  </a:schemeClr>
                </a:solidFill>
              </a:rPr>
              <a:t>4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43ABA67-BCF7-5820-1F26-82B7E5930AA0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8232417" y="3164786"/>
            <a:ext cx="1390049" cy="138929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chemeClr val="tx2"/>
                </a:solidFill>
                <a:ea typeface="ヒラギノ明朝 ProN W3"/>
                <a:sym typeface="Times New Roman" pitchFamily="18" charset="0"/>
              </a:rPr>
              <a:t>Table Stakes</a:t>
            </a:r>
            <a:endParaRPr lang="en-US" sz="2400" b="1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ea typeface="ヒラギノ明朝 ProN W3" pitchFamily="1" charset="-128"/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AF1737E-AF16-524C-D840-FC0981C3970F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10392629" y="4063053"/>
            <a:ext cx="1484639" cy="197874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14000"/>
                  </a:schemeClr>
                </a:solidFill>
              </a:rPr>
              <a:t>3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4B7663D-D50B-0C6A-7390-D6BBBD1E0710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0" y="1780117"/>
            <a:ext cx="5877725" cy="4359763"/>
            <a:chOff x="0" y="1698137"/>
            <a:chExt cx="5877725" cy="4359763"/>
          </a:xfrm>
        </p:grpSpPr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9B4947C8-2CCB-F352-36F3-BF67CCA75561}"/>
                </a:ext>
              </a:extLst>
            </p:cNvPr>
            <p:cNvSpPr/>
            <p:nvPr/>
          </p:nvSpPr>
          <p:spPr>
            <a:xfrm>
              <a:off x="0" y="2837002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60C2174E-5AE1-938F-8240-9A08AB559C4B}"/>
                </a:ext>
              </a:extLst>
            </p:cNvPr>
            <p:cNvSpPr/>
            <p:nvPr/>
          </p:nvSpPr>
          <p:spPr>
            <a:xfrm>
              <a:off x="0" y="1698137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E342B46E-CE4F-BADD-8050-1B85ACA70CC9}"/>
                </a:ext>
              </a:extLst>
            </p:cNvPr>
            <p:cNvSpPr/>
            <p:nvPr/>
          </p:nvSpPr>
          <p:spPr>
            <a:xfrm>
              <a:off x="0" y="3975867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row: Pentagon 36">
              <a:extLst>
                <a:ext uri="{FF2B5EF4-FFF2-40B4-BE49-F238E27FC236}">
                  <a16:creationId xmlns:a16="http://schemas.microsoft.com/office/drawing/2014/main" id="{9A418756-FC30-D553-7FB0-D15DFF952D1C}"/>
                </a:ext>
              </a:extLst>
            </p:cNvPr>
            <p:cNvSpPr/>
            <p:nvPr/>
          </p:nvSpPr>
          <p:spPr>
            <a:xfrm>
              <a:off x="0" y="5114731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49F198-C05F-DE80-4BC6-7CDFC8CF12A1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242086" y="1780117"/>
            <a:ext cx="5064548" cy="4359763"/>
            <a:chOff x="242086" y="1647765"/>
            <a:chExt cx="5064548" cy="4359763"/>
          </a:xfrm>
          <a:gradFill flip="none" rotWithShape="1">
            <a:gsLst>
              <a:gs pos="48000">
                <a:schemeClr val="accent1"/>
              </a:gs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627CEC3-3EC1-249F-5E95-7CD985F5A6A7}"/>
                </a:ext>
              </a:extLst>
            </p:cNvPr>
            <p:cNvSpPr/>
            <p:nvPr/>
          </p:nvSpPr>
          <p:spPr>
            <a:xfrm>
              <a:off x="3688256" y="1647765"/>
              <a:ext cx="1618378" cy="4359763"/>
            </a:xfrm>
            <a:custGeom>
              <a:avLst/>
              <a:gdLst>
                <a:gd name="connsiteX0" fmla="*/ 8 w 1618378"/>
                <a:gd name="connsiteY0" fmla="*/ 0 h 4359763"/>
                <a:gd name="connsiteX1" fmla="*/ 291387 w 1618378"/>
                <a:gd name="connsiteY1" fmla="*/ 0 h 4359763"/>
                <a:gd name="connsiteX2" fmla="*/ 436056 w 1618378"/>
                <a:gd name="connsiteY2" fmla="*/ 79716 h 4359763"/>
                <a:gd name="connsiteX3" fmla="*/ 1618378 w 1618378"/>
                <a:gd name="connsiteY3" fmla="*/ 2179881 h 4359763"/>
                <a:gd name="connsiteX4" fmla="*/ 436056 w 1618378"/>
                <a:gd name="connsiteY4" fmla="*/ 4280047 h 4359763"/>
                <a:gd name="connsiteX5" fmla="*/ 291386 w 1618378"/>
                <a:gd name="connsiteY5" fmla="*/ 4359763 h 4359763"/>
                <a:gd name="connsiteX6" fmla="*/ 0 w 1618378"/>
                <a:gd name="connsiteY6" fmla="*/ 4359763 h 4359763"/>
                <a:gd name="connsiteX7" fmla="*/ 18994 w 1618378"/>
                <a:gd name="connsiteY7" fmla="*/ 4353207 h 4359763"/>
                <a:gd name="connsiteX8" fmla="*/ 1498006 w 1618378"/>
                <a:gd name="connsiteY8" fmla="*/ 2179880 h 4359763"/>
                <a:gd name="connsiteX9" fmla="*/ 18994 w 1618378"/>
                <a:gd name="connsiteY9" fmla="*/ 6554 h 435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8378" h="4359763">
                  <a:moveTo>
                    <a:pt x="8" y="0"/>
                  </a:moveTo>
                  <a:lnTo>
                    <a:pt x="291387" y="0"/>
                  </a:lnTo>
                  <a:lnTo>
                    <a:pt x="436056" y="79716"/>
                  </a:lnTo>
                  <a:cubicBezTo>
                    <a:pt x="1144886" y="510411"/>
                    <a:pt x="1618378" y="1289852"/>
                    <a:pt x="1618378" y="2179881"/>
                  </a:cubicBezTo>
                  <a:cubicBezTo>
                    <a:pt x="1618378" y="3069912"/>
                    <a:pt x="1144886" y="3849351"/>
                    <a:pt x="436056" y="4280047"/>
                  </a:cubicBezTo>
                  <a:lnTo>
                    <a:pt x="291386" y="4359763"/>
                  </a:lnTo>
                  <a:lnTo>
                    <a:pt x="0" y="4359763"/>
                  </a:lnTo>
                  <a:lnTo>
                    <a:pt x="18994" y="4353207"/>
                  </a:lnTo>
                  <a:cubicBezTo>
                    <a:pt x="885121" y="4011674"/>
                    <a:pt x="1498006" y="3167351"/>
                    <a:pt x="1498006" y="2179880"/>
                  </a:cubicBezTo>
                  <a:cubicBezTo>
                    <a:pt x="1498006" y="1192410"/>
                    <a:pt x="885121" y="348087"/>
                    <a:pt x="18994" y="655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68D33B9-158E-A6C6-85D9-1384E69FF3BD}"/>
                </a:ext>
              </a:extLst>
            </p:cNvPr>
            <p:cNvSpPr/>
            <p:nvPr/>
          </p:nvSpPr>
          <p:spPr>
            <a:xfrm flipH="1">
              <a:off x="242086" y="1647765"/>
              <a:ext cx="1618378" cy="4359763"/>
            </a:xfrm>
            <a:custGeom>
              <a:avLst/>
              <a:gdLst>
                <a:gd name="connsiteX0" fmla="*/ 8 w 1618378"/>
                <a:gd name="connsiteY0" fmla="*/ 0 h 4359763"/>
                <a:gd name="connsiteX1" fmla="*/ 291387 w 1618378"/>
                <a:gd name="connsiteY1" fmla="*/ 0 h 4359763"/>
                <a:gd name="connsiteX2" fmla="*/ 436056 w 1618378"/>
                <a:gd name="connsiteY2" fmla="*/ 79716 h 4359763"/>
                <a:gd name="connsiteX3" fmla="*/ 1618378 w 1618378"/>
                <a:gd name="connsiteY3" fmla="*/ 2179881 h 4359763"/>
                <a:gd name="connsiteX4" fmla="*/ 436056 w 1618378"/>
                <a:gd name="connsiteY4" fmla="*/ 4280047 h 4359763"/>
                <a:gd name="connsiteX5" fmla="*/ 291386 w 1618378"/>
                <a:gd name="connsiteY5" fmla="*/ 4359763 h 4359763"/>
                <a:gd name="connsiteX6" fmla="*/ 0 w 1618378"/>
                <a:gd name="connsiteY6" fmla="*/ 4359763 h 4359763"/>
                <a:gd name="connsiteX7" fmla="*/ 18994 w 1618378"/>
                <a:gd name="connsiteY7" fmla="*/ 4353207 h 4359763"/>
                <a:gd name="connsiteX8" fmla="*/ 1498006 w 1618378"/>
                <a:gd name="connsiteY8" fmla="*/ 2179880 h 4359763"/>
                <a:gd name="connsiteX9" fmla="*/ 18994 w 1618378"/>
                <a:gd name="connsiteY9" fmla="*/ 6554 h 435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8378" h="4359763">
                  <a:moveTo>
                    <a:pt x="8" y="0"/>
                  </a:moveTo>
                  <a:lnTo>
                    <a:pt x="291387" y="0"/>
                  </a:lnTo>
                  <a:lnTo>
                    <a:pt x="436056" y="79716"/>
                  </a:lnTo>
                  <a:cubicBezTo>
                    <a:pt x="1144886" y="510411"/>
                    <a:pt x="1618378" y="1289852"/>
                    <a:pt x="1618378" y="2179881"/>
                  </a:cubicBezTo>
                  <a:cubicBezTo>
                    <a:pt x="1618378" y="3069912"/>
                    <a:pt x="1144886" y="3849351"/>
                    <a:pt x="436056" y="4280047"/>
                  </a:cubicBezTo>
                  <a:lnTo>
                    <a:pt x="291386" y="4359763"/>
                  </a:lnTo>
                  <a:lnTo>
                    <a:pt x="0" y="4359763"/>
                  </a:lnTo>
                  <a:lnTo>
                    <a:pt x="18994" y="4353207"/>
                  </a:lnTo>
                  <a:cubicBezTo>
                    <a:pt x="885121" y="4011674"/>
                    <a:pt x="1498006" y="3167351"/>
                    <a:pt x="1498006" y="2179880"/>
                  </a:cubicBezTo>
                  <a:cubicBezTo>
                    <a:pt x="1498006" y="1192410"/>
                    <a:pt x="885121" y="348087"/>
                    <a:pt x="18994" y="655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C8D7EA10-BF7B-963F-2BCC-65290FBE11F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671236" y="1674077"/>
            <a:ext cx="4206248" cy="4359763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/>
              <a:t>“Market players” focus on excelling at the four quadrants on the right; they seek to be as good as their competitors in all four, and ideally better than the competition in at least one.  </a:t>
            </a:r>
          </a:p>
          <a:p>
            <a:pPr algn="ctr"/>
            <a:endParaRPr lang="en-US" sz="2400" b="1"/>
          </a:p>
          <a:p>
            <a:pPr algn="ctr"/>
            <a:r>
              <a:rPr lang="en-US" sz="2400" b="1"/>
              <a:t>This is not strategy; it’s survival</a:t>
            </a:r>
            <a:r>
              <a:rPr lang="en-US" sz="2400" b="1">
                <a:solidFill>
                  <a:schemeClr val="accent1"/>
                </a:solidFill>
              </a:rPr>
              <a:t>.</a:t>
            </a:r>
            <a:endParaRPr lang="en-US">
              <a:solidFill>
                <a:schemeClr val="accent1"/>
              </a:solidFill>
              <a:ea typeface="Calibri"/>
              <a:cs typeface="Calibri"/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EA9A9F9-8AEE-08FA-6A63-F03DB689D1FD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171451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8E785BA-DE0F-C63B-D040-73585EC661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25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E785BA-DE0F-C63B-D040-73585EC66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4ECF96-6578-2419-3475-A38AF3A855E4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7</a:t>
            </a:fld>
            <a:endParaRPr lang="en-US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012424-E760-06EF-FF53-BC812D811D24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1035698" y="1257300"/>
            <a:ext cx="10889602" cy="1899541"/>
          </a:xfrm>
        </p:spPr>
        <p:txBody>
          <a:bodyPr/>
          <a:lstStyle/>
          <a:p>
            <a:r>
              <a:rPr lang="en-US"/>
              <a:t>The Reemergence of Strategy as a Differentiato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4835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E7FAF1-D99F-4056-A910-B8F9F63D35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96897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E7FAF1-D99F-4056-A910-B8F9F63D3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357359B-9765-4E3A-B995-CB536F040C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Rockwell" panose="02060603020205020403" pitchFamily="18" charset="0"/>
              <a:ea typeface="+mj-ea"/>
              <a:cs typeface="+mj-cs"/>
              <a:sym typeface="Rockwell" panose="02060603020205020403" pitchFamily="18" charset="0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4DC60B93-3287-B451-2ABA-86EEBBB97C7B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fld id="{EECC7194-A4D0-457B-9D3E-53681723AFF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88000" y="4042"/>
            <a:ext cx="11637299" cy="1159140"/>
          </a:xfrm>
        </p:spPr>
        <p:txBody>
          <a:bodyPr vert="horz"/>
          <a:lstStyle/>
          <a:p>
            <a:r>
              <a:rPr lang="en-US"/>
              <a:t>From Market Player to Market Make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B53E99-8DB7-7646-DAF7-13440392770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2845" y="3898220"/>
            <a:ext cx="1868992" cy="2323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22000"/>
                  </a:schemeClr>
                </a:solidFill>
              </a:rPr>
              <a:t>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19EF907-2F9D-81E4-06CF-0ABAD64B21B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408643" y="2066146"/>
            <a:ext cx="5037242" cy="3693920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67BFB49-9C08-28AD-0FFB-638CC4CECA7E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6069467" y="1825189"/>
            <a:ext cx="2802793" cy="2052478"/>
          </a:xfrm>
          <a:prstGeom prst="roundRect">
            <a:avLst>
              <a:gd name="adj" fmla="val 59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prstClr val="white"/>
                </a:solidFill>
              </a:rPr>
              <a:t>New Channels and Marke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83143E0-6B31-717C-24FC-38EA70F7710A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6069467" y="4016605"/>
            <a:ext cx="2802793" cy="2052478"/>
          </a:xfrm>
          <a:prstGeom prst="roundRect">
            <a:avLst>
              <a:gd name="adj" fmla="val 5065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schemeClr val="bg1"/>
                </a:solidFill>
              </a:rPr>
              <a:t>Brand Expansion and Redefinitio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16C28F4F-D945-1886-6D11-BC379F5AFFCC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8995898" y="1825189"/>
            <a:ext cx="2802793" cy="2052478"/>
          </a:xfrm>
          <a:prstGeom prst="roundRect">
            <a:avLst>
              <a:gd name="adj" fmla="val 413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prstClr val="white"/>
                </a:solidFill>
              </a:rPr>
              <a:t>Innovation and Change Management as Core Competencie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AE3B36E-51FB-D160-DBAF-D563118AD463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8995898" y="4016605"/>
            <a:ext cx="2802793" cy="2052478"/>
          </a:xfrm>
          <a:prstGeom prst="roundRect">
            <a:avLst>
              <a:gd name="adj" fmla="val 274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2000" b="1">
                <a:solidFill>
                  <a:prstClr val="white"/>
                </a:solidFill>
              </a:rPr>
              <a:t>Cost Transforma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5F626A3-A506-B63C-DBED-3B56437F427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0392629" y="1867177"/>
            <a:ext cx="1809553" cy="199809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/>
          <a:p>
            <a:r>
              <a:rPr lang="en-US" sz="23900">
                <a:solidFill>
                  <a:schemeClr val="bg1">
                    <a:alpha val="14000"/>
                  </a:schemeClr>
                </a:solidFill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838788C-2DF1-B288-F419-D5FA738FCF07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805948" y="1554314"/>
            <a:ext cx="909574" cy="255798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14000"/>
                  </a:schemeClr>
                </a:solidFill>
              </a:rPr>
              <a:t>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9D3B380-8BBC-29D6-74E7-9A6ABB28C0F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5842845" y="3898220"/>
            <a:ext cx="1868992" cy="232312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22000"/>
                  </a:schemeClr>
                </a:solidFill>
              </a:rPr>
              <a:t>4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43ABA67-BCF7-5820-1F26-82B7E5930AA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8232417" y="3200882"/>
            <a:ext cx="1389888" cy="1389294"/>
          </a:xfrm>
          <a:prstGeom prst="ellipse">
            <a:avLst/>
          </a:prstGeom>
          <a:solidFill>
            <a:srgbClr val="FFFFFF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chemeClr val="tx2"/>
                </a:solidFill>
                <a:ea typeface="ヒラギノ明朝 ProN W3"/>
                <a:sym typeface="Times New Roman" pitchFamily="18" charset="0"/>
              </a:rPr>
              <a:t>Own the Consumer Relationship</a:t>
            </a:r>
            <a:endParaRPr lang="en-US" sz="1400" b="1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ea typeface="ヒラギノ明朝 ProN W3" pitchFamily="1" charset="-128"/>
              <a:cs typeface="Calibri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AF1737E-AF16-524C-D840-FC0981C3970F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10392629" y="4063053"/>
            <a:ext cx="1484639" cy="197874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ctr">
            <a:noAutofit/>
          </a:bodyPr>
          <a:lstStyle>
            <a:defPPr>
              <a:defRPr lang="en-US"/>
            </a:defPPr>
            <a:lvl1pPr algn="ctr">
              <a:defRPr sz="2000" b="1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sz="23900" b="0">
                <a:solidFill>
                  <a:schemeClr val="bg1">
                    <a:alpha val="14000"/>
                  </a:schemeClr>
                </a:solidFill>
              </a:rPr>
              <a:t>3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4B7663D-D50B-0C6A-7390-D6BBBD1E0710}"/>
              </a:ext>
            </a:extLst>
          </p:cNvPr>
          <p:cNvGrpSpPr/>
          <p:nvPr>
            <p:custDataLst>
              <p:tags r:id="rId17"/>
            </p:custDataLst>
          </p:nvPr>
        </p:nvGrpSpPr>
        <p:grpSpPr>
          <a:xfrm>
            <a:off x="0" y="1780117"/>
            <a:ext cx="5877725" cy="4359763"/>
            <a:chOff x="0" y="1698137"/>
            <a:chExt cx="5877725" cy="4359763"/>
          </a:xfrm>
        </p:grpSpPr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9B4947C8-2CCB-F352-36F3-BF67CCA75561}"/>
                </a:ext>
              </a:extLst>
            </p:cNvPr>
            <p:cNvSpPr/>
            <p:nvPr/>
          </p:nvSpPr>
          <p:spPr>
            <a:xfrm>
              <a:off x="0" y="2837002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60C2174E-5AE1-938F-8240-9A08AB559C4B}"/>
                </a:ext>
              </a:extLst>
            </p:cNvPr>
            <p:cNvSpPr/>
            <p:nvPr/>
          </p:nvSpPr>
          <p:spPr>
            <a:xfrm>
              <a:off x="0" y="1698137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E342B46E-CE4F-BADD-8050-1B85ACA70CC9}"/>
                </a:ext>
              </a:extLst>
            </p:cNvPr>
            <p:cNvSpPr/>
            <p:nvPr/>
          </p:nvSpPr>
          <p:spPr>
            <a:xfrm>
              <a:off x="0" y="3975867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Arrow: Pentagon 36">
              <a:extLst>
                <a:ext uri="{FF2B5EF4-FFF2-40B4-BE49-F238E27FC236}">
                  <a16:creationId xmlns:a16="http://schemas.microsoft.com/office/drawing/2014/main" id="{9A418756-FC30-D553-7FB0-D15DFF952D1C}"/>
                </a:ext>
              </a:extLst>
            </p:cNvPr>
            <p:cNvSpPr/>
            <p:nvPr/>
          </p:nvSpPr>
          <p:spPr>
            <a:xfrm>
              <a:off x="0" y="5114731"/>
              <a:ext cx="5877725" cy="943169"/>
            </a:xfrm>
            <a:prstGeom prst="homePlate">
              <a:avLst/>
            </a:prstGeom>
            <a:solidFill>
              <a:srgbClr val="DBE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7E49F198-C05F-DE80-4BC6-7CDFC8CF12A1}"/>
              </a:ext>
            </a:extLst>
          </p:cNvPr>
          <p:cNvGrpSpPr/>
          <p:nvPr>
            <p:custDataLst>
              <p:tags r:id="rId18"/>
            </p:custDataLst>
          </p:nvPr>
        </p:nvGrpSpPr>
        <p:grpSpPr>
          <a:xfrm>
            <a:off x="242086" y="1780117"/>
            <a:ext cx="5064548" cy="4359763"/>
            <a:chOff x="242086" y="1647765"/>
            <a:chExt cx="5064548" cy="4359763"/>
          </a:xfrm>
          <a:gradFill flip="none" rotWithShape="1">
            <a:gsLst>
              <a:gs pos="48000">
                <a:schemeClr val="accent1"/>
              </a:gs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E627CEC3-3EC1-249F-5E95-7CD985F5A6A7}"/>
                </a:ext>
              </a:extLst>
            </p:cNvPr>
            <p:cNvSpPr/>
            <p:nvPr/>
          </p:nvSpPr>
          <p:spPr>
            <a:xfrm>
              <a:off x="3688256" y="1647765"/>
              <a:ext cx="1618378" cy="4359763"/>
            </a:xfrm>
            <a:custGeom>
              <a:avLst/>
              <a:gdLst>
                <a:gd name="connsiteX0" fmla="*/ 8 w 1618378"/>
                <a:gd name="connsiteY0" fmla="*/ 0 h 4359763"/>
                <a:gd name="connsiteX1" fmla="*/ 291387 w 1618378"/>
                <a:gd name="connsiteY1" fmla="*/ 0 h 4359763"/>
                <a:gd name="connsiteX2" fmla="*/ 436056 w 1618378"/>
                <a:gd name="connsiteY2" fmla="*/ 79716 h 4359763"/>
                <a:gd name="connsiteX3" fmla="*/ 1618378 w 1618378"/>
                <a:gd name="connsiteY3" fmla="*/ 2179881 h 4359763"/>
                <a:gd name="connsiteX4" fmla="*/ 436056 w 1618378"/>
                <a:gd name="connsiteY4" fmla="*/ 4280047 h 4359763"/>
                <a:gd name="connsiteX5" fmla="*/ 291386 w 1618378"/>
                <a:gd name="connsiteY5" fmla="*/ 4359763 h 4359763"/>
                <a:gd name="connsiteX6" fmla="*/ 0 w 1618378"/>
                <a:gd name="connsiteY6" fmla="*/ 4359763 h 4359763"/>
                <a:gd name="connsiteX7" fmla="*/ 18994 w 1618378"/>
                <a:gd name="connsiteY7" fmla="*/ 4353207 h 4359763"/>
                <a:gd name="connsiteX8" fmla="*/ 1498006 w 1618378"/>
                <a:gd name="connsiteY8" fmla="*/ 2179880 h 4359763"/>
                <a:gd name="connsiteX9" fmla="*/ 18994 w 1618378"/>
                <a:gd name="connsiteY9" fmla="*/ 6554 h 435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8378" h="4359763">
                  <a:moveTo>
                    <a:pt x="8" y="0"/>
                  </a:moveTo>
                  <a:lnTo>
                    <a:pt x="291387" y="0"/>
                  </a:lnTo>
                  <a:lnTo>
                    <a:pt x="436056" y="79716"/>
                  </a:lnTo>
                  <a:cubicBezTo>
                    <a:pt x="1144886" y="510411"/>
                    <a:pt x="1618378" y="1289852"/>
                    <a:pt x="1618378" y="2179881"/>
                  </a:cubicBezTo>
                  <a:cubicBezTo>
                    <a:pt x="1618378" y="3069912"/>
                    <a:pt x="1144886" y="3849351"/>
                    <a:pt x="436056" y="4280047"/>
                  </a:cubicBezTo>
                  <a:lnTo>
                    <a:pt x="291386" y="4359763"/>
                  </a:lnTo>
                  <a:lnTo>
                    <a:pt x="0" y="4359763"/>
                  </a:lnTo>
                  <a:lnTo>
                    <a:pt x="18994" y="4353207"/>
                  </a:lnTo>
                  <a:cubicBezTo>
                    <a:pt x="885121" y="4011674"/>
                    <a:pt x="1498006" y="3167351"/>
                    <a:pt x="1498006" y="2179880"/>
                  </a:cubicBezTo>
                  <a:cubicBezTo>
                    <a:pt x="1498006" y="1192410"/>
                    <a:pt x="885121" y="348087"/>
                    <a:pt x="18994" y="655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68D33B9-158E-A6C6-85D9-1384E69FF3BD}"/>
                </a:ext>
              </a:extLst>
            </p:cNvPr>
            <p:cNvSpPr/>
            <p:nvPr/>
          </p:nvSpPr>
          <p:spPr>
            <a:xfrm flipH="1">
              <a:off x="242086" y="1647765"/>
              <a:ext cx="1618378" cy="4359763"/>
            </a:xfrm>
            <a:custGeom>
              <a:avLst/>
              <a:gdLst>
                <a:gd name="connsiteX0" fmla="*/ 8 w 1618378"/>
                <a:gd name="connsiteY0" fmla="*/ 0 h 4359763"/>
                <a:gd name="connsiteX1" fmla="*/ 291387 w 1618378"/>
                <a:gd name="connsiteY1" fmla="*/ 0 h 4359763"/>
                <a:gd name="connsiteX2" fmla="*/ 436056 w 1618378"/>
                <a:gd name="connsiteY2" fmla="*/ 79716 h 4359763"/>
                <a:gd name="connsiteX3" fmla="*/ 1618378 w 1618378"/>
                <a:gd name="connsiteY3" fmla="*/ 2179881 h 4359763"/>
                <a:gd name="connsiteX4" fmla="*/ 436056 w 1618378"/>
                <a:gd name="connsiteY4" fmla="*/ 4280047 h 4359763"/>
                <a:gd name="connsiteX5" fmla="*/ 291386 w 1618378"/>
                <a:gd name="connsiteY5" fmla="*/ 4359763 h 4359763"/>
                <a:gd name="connsiteX6" fmla="*/ 0 w 1618378"/>
                <a:gd name="connsiteY6" fmla="*/ 4359763 h 4359763"/>
                <a:gd name="connsiteX7" fmla="*/ 18994 w 1618378"/>
                <a:gd name="connsiteY7" fmla="*/ 4353207 h 4359763"/>
                <a:gd name="connsiteX8" fmla="*/ 1498006 w 1618378"/>
                <a:gd name="connsiteY8" fmla="*/ 2179880 h 4359763"/>
                <a:gd name="connsiteX9" fmla="*/ 18994 w 1618378"/>
                <a:gd name="connsiteY9" fmla="*/ 6554 h 4359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18378" h="4359763">
                  <a:moveTo>
                    <a:pt x="8" y="0"/>
                  </a:moveTo>
                  <a:lnTo>
                    <a:pt x="291387" y="0"/>
                  </a:lnTo>
                  <a:lnTo>
                    <a:pt x="436056" y="79716"/>
                  </a:lnTo>
                  <a:cubicBezTo>
                    <a:pt x="1144886" y="510411"/>
                    <a:pt x="1618378" y="1289852"/>
                    <a:pt x="1618378" y="2179881"/>
                  </a:cubicBezTo>
                  <a:cubicBezTo>
                    <a:pt x="1618378" y="3069912"/>
                    <a:pt x="1144886" y="3849351"/>
                    <a:pt x="436056" y="4280047"/>
                  </a:cubicBezTo>
                  <a:lnTo>
                    <a:pt x="291386" y="4359763"/>
                  </a:lnTo>
                  <a:lnTo>
                    <a:pt x="0" y="4359763"/>
                  </a:lnTo>
                  <a:lnTo>
                    <a:pt x="18994" y="4353207"/>
                  </a:lnTo>
                  <a:cubicBezTo>
                    <a:pt x="885121" y="4011674"/>
                    <a:pt x="1498006" y="3167351"/>
                    <a:pt x="1498006" y="2179880"/>
                  </a:cubicBezTo>
                  <a:cubicBezTo>
                    <a:pt x="1498006" y="1192410"/>
                    <a:pt x="885121" y="348087"/>
                    <a:pt x="18994" y="655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C8D7EA10-BF7B-963F-2BCC-65290FBE11F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659204" y="1782361"/>
            <a:ext cx="4206248" cy="4359763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“Market makers”</a:t>
            </a:r>
          </a:p>
          <a:p>
            <a:pPr algn="ctr"/>
            <a:r>
              <a:rPr lang="en-US" sz="2400" b="1">
                <a:solidFill>
                  <a:schemeClr val="accent1"/>
                </a:solidFill>
              </a:rPr>
              <a:t>view strategy as a set of decisions, with associated actions, tools, and metrics, to differentiate themselves in at least one of the four quadrants on the right.</a:t>
            </a:r>
          </a:p>
          <a:p>
            <a:pPr algn="ctr"/>
            <a:endParaRPr lang="en-US" sz="2400" b="1">
              <a:solidFill>
                <a:schemeClr val="accent1"/>
              </a:solidFill>
              <a:ea typeface="Calibri"/>
              <a:cs typeface="Calibri"/>
            </a:endParaRPr>
          </a:p>
          <a:p>
            <a:pPr algn="ctr"/>
            <a:r>
              <a:rPr lang="en-US" sz="2400" b="1">
                <a:ea typeface="Calibri"/>
                <a:cs typeface="Calibri"/>
              </a:rPr>
              <a:t>They view their role as serving consumers longitudinally versus transactionally</a:t>
            </a:r>
            <a:r>
              <a:rPr lang="en-US" sz="2400" b="1">
                <a:solidFill>
                  <a:schemeClr val="accent1"/>
                </a:solidFill>
                <a:ea typeface="Calibri"/>
                <a:cs typeface="Calibri"/>
              </a:rPr>
              <a:t>.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6662ED0-0BFD-6089-A5A4-E3D93EA66991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0"/>
            </p:custDataLst>
          </p:nvPr>
        </p:nvSpPr>
        <p:spPr/>
        <p:txBody>
          <a:bodyPr/>
          <a:lstStyle/>
          <a:p>
            <a:r>
              <a:rPr lang="en-US"/>
              <a:t>0100.109\690048(pptx)-E1 11-5-2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72624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8E785BA-DE0F-C63B-D040-73585EC661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E785BA-DE0F-C63B-D040-73585EC661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4ECF96-6578-2419-3475-A38AF3A855E4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1488149" y="6228775"/>
            <a:ext cx="445704" cy="445704"/>
          </a:xfrm>
        </p:spPr>
        <p:txBody>
          <a:bodyPr/>
          <a:lstStyle/>
          <a:p>
            <a:pPr lvl="0"/>
            <a:fld id="{EECC7194-A4D0-457B-9D3E-53681723AFF7}" type="slidenum">
              <a:rPr lang="en-US" noProof="0" smtClean="0"/>
              <a:pPr lvl="0"/>
              <a:t>9</a:t>
            </a:fld>
            <a:endParaRPr lang="en-US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012424-E760-06EF-FF53-BC812D811D24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1035698" y="1257300"/>
            <a:ext cx="10889602" cy="1899541"/>
          </a:xfrm>
        </p:spPr>
        <p:txBody>
          <a:bodyPr/>
          <a:lstStyle/>
          <a:p>
            <a:r>
              <a:rPr lang="en-US"/>
              <a:t>Entering New Channels and Marke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46952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8E&quot; g=&quot;9A&quot; b=&quot;FD&quot;/&gt;&lt;/elem&gt;&lt;/m_vecMRU&gt;&lt;/m_mruColor&gt;&lt;m_eweekdayFirstOfWeek val=&quot;1&quot;/&gt;&lt;m_eweekdayFirstOfWorkweek val=&quot;2&quot;/&gt;&lt;m_eweekdayFirstOfWeekend val=&quot;7&quot;/&gt;&lt;/CPresentation&gt;&lt;/root&gt;"/>
  <p:tag name="SLIDO_APP_VERSION" val="1.11.0.5407"/>
  <p:tag name="SLIDO_PRESENTATION_ID" val="00000000-0000-0000-0000-000000000000"/>
  <p:tag name="SLIDO_EVENT_UUID" val="e8311be9-ece1-4003-b756-bc9c7549dae5"/>
  <p:tag name="SLIDO_EVENT_SECTION_UUID" val="2656298f-44d5-4baf-9dd1-52d6b0450e1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0961b6e-f178-4cd3-8be8-3aa9e1f41dd9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bbcef89-3a6b-4c59-af18-afdc175d8c1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d7d2f89-556b-4b10-8784-ea91a157229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6583c6a3-8750-4e18-b156-27c6d3217d4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782fe9fb-6ac9-4016-a3ca-537b33afe4c3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EIfnXds0dA6u71riOn6w"/>
  <p:tag name="PS_COMPARE_SHAPE_ID" val="f42467a5-b2f8-47ed-b88d-1cfffca18cf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a4be9ae-cb42-47d4-909f-181bb65eb25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ed856e0-9e5e-4de4-beae-3c5cb80388c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5fd63b5-e6ed-4c8a-bcf4-39f326617317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d88dfd8-c868-4954-8a46-728148ce8b3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6d5daba-ed8e-476a-a1d2-7b4ac9f8921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8908569-fd10-4c29-a84f-884627f0108c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e457423-e9bc-4eb3-82c9-c23e522f7f8f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125ce74-f5dd-4f1b-834a-f6bf393cfb1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4f3f268-6b6e-431f-9fc0-f4cc62bfc20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c177d26-0a9e-4825-8627-86850f8b6307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5adca62-7051-4911-9e3a-51524e7b3f3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af366bb-8ead-41b6-94b7-84ef6917f30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ace8b1c-ae79-47a5-905a-6c41bee0a309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804f9b7-70c7-4805-9aae-5f6ced4102cb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33b0d0e-a85c-4854-b0f1-2d537f9f0089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c984be7-3284-4eb0-adcf-d8826dfcb7f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3dd4551-3130-41b4-b4d1-65b955632e6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459a9d4-b174-4779-9130-e0ce7017543c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40ab548f-00bb-45f6-bb85-ea7b3a971b98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e6b819-c3eb-4e65-be04-1c228e780e38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130061c-97f6-4515-99cf-c5353a0f150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66cf3ca4-afd0-45b9-a330-4d4fc67b4de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8feb8eb7-c38b-4082-82da-237f0dfad46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EIfnXds0dA6u71riOn6w"/>
  <p:tag name="PS_COMPARE_SHAPE_ID" val="d5d554b0-157c-468a-b9d8-cd6c5ed9a0f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31f5ce7-2f97-4858-849e-3499f9e1b678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6d4c3df-6f62-477d-a16c-c01bceba91d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d937b35-d686-4e3e-8ca5-0583884f9b6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bd1607c-5185-4d53-93c4-c9bcd5a37206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c15abcb-f3a4-497d-bcdf-6b8254cdd87c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15e17bf-aac7-4169-96d9-c83219de77c7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851604c-003b-4fa1-b507-1ff88dc51aa9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648c4d3-1835-42e5-83bf-9133702055e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c8a468d-958e-40f5-8c5d-28e63b10f567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1668763-ee30-442b-9bdd-877b91bfc5c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7a46d1e-666b-45d7-9e3c-4b0ad3a21c4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7a9df1c-5208-4512-b196-ed71bd73628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7bc31d4-a7a2-49bd-af5d-d89c671587d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c8144d7-d6d3-463c-b484-6f1fd397673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9dc201d-9ee9-4a1e-80dc-6d34d334413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64687ee-1b7c-4178-a57f-e70dd0cef2a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69b7b00-9925-456b-93ad-89f1decded67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459a9d4-b174-4779-9130-e0ce7017543c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40ab548f-00bb-45f6-bb85-ea7b3a971b98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e6b819-c3eb-4e65-be04-1c228e780e3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130061c-97f6-4515-99cf-c5353a0f150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3490a3a-bd28-4061-842e-1a0f34471d0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8b167205-8287-4655-916f-1cfc7300b8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c964e3d-0f63-47e2-ad35-4b829887489b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369fa44-59e1-4efd-8458-bd79baccc3e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bbef4dc-b7ee-47f9-b52b-8bd312451dbc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a1595ec-0dda-41e1-b30f-3ea9c25b273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dd696ce-0b17-4d97-85ca-fc926f57b95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f681d87-0dad-47be-ac80-0ab38e736a3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b89895d-7e71-40b3-b56f-10390bb3893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fc3c0af-dd51-4813-a9c3-11c96fec785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56b18c5-2e6d-4969-8183-14544b9c78db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3784244-4446-44f2-8a27-4dd67ecad4c7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2b0e218-bdc4-46a0-8431-c46e4a9769f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b4e3b28-f7f4-458c-bbc7-02c0a2afe569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d38bafd-5aec-4b61-b6b2-73485a09f098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7df1436-4b9c-47a4-9bb1-4b618ec4317c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8ee06ee-6194-474b-bfe4-e79b65e4289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8689d30-f14b-4dde-9714-6fa57e13eb9c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46b1c08-3693-4606-9a98-c1af8ee4cfa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921c6ca-a835-4866-ae9a-d2c75aea3f96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fbec24e-8cf6-49c7-bffe-c81362565b9c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dbc556e-8f6e-43c3-a14f-e89ba428a51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6d9f62c-2e34-4391-a85b-eda85e113947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beb0a99-e50e-4f1d-b06b-c23f5155fc14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33915d9-5f40-4b4c-8126-d3c474da3e28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de3b0af-aefb-4d23-9bd5-07da4ec4093f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09aabcc-027a-4b73-9fc8-fb4d9877e29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52c89fe-f5e3-449e-aae4-3133c3268c17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36805d5-9a87-4721-b395-ceaaaacdc8af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7c15e59-132b-404b-bdd9-bfdc5c06c18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91d3fed-1ee5-49d8-88d7-d43c6d2011d7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20f3ac7-6fce-4e20-9012-5c74ce4c7c4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5d0ca00-f459-4ccc-a6f0-b4739eaddd4f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1396eda-73b2-4e1f-945b-c4aba0a33f4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1e9ab1c-320e-43c3-ac7f-39b86cf8f59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66c222d-60d8-4d5f-b218-bf52c110e51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e1d5344-821a-42e2-bc26-052584295ac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84595b2-3f03-4ed5-9520-09cc46f8249b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df8a818-25b0-4226-b876-c4a902c7104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374f022-14bc-4ed6-8cb3-4c1c57876b0b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b7aea8f-f6bb-4d82-be39-968a1c62efa6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7ed6384-017c-4624-bf37-dff58dd03af9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f32a899-bda4-4187-8e73-54f0ca89fe2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c3ebdcf-9d0f-4a3c-80ce-4aaa1fbdf55b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bb79d01-9011-4a06-b415-c0d43f6e859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b55f134-670b-46a0-b58f-0f36924ee69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c2522bf-78b2-4bdd-8c2d-7bcac802e7ab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c338e1a-cfe9-4a76-a860-685a7be77c38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ce94a1b-4208-468b-a686-a16977b93b2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69519de-5ffb-488f-b690-22f30e0fbac4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d523ce92-5518-416e-bcc3-50e9d68bf4d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bd5e002-f0b9-4499-b03a-1a1d4ceee47c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fbbb492-50a8-4300-b71a-b85cc40dd418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75bc25e4-e4f3-4538-b341-716f6a993e88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1c2a218-a193-40c4-8237-a19359ab4420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3cf6fbd-b2b1-4be1-9bc4-aeb0fd017a86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b26c7a4-92d0-4d12-bfc1-96ef0ba1564c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702125c-1fe3-4db9-9861-09ed3b7ba83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3c9e581-b1d2-489c-8fde-e8d0c6f156c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ff4dd40-7839-4425-b4dd-59fbd779dff6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687e3be-58c5-4954-9d98-58ee7ea1f348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4cb7a9e-98ef-49f3-b012-22de98df8ff0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1e60036-4c99-4331-a333-28891ae1c011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579c222-6f4d-4407-a79f-c829b81b87b0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1afb7e8-bc19-4e9b-93c8-7495111bcceb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33494cd-d744-4200-bdb2-15fbe9198733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d33e056-91f4-4e45-9d83-ad8016d8ab5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fad77d8-50cd-46b4-94e1-be21a417b021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3c3dd5c-0a27-47d6-bcb2-bd569151606f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828d7e8-f6b3-478b-b2e4-ca8dc69ee6b3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8a91bd5-90a0-4704-8e11-c92cd6308029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33b2406-b89d-4f50-b6bf-85e6f45c678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5e7c6ec-32fd-4f5e-8550-8b9a861b567f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bdd2f1f-c0b3-4a57-98b4-d3ec308c982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fa85f4f-07ef-4bcf-bf8e-01165f9b855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d1fd7f9-1021-4c2c-8f39-9bd6b1ea9a29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4ae9669-627a-4f16-a4f6-3c20bb6f1626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4ee90af-fcad-421c-9060-579392f1b2c6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c436ac1-a8ca-400c-94f1-7fa024c288a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d99aff85-c3c2-4449-a5e2-c759e19969c7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8757782-a60b-4772-9dab-7153c1ca38a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74d18a6-cd3d-4653-abef-64f7e14f89cc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146fc97-1090-410d-ac7e-584844cad853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39c73c8-5aa0-4d6e-8d72-0800e99ad6ed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f27ff50-1a17-4b29-81cd-a685ae1ee78c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69601d9-c083-4b4a-bb98-2f900ff34dc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bb8ffc9-7433-4ff9-9fa2-abe744079c3d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403de8c-3951-4abb-96ea-e7ea6e0ad919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68e2b92-f1ee-4e4e-bc01-c34e540e91d7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e74970c-7a3f-49ad-a5b1-53469b8d14e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e5f4d2ad-10a6-4737-8185-d68bf9998a1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eda948e4-707f-412e-b75a-6bff6a4972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2326ca97-953f-4c93-a2c0-c7449caa9496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f20ed66-243a-4e28-b95e-9e977a2ba0c5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502e033-4946-4e59-aaee-769043fd0d68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8e09ed1-e02d-422f-a3fb-92ea2411e988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a59be57-0846-40d8-a471-b42cf1aa8f8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e4011e7-3f4e-4403-aad1-7dc5911e6561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9515e8a-0d09-4d17-8668-bfa940afa199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fe10e9a-a866-45a6-91a2-a3809e74f8e8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935c4bc-e835-4c01-9cf8-6bc0f4bd27a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8d5920a-4dc1-479d-87a7-b9d523eceaa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46fcffb-61cf-4388-9512-cc085ce8c98d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ae7a747-9ecd-4107-b7d5-d5ed6e26ce4c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8d560b2-1b18-4fe4-afb9-284c6d458917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15f1751-7e6d-4235-b58a-bb076c5c77d2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d3ddc0c-b191-482d-9400-f4ecc94ef01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1dd6400-2046-4862-91ac-476f2434945f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7418f80-9922-494b-b6e7-288143fd368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3aa3ed3-43f2-4b28-ae80-7f1fe812a42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030fb8b-db59-41e1-9873-27778be17f9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f9febfb-c011-4e50-bf0c-d6263099305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b0d42ec-7a0d-4e33-a0ec-e1efdb1bb41d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412181b-5bd8-4d31-9c13-0bc8b471d25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60521f2-d329-491a-81b4-963a236c236f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4043ec8-c4ca-4d44-abab-f07eeeea1ba0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18ecf73-5d33-4c01-8e77-b3a73f63d85f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fad6a66-f494-4b99-831e-64bbedf28e06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f3684de-4468-47fc-948c-1823c847f78f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aab7308-97cc-4579-b9d6-b2d23d034b5b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13bb0d2-b483-4a89-9458-ae94c68a55b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9022751-e377-44b4-a657-f4eb84d934ef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329fe21-02c5-4029-89dd-5f79f04f1d2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552fe60-93cc-474b-8c4d-336e35a0f0f3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7ef6db3-f688-486c-8fcf-4dc37a112cb0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bddee5c-829c-45bc-acfa-0595ce62f9b7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fd9be18-c998-4edd-9ec5-53d0253366d7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1d8d280-8f96-4dcc-a300-137f82fd4aff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e84ab1a9-8bd6-4602-91cc-bbfbea2967b7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e5496e1b-73ee-4e82-9a14-9c3f4be648c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d199f2a-2cf1-4133-9af1-e29231e8a52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a780f78-bd41-465c-bc18-5e37139114f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51f7114-943a-4e4f-a75b-88b5fe37c717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96b3c6b-8e2d-4484-b96e-8e9ac7b0027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a5384d26-b842-400c-889b-a1c19a37f3cf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3204c80-092a-49ad-9257-92866b4bcc6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1683912-5984-4ff4-880b-a806ae83f099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c1c1926-7015-42b4-8971-f7bd1aaa0c91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ce4e826-e3ae-4dc3-90b1-9a56a06ae996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09ecc6f-5df2-46b5-84b3-e12fa1a31170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d24e444-d12c-44bb-9811-50cae8c35589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aac6685-f9a1-46bc-a97c-513b0fdf5d0f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9f84167-e95a-4f59-9736-09e920a68eb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4a18e97-5e89-49ef-8fb7-4a9b0897b037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f918673-dc18-4667-b8e2-3e655d2fdf4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4daa3599-cb4e-4eb3-a0e7-72dc2379827f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bf96c36-69e8-47a6-a3e4-5e2a1bdc868f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0d21a99-74ca-4f74-ae13-0f8dbcc2f883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2bb3785-04c8-4326-962d-03c6f0733349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0138ff2-3ee4-4b3d-bbfd-c5fb66507e37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ec63a8e-d07d-4211-ae19-57556e895e7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b813683-d46c-4211-be54-3a841404b489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36f57e6-1562-4fa2-9ece-f63c5c42eef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9b57059-65af-4451-998c-71bece1595a7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276a2cb-0cd3-4993-8626-63397b8639d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05921b3-4ca5-4c54-ab1a-c2101080cf2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2f64ed8-a640-472c-9fec-e9578f7b06e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3fa6347-04fc-452b-9787-981a6f01821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b4eb1e7-2100-46e4-87b2-66cee6af8f40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57c27d3-476b-4915-a17b-89dea04cc999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5857aac-2954-4969-b090-756e2246bc4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7d106dc-e89e-4487-851f-8b85d68d26f7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65ceb83-5705-432a-ad91-4ba50096bd50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b2b5f41-ca23-4bf9-889c-279bd519bbab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035538e1-46bb-421b-a244-744dceb1ea7c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607a11c9-e1cd-4c21-8f95-7a1e3c2ee03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dea347d-4316-48f9-b3d6-f11aa84988a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73c3d8a-2584-4934-9980-3b9f2c44a5e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7c3277e-6915-4927-ae13-3769d5ba183d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d652649-b391-424a-8196-78c36bb97fc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c5814c1-e3f1-4c81-ad94-0d39207356a8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989c3d3-0685-4f18-abbb-8ca6fdb4f2b7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2420819-9429-401c-b66b-c6de332508b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5e1c7ea-bff3-4849-a3c1-1a46be6ff14c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629bee8-1641-430c-8704-a66d0fcb7d9f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468078f-8656-4b79-9731-33b8e737c54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baea939-13ae-4fb0-9d7f-22978e0fb1d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459a9d4-b174-4779-9130-e0ce7017543c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89264c7-044f-4890-97fd-2dcbabbbc1e7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40ab548f-00bb-45f6-bb85-ea7b3a971b98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e6b819-c3eb-4e65-be04-1c228e780e38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130061c-97f6-4515-99cf-c5353a0f150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1358301a-4bab-410d-8477-cf2341207f77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f8dccf1-096b-4da0-988f-6a77f1b54b58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b5d3304b-bca0-4ad5-b939-360cf77ab968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6ad47a6-3b87-4eef-ba9a-9b76a163f75d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cd5d094-f744-4940-b938-b17a58fb80d9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3409de7-849c-4381-9bb0-1a8dfc63bb3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32e0307-ebfb-4c71-87bf-e83fee59353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b853495-193c-49b8-b28c-e84ead3ffa30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4be6a78-85bf-46d9-8188-190f9c5e5ce1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f74cbbf-bbb7-4577-bea5-bae5d458e9c3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6e6c41b-c81e-4df6-833d-34faf162a156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64f9241-f640-40a0-94ae-fb01cde3c1e9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99181e6-a77a-4556-bd8b-929869583bf6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6d5271f-bb02-446f-991e-304c2b242bd9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780d7f0-3b78-4734-a139-9151a2a9452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e8dc68d-0e8a-40bd-9f58-9923150df2e5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346ebf5-45a6-4a2c-8461-cf0abbd449d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82c544a-47fa-4de8-a321-a260c59fb7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7b736a2-00d8-44c9-bfee-5f4b3266d48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fbfd20d-691c-440e-a723-d208890f343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8681036-97d3-479e-af85-f557597104e0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ef401be-2821-405e-934f-420bb8ab9266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c544967-d9b8-454b-8a52-93822b0209c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6b418be-984c-4edf-98b6-1687e7f95c23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8cfe021-5fa4-4410-badd-cd140cbe9a09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b67fd8f-c39e-4e05-82b3-54e790ce9ab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2a6c124-8f19-4d37-ad86-caf14ec7ebf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356d669-631a-46e3-b76a-16a5d2f1e9f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e206844-ff80-4244-8d10-7cac5dbc1f7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6c04003-c5cb-4a74-9170-cb5842721027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9ee3dec-63f8-4bf9-9353-80fd10b95bd4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73e6cd-4864-4653-8084-42e9445cf229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8c42ee9-9a63-4b67-bc93-db99dff5aaeb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ee91f8a-6707-455a-9502-ff891dff8f43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99267a4-e579-4e0d-8a1d-b8e47d18fd5b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f534140-3c0a-4aa6-97df-d420432e6357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c7efa13-8164-4b4c-9592-c4fce697e32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15ec2e5a-f996-4b77-9423-a07201ed5084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c2f3f16-b348-4d4f-bf0b-b0def489e5cc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34e69ad-d475-4e43-a1bd-6b9dbf31889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4b71426-2339-456d-8450-d848b2bcf31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15a523fe-d3f6-4590-8b93-fa5587883f17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79dad2c-2564-44f5-b286-1004828ba4d7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ac31182-f951-47d9-8fab-f5f13b389129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2e0fb4a-3c0b-4bd3-8e64-d94627b720cd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aea82ac-d403-4b8d-9867-582145a4a47b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6c25e58-14d3-4454-9871-85bf0746d5b0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60617e9-1667-41dc-a3f3-99dced7ce833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4e30a23-6531-4f31-a4aa-c195a6f4cca1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5e33ec9-5115-40d5-84d3-68390613041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d773a1f-8a0c-4c38-9c25-f0476853efe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8406b71-aa11-4a3d-b008-9db40353486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43d0439-6efd-4687-bdb8-a41927de24c9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c057937-b8ed-4ac1-82c4-edb8be23e264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787c93f-a45b-4823-92e4-074ec1c82ea7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fd8da24-74d5-444a-b58e-0f74d93c77a3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7466db6-9ea5-4c49-ad2e-c3931308594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0cafaa2-d6bd-4faa-beea-195514fbf21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1fbeed5-1d80-4fd0-a584-49868ba389f1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e17fd1e-a3d6-4f03-97e8-a3c42a6c3e7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d483cb0-57c2-46cc-8dc6-4193c825e665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640c9ef-892e-48f1-977d-09b07900167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4868eca-6b92-4b23-bd0d-86f9727a0ebd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b564dee-3c66-428a-a137-46c7073bc46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949a36c-f496-4b7c-9cd6-1f7098a49076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ca7e311-3cc0-4695-adf6-5354c9cc1e26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bd849d0-ca9b-4fc1-9112-1e37a0e4f114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c96aea6-cd3e-4347-8c2f-ac4eaf862a46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a67328f-a666-4321-bdc0-33123e53caa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6abb675-e579-4d26-ab25-515d1cd5fe67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9570842-d55d-4653-9437-5ac23237f163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04e9d51-349f-48c4-9dcd-2cc9ca2443b4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7310cb6-13db-4e57-b170-9fd3c0e6bf6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eb051318-08cd-4afb-8bf7-f7cff2f40533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64f07a49-5b46-434d-835e-f7b5827b9eed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fb97ba1-031d-4a1e-8423-12eef8492ccd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eec4ddd-91e4-4cf3-bb17-2b024e9cce45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1faae27-0692-4289-8eb6-50f59cd41de3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eccfa7d-9154-4709-86f9-353f7d72a62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b27c356-0685-4b6a-8556-c114d4942418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4843b6-3818-46f7-8993-78bb7afb2918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ed524e0-267f-4af5-a85f-4f801843889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8b2ad36-19fb-48cf-9a27-fc3a0e52b8f9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d368ce8-cfdf-4d45-830d-947372c2646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25f2e2ac-fa3e-4c06-b25a-5449025e5ee9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d2649a6-b0ca-4a45-af57-ddb5b37814f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dc43167-836b-4d2e-ad54-de22928e2ed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8b73b3b-fbd5-4bab-abd5-3082b7f7c7e9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c60c666-703b-4052-a42f-df48b068ec4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5cde8b6-aa33-4e97-aef4-e69a23d248f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1e037d4-0a34-4489-9df6-e6c2a5b8d2b5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618b662-88ee-4250-a495-99a07a8b0ea1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b1bd0da-1e50-46d9-b87e-474f8052f230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6e9452e-652d-4fd0-a3d1-3b0c7c2116f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85654b3-1ee8-4b35-a779-666caab9029b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99275ba-5d3c-46a6-8c10-92a0ef7fae0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6fa2ee0-9b88-4d01-9d5c-2544846cfdf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f942534-7307-4cf3-ad22-7270e3cf61e5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9dce808-6683-43cc-af63-823b91a69e6d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47b9538-f914-49d7-acf6-2114dd5456bb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7b905da-ab04-4b07-be63-2939ee45a7a6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8b1f491-054e-4b35-90c3-46251089125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220b4a1-d319-4498-b1ee-2f4482e8718d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459a9d4-b174-4779-9130-e0ce7017543c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40ab548f-00bb-45f6-bb85-ea7b3a971b98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e6b819-c3eb-4e65-be04-1c228e780e3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1c03a37-8832-4bf4-8166-d30501ebd433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130061c-97f6-4515-99cf-c5353a0f150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8ea18484-a98e-4c64-a4db-23c8a8cb65a4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189fc1a2-d07b-4bd1-8f33-38ca246a3631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dc7b223-4a5b-41d6-bb22-a93dc4c656c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ce4d652-0757-485f-83c6-405e472c0e26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b515d70-2628-49f6-8d9e-5ebdad75ee2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6dbe05e-090c-4e3a-8ccb-8fcdadeac0e9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c445489-35ee-4237-9eb5-d91062b8a5d3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ac706f2-d326-42e6-a5a5-5805da26b318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6b9e1a3-b3a7-4674-a096-55e17ff91669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17487a2e-2c0b-47af-9629-e6b8a3e1cf29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86fba0d-5f28-4a4e-9985-58990fb2d904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505cb07-022e-4e60-a872-90da1163dc9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4eee053-5ee6-41aa-af98-acaaaa99cc9f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38cc8e7-d8a7-4464-a05e-e06d9c4be6c8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33414cf-c9df-406d-915f-f64ae88d0b0b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7d8fb24-398e-4dd8-bc0f-6fd583fa9637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f018c82-9a2f-4242-bf64-b8697cf5cfa0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aa5adf4-5072-484a-a3d1-75fea57933a8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9100bd8-607d-465b-8794-1e3d32913f20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fe384f8-bdff-427b-b8cf-cfb011941c2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9c55ff15-4418-49ca-a07e-9d1cf375a594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63f5c01-ded8-4ec7-be25-727b07c7a548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66d8221-ce06-44b0-b75b-59afd4e36918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3d24bb6-ed8f-4ecb-966c-c58067f02a75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b92d8f8-a692-4268-92b0-25705f6bf5b1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ae6e2ef-a7b2-4ea5-b8ea-4db93b880d6b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0e5f186-3a90-4748-967d-20f685f934b8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e3f4b4a-a461-4f75-b92d-e0b37761efe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6836d36-a1bb-4d3b-a975-80ac338f57d3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d5f200f-3552-484c-b781-8eb94200c5c8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f5ad5b5-1fda-4957-80f6-838079299c79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4ab4c7c-0ea0-4434-84ef-16c5ed29da8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92b0d5b-0b26-44ee-b7f1-27dbaf07a532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4e87978-312f-4b13-acef-87dce1d8e815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cdca17f-a9e5-4935-a483-49f47d10a2b6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cd3e0b7-f002-4c26-91ec-b614990f19f0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a3a8234-0ae6-4b67-999c-93c9458dc0b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1454275-942e-4239-a5b0-2a9bbe8090ec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6452491-f3f3-4db4-87b4-6aafa30cd865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b419ab9-bf75-4ed7-a3d7-0e2b4a4d4326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1950f99-4d49-4b93-830d-0a18b0797ef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aa8ca21-ede9-41ec-b3b8-95808e4c866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6e41d75-7546-4170-b511-083a9d039732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5e960d7-c931-4701-a152-741fbdbecdf0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451eab-566c-4438-b1cc-04495ec71f02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d692a20-d5ca-4800-9a04-8e5383bb939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1a3c1e5-c504-4746-b37c-fc9bd26ac3e9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b61ff41-e462-4295-a587-4bd643511084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57682d3-c14a-4c57-a662-69484d1c867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d8304b2-4ca9-4d46-9b48-e727d8708147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c001ba6a-5e31-4767-acd2-e0784aa23e47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29068ac8-3cce-40e6-bbf8-b33fc9043b5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d17e9c2-fde0-47b9-b23e-563d241b8e8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44f234f-89f5-4429-ae79-798cf7ed34ec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e30cb71-3d91-443a-9d41-b5c9b4a8f2c2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03201ff-3f1b-4272-90e3-3881d99ed58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96a399d-7062-4ee0-a91d-65b44da55d40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705e7cf-983b-480e-810f-c41ae9e328d5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7a95194-90a9-43fb-b009-f63db7b3c18c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53807a6-40b9-4608-8ce4-fe287a6c17f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d3274c2-bdf9-4a0e-ba30-9873f718c0e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6313950-8ebd-4c42-9aa1-c30469696f68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cc92bee-2dd7-4d2a-9ba0-3f7180e030bd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1edae6a-28e3-4ae5-97aa-3abe63506cb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9e356db-22c2-41bf-ba50-a6c1b6bce79d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1e7c46c-3344-4885-9d89-317a89187819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e30a6e1-e14d-4a99-bbbd-fd881d2583c0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108c7cf-3173-4192-b1c7-ca27cec57328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7ba1a756-1750-46b7-8eee-1aee467e62af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275bfa7-ad8e-4658-ab21-169d8eca26ff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b1409d4-9275-4c55-ade8-09d541e4b721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8ef8e0a-0299-4bdd-9f73-e33186119a15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a596bf4-3f50-47af-b550-52482f310921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09d13e3-37af-4a80-8185-e83b140a48c1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48022c8f-2d1a-4504-a8e9-6bcd979d4d3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508e55a-621e-459c-8390-89aada288815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0252053-a715-4d9c-9e5b-8a29e998418d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9d1e516-9db5-4086-a2d2-57fbd59d7388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2ce90ab-3e5c-4380-8e34-a1e0ca9f6c50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a1e17bd-0a75-453f-8df2-f09a8c452107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5d3000e-dfe7-4501-ac01-2f61e0fa7fc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96dea0a-b40c-4b88-871b-56fa6ced3503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67180d1-d7f8-4b66-a389-79a7469e1459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ec25a28-1dbb-460b-816b-33c7952e602b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839f894-554e-4917-8ab6-52cf76907804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c6846e0-c949-491a-85de-14f484693f5b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14d1e6d-1468-4dfb-b28f-ebf2405fa705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6db6b42-5ed4-4c31-9b1a-d2a627cbdc49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12cd377-7dd9-46f8-aa50-2f81aab9dcf3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c4c0955-b323-42b6-a3be-896e30d138c8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a76007b-90d4-4599-9181-ef1ecb387e25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ed5703-fccd-4b85-bb23-8e50bedeb531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3a87a8d-a0c8-420f-8a15-3f4efd9d0270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72e4ab3-4daa-4be7-9dad-5d8f79fb7def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3664476-f2c8-4f8e-90c2-5d039bf18365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d9fbdf9-3958-4e54-9f70-a96afbdc3627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459a9d4-b174-4779-9130-e0ce7017543c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75fe560-c599-4db0-8f60-0c8bcfd376e7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40ab548f-00bb-45f6-bb85-ea7b3a971b98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e6b819-c3eb-4e65-be04-1c228e780e38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130061c-97f6-4515-99cf-c5353a0f150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8e0fe50a-713b-4e7e-814b-a92e8ce4a1ac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5091f47-edf3-4779-8c65-6938d4112b34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2881ff13-3bbe-406b-bac2-a1034e7f851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bd87b61-f83d-488e-8d79-c0600921eaac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dfc0c71-3966-440f-8e48-7f540a2a3ba8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d07bf7e-be0c-48a6-91a3-a7081f39d58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4bb4b64-d2ed-4208-9f70-d06b910431c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82d4b62-4289-4614-8690-58d0f2459b30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f234194-1c2d-4240-9881-8a612bdce9b8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fb69c2c-bf86-40ca-b3d2-198136067519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50d0567-c0a7-4d7c-a4a4-80966a7577d8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61b93d2-85a3-4c68-8f93-d1b6b69302b7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87b70c7-b807-4772-9c82-938dc889d0c5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24056f6-0157-425e-99da-600e97f0bae6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7a9a5cf-2029-4954-8753-5b7f3b07d320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cb03f9e-c0d2-4771-9c93-84ff9a2d9799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4ce5927-d2eb-43dc-826e-2e448d111710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86ac71a-976d-4e9d-a6bd-e165b74f584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789eada-4b4c-4272-9366-e499aec9ef96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934baaf-0838-4a39-a27f-19c4f4632da0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97cb3d3-b21f-4d20-879c-a155bb2c3429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fc7fe68a-2b32-43d4-be10-a44c2a713185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fb2b2f3-4a9a-476a-83f9-1e41baf74d4b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6a05d02-a0ef-4ef9-a53a-8b29ab119db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18346929-059e-4dae-907d-998c182a1533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bcc7304-8058-4c31-90bb-5deb49f0d118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fe7bccf-c05e-4c30-a9f9-03a2356d93b2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ac543a6-80fd-4f14-bb5b-439939625a50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968e456-64cd-4fb7-bbfd-8ed5968e21a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7325747-e60f-4d9d-b1b6-62c0a9221094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7241e41-e624-4d83-b3a3-041f691d6dc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3191b9d-3f91-4b70-8c9a-215d7e9c41e3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8351619-78bf-4544-8ff7-bde553b09edd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8daca4d-6ac2-44bd-99db-dfd2bc20a431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52aebbca-b330-4004-93c6-562c12e95fe4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2b87d47-18aa-4d22-9c36-eb4a58a0f7dd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1e03c5e-0dd5-49a2-8a66-02a92d9f944c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9a1f506-e745-447b-86e1-5d0bd5cc99d3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03063ebb-b4db-4e45-ad7b-edf7236ac78f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e9d0406-20a4-44fb-a60d-be3fe372b9b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4e5f4e2-f262-435c-a0e1-e57bd28504e3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41e0981-99b4-499a-9d87-982a826f20d1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867ecf2-6332-4f83-914a-1d22b15e3d0f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d8dfb2d-62af-4766-a673-08e41ca3aea7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73b59fe-c78a-496d-9a96-c73719520a72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d39c875-2caf-4cfc-8999-456fcccc82ad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d43a15f-5551-425a-9c3d-33f6766828d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9020aef-a586-432a-8ba1-ff7b2c9cbf86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40f396d-027d-48df-85ff-187bab2af15f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c4ade39-06cc-4670-810b-6e0e5b62f42f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71ca6d0-1829-4bb4-a4f5-d17682b52d6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21f73c2-5c50-41a6-b8ae-3c5659f035a0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1e8bef8-2411-4b00-ad95-da66482d3144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4e5d3af-da13-44fa-b526-ce0ec37643a0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8ca8b2a-6e30-4247-a698-37924867ca36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7959e23-e2c8-4102-badd-0c3f67dcf0a0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89c4e5f-11bc-4827-831a-aef26b8a1b21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30d6f77-ec07-4160-b860-e9b9dae36573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cebf8d0-57a5-4012-a0f7-e223b314f537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a071363-ff91-4ecc-a2b2-e7f0826334bf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db4c8b5-b7f9-43bc-ad2f-f185c03c9071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b82a8a4-fd76-4c10-acdc-9afe5b36a7a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2adad69-f7fd-4769-849a-e18c6b6aaa1d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d072443-6aae-460b-a545-58155cbe198d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fa152b7-9586-4a63-9cee-279727961007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dc82c09-d785-4f72-8f08-a2f598131ca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11355f4-542b-427f-a0bb-ae43a457fd9b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34423af-02e0-433d-bfb9-f1078e5a6c9f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9d38dec-197e-4d40-a7b6-e4dd9b61935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e0bc7f9-22d8-4878-a519-ec8409b6ae4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4b5dc91-8e3a-4ded-aec0-fb988d5c2015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264b577-701a-4050-af65-4fe3947999cc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a6d55be9-b5f2-4c22-ab55-da9914ad30e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62b9894-5106-44f2-a8b5-f4e9d4901586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c1990370-60ca-4c41-b700-3ab2f220e89f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90d5dc8-577b-4304-aea8-77f36a2edb93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584f132-bba3-4971-8dd8-f65ae93cd405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221dfc2-ab01-42dc-96d6-29027044f389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a27c0e8-73fa-411c-a02e-531ebee0d4ec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1e65229-8289-47e0-8ed9-b8ec3ddf63ab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1548314-b9be-44c9-8153-2ef9c1884a2f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cacac00-b157-4825-99af-83c9a0d068fc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9b3efb8-1b7f-42ad-b6ee-722bf3a2b901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f9d4832-200b-4a6a-be89-80de16a8c07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82e54c1-aaf2-4530-8b07-9701fe3cbd28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6b46a51-a28c-4c3f-a5f4-c0ef08736abc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0526ca1-ce3f-4ffd-88f9-bfbbcae8f53c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968c4d5-c0ec-44d9-80ee-6cfe1e27e8fd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f8c102a-b528-4810-9ee3-31ba00df7ad0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91b7268-75db-4848-8513-823f071950b0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5cb539e-468b-4438-8ad9-8c419d281316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500f3f8-7704-4fc4-b3e4-814f5033d8b8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1a63cc4-d93f-4a6e-83a7-40b4fa1d7e98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12c6b5d-c3bd-4c3f-913f-aada116e9908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fbb0bb6-5c12-4fef-a004-d8ae5f44bd7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f3dc046-32d7-44be-998e-b6a5a17d65f7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0be74cf-0faf-4de3-a491-6b5b2c025bbf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c1c779ea-6438-474e-b28a-fd63e35adc90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fb9ac305-8944-4886-beb9-a7acb5a9c252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b8fe767-9606-48df-9bf4-ff70dc31d77d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5a15dd6-443d-4702-944d-71f8292d8e30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b0d481da-bf25-4738-afe4-d2f45746edaf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1ac8a91-901b-49dd-9ece-308f737e4f9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8a47af2-4992-469f-ac37-8f09be98172b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EIfnXds0dA6u71riOn6w"/>
  <p:tag name="PS_COMPARE_SHAPE_ID" val="59c9e571-3ede-4fca-b01b-84429c61822f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ebf02919-5f07-42b8-a561-eb1c9e5636e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b5aadbb-e188-480b-a647-22d187244e36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805bd21-30ec-4f8e-b87c-f8b1bd302108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efdb5f2-88da-48e0-bbf7-e00d490857e8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967f8e0-cc75-44ca-8840-1f9da6d57157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751eff4-4119-4a5c-858a-21d58190f1b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10472ce-25c8-4f16-8848-d431db3adfe8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c49b179-9d50-4bdb-a815-d1a1ce6e222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4f037be-5a21-4ff9-9e48-c3e10fd477a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679b5b9-801e-4a1e-be87-69d7611a478b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9980bf8-e2c0-4d84-a12b-989becdb2f46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173645a-e4fa-4f23-a581-b771feb9402b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48e3eed-7b04-4026-9bc7-7c682503e422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9e8df1d-a155-499e-9231-4b2900cb93ef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9841022-90f1-40df-9add-c47a33d87677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930a2224-780c-4e94-9651-d360c6292665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05a3c5ad-c8d1-4190-b183-56c4fe18bc36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e03939bf-d620-463d-a21a-241093842d73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b143afb-096c-4dd3-98f7-840c90605f63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b5e7749-e093-4873-901a-20effda4dafd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43bce69-4b41-4db7-b8f6-07f6fecfd71d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cd4295c-95b8-428d-879b-15a35bfa933d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5b3bf4a6-2b1f-4c26-b235-a04960c8d67f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3a0a5d6-9456-4035-9ebb-60b3c4d5de07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59eddb7-0e0f-4a7c-9132-9b78c69ba251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0b4ef5f-b7aa-458a-b316-66b9d025bc56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e9cf3e7-8860-47d9-b6cc-1c096e8370e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4d2955a-228d-4a63-8e11-17c33c06ca5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2716720-3caa-4dc0-852c-0c40c7b5bed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526cd10-6e19-49ae-acb0-cb9ea3baa54c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ae20655c-b83e-45e1-8636-23e1c70ba0f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a74b30d-f4ae-4354-be7d-c293ff72e59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21e6735-c179-40a6-910b-708d05793f28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6f9b0e6-406f-4d34-a8fc-e7be5a0dcc8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d704704-0b2a-4150-98ab-31603a8316c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3abe900-132f-42e8-bcbb-a3bbbb637a28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22cddb7-ca9f-4863-9e9d-fd587c41782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dd92f14-aaaa-4145-90da-caa2de99e55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b8076a2-bd73-478a-93ba-ec824be14418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933275b-0bec-4679-929d-5c75d3fbd00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352e986-d761-471f-b35f-fa1a038ca7a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f10fb52a-ad90-42b6-8a11-8a681e51207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70230c9-8dbc-4a3c-a6e6-b6b03606538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81e9a98c-e0aa-4641-ab97-01389d87961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70485d1-2daa-4c59-8506-4d1fee967e2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8819b7e-5d38-4680-9476-536528aa2153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a5a2606-10d2-4691-8e61-9b86335cf9f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8fdb197-abd1-411b-ba34-ec8b357866a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LIDE_ID" val="4223a899-b2f6-4d29-a705-a2a3e972cf1b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PS_COMPARE_SHAPE_ID" val="11c2d5ae-ae1c-4e68-b8fd-73febf8cc58b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bc9d2d8-64e8-4fe6-b181-e1ffaed28fc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49b5e890-a6d4-450e-a9d0-e39aa34353f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b1e2cda-72bc-4b06-9ce4-68720fa9cd4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9af19fd-77f3-4ed2-a031-ac77e1ab61c8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6e3541a-073a-484d-a2c4-c9be9edac7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94ec262-3b26-470d-b324-c87779213ef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2c408923-5b91-4a79-82cb-2d60d07cdba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db4e837c-180f-427f-9d4c-5a58fc8b18b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15b9a3a0-aa5f-4993-9267-35cd8ab765d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4a01c00-8886-47f1-92e0-ba56c4b8b73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7792c160-cf1d-4a80-a03a-8e3183aa00d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3f45f1ac-ce48-4a75-a0f9-16f37abaafb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6687e446-6f2c-4180-b661-887d48b719f9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0c3f8b63-8a71-4f46-9b84-cc69d4f6a43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S_COMPARE_SHAPE_ID" val="c8a4b244-0fa7-4fe7-86fb-0847b3a234c3"/>
</p:tagLst>
</file>

<file path=ppt/theme/theme1.xml><?xml version="1.0" encoding="utf-8"?>
<a:theme xmlns:a="http://schemas.openxmlformats.org/drawingml/2006/main" name="7_Office Theme">
  <a:themeElements>
    <a:clrScheme name="ECG Branding">
      <a:dk1>
        <a:sysClr val="windowText" lastClr="000000"/>
      </a:dk1>
      <a:lt1>
        <a:sysClr val="window" lastClr="FFFFFF"/>
      </a:lt1>
      <a:dk2>
        <a:srgbClr val="4DA6D1"/>
      </a:dk2>
      <a:lt2>
        <a:srgbClr val="333E48"/>
      </a:lt2>
      <a:accent1>
        <a:srgbClr val="020C4A"/>
      </a:accent1>
      <a:accent2>
        <a:srgbClr val="0D5CAB"/>
      </a:accent2>
      <a:accent3>
        <a:srgbClr val="1BC0D3"/>
      </a:accent3>
      <a:accent4>
        <a:srgbClr val="3F3F3F"/>
      </a:accent4>
      <a:accent5>
        <a:srgbClr val="C7C7C7"/>
      </a:accent5>
      <a:accent6>
        <a:srgbClr val="D9253D"/>
      </a:accent6>
      <a:hlink>
        <a:srgbClr val="0000FF"/>
      </a:hlink>
      <a:folHlink>
        <a:srgbClr val="0000FF"/>
      </a:folHlink>
    </a:clrScheme>
    <a:fontScheme name="Custom 1">
      <a:majorFont>
        <a:latin typeface="Verdan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tx2"/>
            </a:gs>
            <a:gs pos="100000">
              <a:schemeClr val="accent2"/>
            </a:gs>
          </a:gsLst>
          <a:lin ang="1440000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MB Healthcare Pitch Deck SB_v3" id="{F20654C3-30CB-4A23-AE37-CA3918CCFD51}" vid="{71C4247B-9648-406B-9B0E-E71240279804}"/>
    </a:ext>
  </a:extLst>
</a:theme>
</file>

<file path=ppt/theme/theme2.xml><?xml version="1.0" encoding="utf-8"?>
<a:theme xmlns:a="http://schemas.openxmlformats.org/drawingml/2006/main" name="5_Office Theme">
  <a:themeElements>
    <a:clrScheme name="ECG Colors 2024">
      <a:dk1>
        <a:sysClr val="windowText" lastClr="000000"/>
      </a:dk1>
      <a:lt1>
        <a:sysClr val="window" lastClr="FFFFFF"/>
      </a:lt1>
      <a:dk2>
        <a:srgbClr val="4DA6D1"/>
      </a:dk2>
      <a:lt2>
        <a:srgbClr val="333E48"/>
      </a:lt2>
      <a:accent1>
        <a:srgbClr val="020C4A"/>
      </a:accent1>
      <a:accent2>
        <a:srgbClr val="0D5CAB"/>
      </a:accent2>
      <a:accent3>
        <a:srgbClr val="C7C7C7"/>
      </a:accent3>
      <a:accent4>
        <a:srgbClr val="414141"/>
      </a:accent4>
      <a:accent5>
        <a:srgbClr val="1BC0D3"/>
      </a:accent5>
      <a:accent6>
        <a:srgbClr val="D9252D"/>
      </a:accent6>
      <a:hlink>
        <a:srgbClr val="000000"/>
      </a:hlink>
      <a:folHlink>
        <a:srgbClr val="000000"/>
      </a:folHlink>
    </a:clrScheme>
    <a:fontScheme name="Custom 1">
      <a:majorFont>
        <a:latin typeface="Verdan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tx2"/>
            </a:gs>
            <a:gs pos="100000">
              <a:schemeClr val="accent2"/>
            </a:gs>
          </a:gsLst>
          <a:lin ang="14400000" scaled="0"/>
        </a:gra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MB Healthcare Pitch Deck SB_v3" id="{F20654C3-30CB-4A23-AE37-CA3918CCFD51}" vid="{71C4247B-9648-406B-9B0E-E7124027980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CG Branding">
    <a:dk1>
      <a:sysClr val="windowText" lastClr="000000"/>
    </a:dk1>
    <a:lt1>
      <a:sysClr val="window" lastClr="FFFFFF"/>
    </a:lt1>
    <a:dk2>
      <a:srgbClr val="4DA6D1"/>
    </a:dk2>
    <a:lt2>
      <a:srgbClr val="333E48"/>
    </a:lt2>
    <a:accent1>
      <a:srgbClr val="020C4A"/>
    </a:accent1>
    <a:accent2>
      <a:srgbClr val="0D5CAB"/>
    </a:accent2>
    <a:accent3>
      <a:srgbClr val="1BC0D3"/>
    </a:accent3>
    <a:accent4>
      <a:srgbClr val="3F3F3F"/>
    </a:accent4>
    <a:accent5>
      <a:srgbClr val="C7C7C7"/>
    </a:accent5>
    <a:accent6>
      <a:srgbClr val="D9253D"/>
    </a:accent6>
    <a:hlink>
      <a:srgbClr val="0000FF"/>
    </a:hlink>
    <a:folHlink>
      <a:srgbClr val="0000FF"/>
    </a:folHlink>
  </a:clrScheme>
  <a:fontScheme name="Custom 1">
    <a:majorFont>
      <a:latin typeface="Verdana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ServiceKeyPoints xmlns="d506f467-f37b-4da6-ad35-ef4242432da2" xsi:nil="true"/>
    <RequestNumber xmlns="b2c2aef1-9983-4663-a3e6-73a2d10f4ade">0100.109-7768</RequestNumber>
    <ProjectNumber xmlns="b2c2aef1-9983-4663-a3e6-73a2d10f4ade">0100.109</ProjectNumber>
    <DPCNotes xmlns="b2c2aef1-9983-4663-a3e6-73a2d10f4ade">11/6/24, Katie W: E1.</DPCNotes>
    <ServiceLine xmlns="b2c2aef1-9983-4663-a3e6-73a2d10f4ade">Not Applicable</ServiceLine>
    <d8530582ee6848758704d7494c96526f xmlns="b2c2aef1-9983-4663-a3e6-73a2d10f4ade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ESENTATION</TermName>
          <TermId xmlns="http://schemas.microsoft.com/office/infopath/2007/PartnerControls">d00c2f05-b5ea-4aeb-86ba-beb924b45f25</TermId>
        </TermInfo>
      </Terms>
    </d8530582ee6848758704d7494c96526f>
    <ForPipline xmlns="d506f467-f37b-4da6-ad35-ef4242432da2" xsi:nil="true"/>
    <Requester xmlns="b2c2aef1-9983-4663-a3e6-73a2d10f4ade">
      <UserInfo>
        <DisplayName>Danelz, Garrett</DisplayName>
        <AccountId>89</AccountId>
        <AccountType/>
      </UserInfo>
    </Requester>
    <DivisionName xmlns="b2c2aef1-9983-4663-a3e6-73a2d10f4ade" xsi:nil="true"/>
    <DocumentNumber xmlns="b2c2aef1-9983-4663-a3e6-73a2d10f4ade">690048</DocumentNumber>
    <ProjectName xmlns="b2c2aef1-9983-4663-a3e6-73a2d10f4ade" xsi:nil="true"/>
    <MAuthor xmlns="b2c2aef1-9983-4663-a3e6-73a2d10f4ade" xsi:nil="true"/>
    <TaxCatchAll xmlns="b2c2aef1-9983-4663-a3e6-73a2d10f4ade">
      <Value>2</Value>
    </TaxCatchAll>
    <ClientName xmlns="b2c2aef1-9983-4663-a3e6-73a2d10f4ade" xsi:nil="true"/>
    <ClientType xmlns="b2c2aef1-9983-4663-a3e6-73a2d10f4ade">Hospital / Health System</ClientType>
    <PracticeName xmlns="b2c2aef1-9983-4663-a3e6-73a2d10f4ade" xsi:nil="true"/>
    <lcf76f155ced4ddcb4097134ff3c332f xmlns="d506f467-f37b-4da6-ad35-ef4242432da2">
      <Terms xmlns="http://schemas.microsoft.com/office/infopath/2007/PartnerControls"/>
    </lcf76f155ced4ddcb4097134ff3c332f>
    <ExperienceType xmlns="b2c2aef1-9983-4663-a3e6-73a2d10f4ade">Strategic Planning</ExperienceType>
    <SharedWithUsers xmlns="b2c2aef1-9983-4663-a3e6-73a2d10f4ade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PCDocuments" ma:contentTypeID="0x0101003DAD9A523623984EBD732073C99173D200E8849107B2C5AE4FAF60F7DC984ECBE9" ma:contentTypeVersion="31" ma:contentTypeDescription="Create a new DPC document." ma:contentTypeScope="" ma:versionID="b2ffb3923ba10c99b49e544f0f6de3c5">
  <xsd:schema xmlns:xsd="http://www.w3.org/2001/XMLSchema" xmlns:xs="http://www.w3.org/2001/XMLSchema" xmlns:p="http://schemas.microsoft.com/office/2006/metadata/properties" xmlns:ns2="b2c2aef1-9983-4663-a3e6-73a2d10f4ade" xmlns:ns3="d506f467-f37b-4da6-ad35-ef4242432da2" targetNamespace="http://schemas.microsoft.com/office/2006/metadata/properties" ma:root="true" ma:fieldsID="d8c34ad518e1089aee3a035bc634d8ed" ns2:_="" ns3:_="">
    <xsd:import namespace="b2c2aef1-9983-4663-a3e6-73a2d10f4ade"/>
    <xsd:import namespace="d506f467-f37b-4da6-ad35-ef4242432da2"/>
    <xsd:element name="properties">
      <xsd:complexType>
        <xsd:sequence>
          <xsd:element name="documentManagement">
            <xsd:complexType>
              <xsd:all>
                <xsd:element ref="ns2:d8530582ee6848758704d7494c96526f" minOccurs="0"/>
                <xsd:element ref="ns2:TaxCatchAll" minOccurs="0"/>
                <xsd:element ref="ns2:TaxCatchAllLabel" minOccurs="0"/>
                <xsd:element ref="ns2:DPCNotes" minOccurs="0"/>
                <xsd:element ref="ns2:DocumentNumber" minOccurs="0"/>
                <xsd:element ref="ns2:RequestNumber" minOccurs="0"/>
                <xsd:element ref="ns2:ProjectNumber" minOccurs="0"/>
                <xsd:element ref="ns2:ProjectName" minOccurs="0"/>
                <xsd:element ref="ns2:Requester" minOccurs="0"/>
                <xsd:element ref="ns2:ClientName" minOccurs="0"/>
                <xsd:element ref="ns2:ClientType" minOccurs="0"/>
                <xsd:element ref="ns2:ServiceLine" minOccurs="0"/>
                <xsd:element ref="ns2:ExperienceType" minOccurs="0"/>
                <xsd:element ref="ns2:DivisionName" minOccurs="0"/>
                <xsd:element ref="ns2:PracticeName" minOccurs="0"/>
                <xsd:element ref="ns2:MAuthor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2:SharedWithUsers" minOccurs="0"/>
                <xsd:element ref="ns2:SharedWithDetails" minOccurs="0"/>
                <xsd:element ref="ns3:ForPipline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c2aef1-9983-4663-a3e6-73a2d10f4ade" elementFormDefault="qualified">
    <xsd:import namespace="http://schemas.microsoft.com/office/2006/documentManagement/types"/>
    <xsd:import namespace="http://schemas.microsoft.com/office/infopath/2007/PartnerControls"/>
    <xsd:element name="d8530582ee6848758704d7494c96526f" ma:index="8" ma:taxonomy="true" ma:internalName="d8530582ee6848758704d7494c96526f" ma:taxonomyFieldName="DocumentType" ma:displayName="Document Type" ma:default="" ma:fieldId="{d8530582-ee68-4875-8704-d7494c96526f}" ma:sspId="ae08397b-3c3e-47cc-818a-97a3117a3278" ma:termSetId="729779b3-b4f1-40d1-8139-8f5e8f6cc61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737496b7-fbc3-4a42-8824-4dccccc00bcb}" ma:internalName="TaxCatchAll" ma:showField="CatchAllData" ma:web="b2c2aef1-9983-4663-a3e6-73a2d10f4a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737496b7-fbc3-4a42-8824-4dccccc00bcb}" ma:internalName="TaxCatchAllLabel" ma:readOnly="true" ma:showField="CatchAllDataLabel" ma:web="b2c2aef1-9983-4663-a3e6-73a2d10f4a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PCNotes" ma:index="12" nillable="true" ma:displayName="DPC Notes" ma:description="DPC Notes (typed by DPC users while producing the document)" ma:internalName="DPCNotes">
      <xsd:simpleType>
        <xsd:restriction base="dms:Note">
          <xsd:maxLength value="255"/>
        </xsd:restriction>
      </xsd:simpleType>
    </xsd:element>
    <xsd:element name="DocumentNumber" ma:index="13" nillable="true" ma:displayName="Document Number" ma:description="DPC Document Number. Assigned by the system." ma:indexed="true" ma:internalName="DocumentNumber">
      <xsd:simpleType>
        <xsd:restriction base="dms:Text">
          <xsd:maxLength value="255"/>
        </xsd:restriction>
      </xsd:simpleType>
    </xsd:element>
    <xsd:element name="RequestNumber" ma:index="14" nillable="true" ma:displayName="Request Number" ma:description="DPC's Job / Request number Assigned by the system. Used to group the documents" ma:indexed="true" ma:internalName="RequestNumber">
      <xsd:simpleType>
        <xsd:restriction base="dms:Text">
          <xsd:maxLength value="255"/>
        </xsd:restriction>
      </xsd:simpleType>
    </xsd:element>
    <xsd:element name="ProjectNumber" ma:index="15" nillable="true" ma:displayName="Project Number" ma:description="The Selected Project Number from the ERP system. Must be 4 digits . 3 digits" ma:internalName="ProjectNumber">
      <xsd:simpleType>
        <xsd:restriction base="dms:Text">
          <xsd:maxLength value="8"/>
        </xsd:restriction>
      </xsd:simpleType>
    </xsd:element>
    <xsd:element name="ProjectName" ma:index="16" nillable="true" ma:displayName="Pipeline Name" ma:description="Project Name as Showing in ERP system" ma:indexed="true" ma:internalName="ProjectName">
      <xsd:simpleType>
        <xsd:restriction base="dms:Text">
          <xsd:maxLength value="255"/>
        </xsd:restriction>
      </xsd:simpleType>
    </xsd:element>
    <xsd:element name="Requester" ma:index="17" nillable="true" ma:displayName="Requester" ma:description="Who submitted the request, Used to be Author" ma:list="UserInfo" ma:internalName="Request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lientName" ma:index="18" nillable="true" ma:displayName="Client Name" ma:description="Project's Client Name" ma:internalName="ClientName">
      <xsd:simpleType>
        <xsd:restriction base="dms:Text">
          <xsd:maxLength value="255"/>
        </xsd:restriction>
      </xsd:simpleType>
    </xsd:element>
    <xsd:element name="ClientType" ma:index="19" nillable="true" ma:displayName="Client Type" ma:description="Project's Client Type" ma:internalName="ClientType">
      <xsd:simpleType>
        <xsd:restriction base="dms:Text">
          <xsd:maxLength value="255"/>
        </xsd:restriction>
      </xsd:simpleType>
    </xsd:element>
    <xsd:element name="ServiceLine" ma:index="20" nillable="true" ma:displayName="Service Line" ma:description="ECGmc Service Line" ma:internalName="ServiceLine">
      <xsd:simpleType>
        <xsd:restriction base="dms:Text">
          <xsd:maxLength value="255"/>
        </xsd:restriction>
      </xsd:simpleType>
    </xsd:element>
    <xsd:element name="ExperienceType" ma:index="21" nillable="true" ma:displayName="Experience Type" ma:description="Project's Experience Type" ma:internalName="ExperienceType">
      <xsd:simpleType>
        <xsd:restriction base="dms:Text">
          <xsd:maxLength value="255"/>
        </xsd:restriction>
      </xsd:simpleType>
    </xsd:element>
    <xsd:element name="DivisionName" ma:index="22" nillable="true" ma:displayName="Division Name" ma:description="ECGmc Division Name" ma:internalName="DivisionName">
      <xsd:simpleType>
        <xsd:restriction base="dms:Text">
          <xsd:maxLength value="255"/>
        </xsd:restriction>
      </xsd:simpleType>
    </xsd:element>
    <xsd:element name="PracticeName" ma:index="23" nillable="true" ma:displayName="Practice Name" ma:description="ECGmc Practice Name" ma:internalName="PracticeName">
      <xsd:simpleType>
        <xsd:restriction base="dms:Text">
          <xsd:maxLength value="255"/>
        </xsd:restriction>
      </xsd:simpleType>
    </xsd:element>
    <xsd:element name="MAuthor" ma:index="24" nillable="true" ma:displayName="MAuthor" ma:description="Author from Migration" ma:internalName="MAuthor">
      <xsd:simpleType>
        <xsd:restriction base="dms:Text">
          <xsd:maxLength value="255"/>
        </xsd:restriction>
      </xsd:simpleType>
    </xsd:element>
    <xsd:element name="SharedWithUsers" ma:index="2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06f467-f37b-4da6-ad35-ef4242432d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ForPipline" ma:index="31" nillable="true" ma:displayName="For Pipeline" ma:internalName="ForPipline">
      <xsd:simpleType>
        <xsd:restriction base="dms:Text">
          <xsd:maxLength value="40"/>
        </xsd:restriction>
      </xsd:simpleType>
    </xsd:element>
    <xsd:element name="lcf76f155ced4ddcb4097134ff3c332f" ma:index="33" nillable="true" ma:taxonomy="true" ma:internalName="lcf76f155ced4ddcb4097134ff3c332f" ma:taxonomyFieldName="MediaServiceImageTags" ma:displayName="Image Tags" ma:readOnly="false" ma:fieldId="{5cf76f15-5ced-4ddc-b409-7134ff3c332f}" ma:taxonomyMulti="true" ma:sspId="ae08397b-3c3e-47cc-818a-97a3117a327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3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3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3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3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F4BDB64-2AF8-42D4-96C8-B6B6F098993C}">
  <ds:schemaRefs>
    <ds:schemaRef ds:uri="http://schemas.microsoft.com/office/2006/documentManagement/types"/>
    <ds:schemaRef ds:uri="http://purl.org/dc/terms/"/>
    <ds:schemaRef ds:uri="http://purl.org/dc/dcmitype/"/>
    <ds:schemaRef ds:uri="d506f467-f37b-4da6-ad35-ef4242432da2"/>
    <ds:schemaRef ds:uri="b2c2aef1-9983-4663-a3e6-73a2d10f4ade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C66BDC7-24D2-4343-8D41-18F9C23F86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E5CD6FB-2901-450E-848F-9E9C371A229F}">
  <ds:schemaRefs>
    <ds:schemaRef ds:uri="b2c2aef1-9983-4663-a3e6-73a2d10f4ade"/>
    <ds:schemaRef ds:uri="d506f467-f37b-4da6-ad35-ef4242432da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6ed04dc3-c05f-4817-9426-dcd363d9814a}" enabled="1" method="Standard" siteId="{6512b72a-e926-4c4a-b11f-9a5f5158f0f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Healthcare office pitch deck</Template>
  <TotalTime>228</TotalTime>
  <Words>2305</Words>
  <Application>Microsoft Office PowerPoint</Application>
  <PresentationFormat>Widescreen</PresentationFormat>
  <Paragraphs>440</Paragraphs>
  <Slides>29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4" baseType="lpstr">
      <vt:lpstr>Adelle Rg</vt:lpstr>
      <vt:lpstr>Adelle-SemiBold</vt:lpstr>
      <vt:lpstr>Arial</vt:lpstr>
      <vt:lpstr>Calibri</vt:lpstr>
      <vt:lpstr>Courier New</vt:lpstr>
      <vt:lpstr>Rockwell</vt:lpstr>
      <vt:lpstr>Söhne</vt:lpstr>
      <vt:lpstr>Times New Roman</vt:lpstr>
      <vt:lpstr>Verdana</vt:lpstr>
      <vt:lpstr>Wingdings</vt:lpstr>
      <vt:lpstr>Wingdings 3</vt:lpstr>
      <vt:lpstr>ヒラギノ明朝 ProN W3</vt:lpstr>
      <vt:lpstr>7_Office Theme</vt:lpstr>
      <vt:lpstr>5_Office Theme</vt:lpstr>
      <vt:lpstr>think-cell Slide</vt:lpstr>
      <vt:lpstr>Controlling Your Destiny: The Reemergence of Competitive Strategy in Healthcare</vt:lpstr>
      <vt:lpstr>Roadmap for Our Time Together</vt:lpstr>
      <vt:lpstr>PowerPoint Presentation</vt:lpstr>
      <vt:lpstr>Industry financial pressures have abated somewhat—a reprieve that likely is only temporary.</vt:lpstr>
      <vt:lpstr>Getting Clinical Process Back to Gold Standard</vt:lpstr>
      <vt:lpstr>From Survival to Strategy</vt:lpstr>
      <vt:lpstr>PowerPoint Presentation</vt:lpstr>
      <vt:lpstr>From Market Player to Market Maker</vt:lpstr>
      <vt:lpstr>PowerPoint Presentation</vt:lpstr>
      <vt:lpstr>Strategic Differentiator: Entering New Channels and Markets</vt:lpstr>
      <vt:lpstr>The Changing Nature of Competition</vt:lpstr>
      <vt:lpstr>The future of healthcare is ambulatory—by any metric.</vt:lpstr>
      <vt:lpstr>The majority of US healthcare is still provider-centric.</vt:lpstr>
      <vt:lpstr>Those who win will do more than stay afloat—they’ll  make bold, strategic moves.</vt:lpstr>
      <vt:lpstr>PowerPoint Presentation</vt:lpstr>
      <vt:lpstr>Strategic Differentiator: Innovation and Change Management as Core Competencies</vt:lpstr>
      <vt:lpstr>The Disruptive Math of Turnover, Engagement, and Innovation</vt:lpstr>
      <vt:lpstr>From Engagement to Innovation</vt:lpstr>
      <vt:lpstr>PowerPoint Presentation</vt:lpstr>
      <vt:lpstr>Strategic Differentiator: Cost Transformation </vt:lpstr>
      <vt:lpstr>Health Status Driving Need for Care Transformation</vt:lpstr>
      <vt:lpstr>The remaining margin opportunity is almost entirely within the clinical realm.</vt:lpstr>
      <vt:lpstr>PowerPoint Presentation</vt:lpstr>
      <vt:lpstr>Strategic Differentiator: Brand Expansion and Redefinition</vt:lpstr>
      <vt:lpstr>“Health” Is a  Bear Word</vt:lpstr>
      <vt:lpstr>What would a true “health” brand look like?</vt:lpstr>
      <vt:lpstr>Remember As Good as It Gets? Are we perceived as the problem, or the solution?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rolling Your Destiny_ECG 2025.pptx</dc:title>
  <dc:creator>Bachrodt, Andrew K.</dc:creator>
  <cp:lastModifiedBy>Willis, David</cp:lastModifiedBy>
  <cp:revision>6</cp:revision>
  <dcterms:created xsi:type="dcterms:W3CDTF">2023-12-27T14:11:26Z</dcterms:created>
  <dcterms:modified xsi:type="dcterms:W3CDTF">2025-02-20T21:4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DAD9A523623984EBD732073C99173D200E8849107B2C5AE4FAF60F7DC984ECBE9</vt:lpwstr>
  </property>
  <property fmtid="{D5CDD505-2E9C-101B-9397-08002B2CF9AE}" pid="3" name="MediaServiceImageTags">
    <vt:lpwstr/>
  </property>
  <property fmtid="{D5CDD505-2E9C-101B-9397-08002B2CF9AE}" pid="4" name="DocumentType">
    <vt:lpwstr>2;#PRESENTATION|d00c2f05-b5ea-4aeb-86ba-beb924b45f25</vt:lpwstr>
  </property>
  <property fmtid="{D5CDD505-2E9C-101B-9397-08002B2CF9AE}" pid="5" name="SlidoAppVersion">
    <vt:lpwstr>1.11.0.5407</vt:lpwstr>
  </property>
</Properties>
</file>